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1" r:id="rId2"/>
  </p:sldMasterIdLst>
  <p:notesMasterIdLst>
    <p:notesMasterId r:id="rId40"/>
  </p:notesMasterIdLst>
  <p:handoutMasterIdLst>
    <p:handoutMasterId r:id="rId41"/>
  </p:handoutMasterIdLst>
  <p:sldIdLst>
    <p:sldId id="293" r:id="rId3"/>
    <p:sldId id="297" r:id="rId4"/>
    <p:sldId id="2070" r:id="rId5"/>
    <p:sldId id="958" r:id="rId6"/>
    <p:sldId id="2074" r:id="rId7"/>
    <p:sldId id="261" r:id="rId8"/>
    <p:sldId id="953" r:id="rId9"/>
    <p:sldId id="317" r:id="rId10"/>
    <p:sldId id="318" r:id="rId11"/>
    <p:sldId id="319" r:id="rId12"/>
    <p:sldId id="320" r:id="rId13"/>
    <p:sldId id="962" r:id="rId14"/>
    <p:sldId id="963" r:id="rId15"/>
    <p:sldId id="955" r:id="rId16"/>
    <p:sldId id="956" r:id="rId17"/>
    <p:sldId id="315" r:id="rId18"/>
    <p:sldId id="327" r:id="rId19"/>
    <p:sldId id="966" r:id="rId20"/>
    <p:sldId id="336" r:id="rId21"/>
    <p:sldId id="965" r:id="rId22"/>
    <p:sldId id="952" r:id="rId23"/>
    <p:sldId id="340" r:id="rId24"/>
    <p:sldId id="978" r:id="rId25"/>
    <p:sldId id="337" r:id="rId26"/>
    <p:sldId id="972" r:id="rId27"/>
    <p:sldId id="979" r:id="rId28"/>
    <p:sldId id="980" r:id="rId29"/>
    <p:sldId id="981" r:id="rId30"/>
    <p:sldId id="967" r:id="rId31"/>
    <p:sldId id="982" r:id="rId32"/>
    <p:sldId id="987" r:id="rId33"/>
    <p:sldId id="310" r:id="rId34"/>
    <p:sldId id="985" r:id="rId35"/>
    <p:sldId id="973" r:id="rId36"/>
    <p:sldId id="975" r:id="rId37"/>
    <p:sldId id="954" r:id="rId38"/>
    <p:sldId id="988" r:id="rId39"/>
  </p:sldIdLst>
  <p:sldSz cx="10688638" cy="7562850"/>
  <p:notesSz cx="10234613" cy="7099300"/>
  <p:defaultTextStyle>
    <a:defPPr>
      <a:defRPr lang="it-IT"/>
    </a:defPPr>
    <a:lvl1pPr algn="l" defTabSz="520700" rtl="0" fontAlgn="base">
      <a:spcBef>
        <a:spcPct val="0"/>
      </a:spcBef>
      <a:spcAft>
        <a:spcPct val="0"/>
      </a:spcAft>
      <a:defRPr sz="2100" kern="1200">
        <a:solidFill>
          <a:schemeClr val="tx1"/>
        </a:solidFill>
        <a:latin typeface="Calibri" charset="0"/>
        <a:ea typeface="ＭＳ Ｐゴシック" charset="0"/>
        <a:cs typeface="ＭＳ Ｐゴシック" charset="0"/>
      </a:defRPr>
    </a:lvl1pPr>
    <a:lvl2pPr marL="520700" indent="-63500" algn="l" defTabSz="520700" rtl="0" fontAlgn="base">
      <a:spcBef>
        <a:spcPct val="0"/>
      </a:spcBef>
      <a:spcAft>
        <a:spcPct val="0"/>
      </a:spcAft>
      <a:defRPr sz="2100" kern="1200">
        <a:solidFill>
          <a:schemeClr val="tx1"/>
        </a:solidFill>
        <a:latin typeface="Calibri" charset="0"/>
        <a:ea typeface="ＭＳ Ｐゴシック" charset="0"/>
        <a:cs typeface="ＭＳ Ｐゴシック" charset="0"/>
      </a:defRPr>
    </a:lvl2pPr>
    <a:lvl3pPr marL="1041400" indent="-127000" algn="l" defTabSz="520700" rtl="0" fontAlgn="base">
      <a:spcBef>
        <a:spcPct val="0"/>
      </a:spcBef>
      <a:spcAft>
        <a:spcPct val="0"/>
      </a:spcAft>
      <a:defRPr sz="2100" kern="1200">
        <a:solidFill>
          <a:schemeClr val="tx1"/>
        </a:solidFill>
        <a:latin typeface="Calibri" charset="0"/>
        <a:ea typeface="ＭＳ Ｐゴシック" charset="0"/>
        <a:cs typeface="ＭＳ Ｐゴシック" charset="0"/>
      </a:defRPr>
    </a:lvl3pPr>
    <a:lvl4pPr marL="1563688" indent="-192088" algn="l" defTabSz="520700" rtl="0" fontAlgn="base">
      <a:spcBef>
        <a:spcPct val="0"/>
      </a:spcBef>
      <a:spcAft>
        <a:spcPct val="0"/>
      </a:spcAft>
      <a:defRPr sz="2100" kern="1200">
        <a:solidFill>
          <a:schemeClr val="tx1"/>
        </a:solidFill>
        <a:latin typeface="Calibri" charset="0"/>
        <a:ea typeface="ＭＳ Ｐゴシック" charset="0"/>
        <a:cs typeface="ＭＳ Ｐゴシック" charset="0"/>
      </a:defRPr>
    </a:lvl4pPr>
    <a:lvl5pPr marL="2084388" indent="-255588" algn="l" defTabSz="520700" rtl="0" fontAlgn="base">
      <a:spcBef>
        <a:spcPct val="0"/>
      </a:spcBef>
      <a:spcAft>
        <a:spcPct val="0"/>
      </a:spcAft>
      <a:defRPr sz="2100" kern="1200">
        <a:solidFill>
          <a:schemeClr val="tx1"/>
        </a:solidFill>
        <a:latin typeface="Calibri" charset="0"/>
        <a:ea typeface="ＭＳ Ｐゴシック" charset="0"/>
        <a:cs typeface="ＭＳ Ｐゴシック" charset="0"/>
      </a:defRPr>
    </a:lvl5pPr>
    <a:lvl6pPr marL="2286000" algn="l" defTabSz="457200" rtl="0" eaLnBrk="1" latinLnBrk="0" hangingPunct="1">
      <a:defRPr sz="2100" kern="1200">
        <a:solidFill>
          <a:schemeClr val="tx1"/>
        </a:solidFill>
        <a:latin typeface="Calibri" charset="0"/>
        <a:ea typeface="ＭＳ Ｐゴシック" charset="0"/>
        <a:cs typeface="ＭＳ Ｐゴシック" charset="0"/>
      </a:defRPr>
    </a:lvl6pPr>
    <a:lvl7pPr marL="2743200" algn="l" defTabSz="457200" rtl="0" eaLnBrk="1" latinLnBrk="0" hangingPunct="1">
      <a:defRPr sz="2100" kern="1200">
        <a:solidFill>
          <a:schemeClr val="tx1"/>
        </a:solidFill>
        <a:latin typeface="Calibri" charset="0"/>
        <a:ea typeface="ＭＳ Ｐゴシック" charset="0"/>
        <a:cs typeface="ＭＳ Ｐゴシック" charset="0"/>
      </a:defRPr>
    </a:lvl7pPr>
    <a:lvl8pPr marL="3200400" algn="l" defTabSz="457200" rtl="0" eaLnBrk="1" latinLnBrk="0" hangingPunct="1">
      <a:defRPr sz="2100" kern="1200">
        <a:solidFill>
          <a:schemeClr val="tx1"/>
        </a:solidFill>
        <a:latin typeface="Calibri" charset="0"/>
        <a:ea typeface="ＭＳ Ｐゴシック" charset="0"/>
        <a:cs typeface="ＭＳ Ｐゴシック" charset="0"/>
      </a:defRPr>
    </a:lvl8pPr>
    <a:lvl9pPr marL="3657600" algn="l" defTabSz="457200" rtl="0" eaLnBrk="1" latinLnBrk="0" hangingPunct="1">
      <a:defRPr sz="2100"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382">
          <p15:clr>
            <a:srgbClr val="A4A3A4"/>
          </p15:clr>
        </p15:guide>
        <p15:guide id="2" pos="3367">
          <p15:clr>
            <a:srgbClr val="A4A3A4"/>
          </p15:clr>
        </p15:guide>
      </p15:sldGuideLst>
    </p:ext>
    <p:ext uri="{2D200454-40CA-4A62-9FC3-DE9A4176ACB9}">
      <p15:notesGuideLst xmlns:p15="http://schemas.microsoft.com/office/powerpoint/2012/main">
        <p15:guide id="1" orient="horz" pos="2236">
          <p15:clr>
            <a:srgbClr val="A4A3A4"/>
          </p15:clr>
        </p15:guide>
        <p15:guide id="2" pos="322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1D1D"/>
    <a:srgbClr val="B7E1EB"/>
    <a:srgbClr val="375B49"/>
    <a:srgbClr val="FFFFCC"/>
    <a:srgbClr val="A9C78F"/>
    <a:srgbClr val="5D174D"/>
    <a:srgbClr val="B39738"/>
    <a:srgbClr val="163D28"/>
    <a:srgbClr val="608D2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147" autoAdjust="0"/>
    <p:restoredTop sz="77901" autoAdjust="0"/>
  </p:normalViewPr>
  <p:slideViewPr>
    <p:cSldViewPr snapToGrid="0" snapToObjects="1">
      <p:cViewPr varScale="1">
        <p:scale>
          <a:sx n="51" d="100"/>
          <a:sy n="51" d="100"/>
        </p:scale>
        <p:origin x="1728" y="78"/>
      </p:cViewPr>
      <p:guideLst>
        <p:guide orient="horz" pos="2382"/>
        <p:guide pos="336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164" d="100"/>
          <a:sy n="164" d="100"/>
        </p:scale>
        <p:origin x="-2208" y="-104"/>
      </p:cViewPr>
      <p:guideLst>
        <p:guide orient="horz" pos="2236"/>
        <p:guide pos="32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Planilha1!$B$1</c:f>
              <c:strCache>
                <c:ptCount val="1"/>
                <c:pt idx="0">
                  <c:v>Fertilizante Folia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6</c:f>
              <c:strCache>
                <c:ptCount val="5"/>
                <c:pt idx="0">
                  <c:v>2014</c:v>
                </c:pt>
                <c:pt idx="1">
                  <c:v>2015</c:v>
                </c:pt>
                <c:pt idx="2">
                  <c:v>2016</c:v>
                </c:pt>
                <c:pt idx="3">
                  <c:v>2017</c:v>
                </c:pt>
                <c:pt idx="4">
                  <c:v>2018(P)</c:v>
                </c:pt>
              </c:strCache>
            </c:strRef>
          </c:cat>
          <c:val>
            <c:numRef>
              <c:f>Planilha1!$B$2:$B$6</c:f>
              <c:numCache>
                <c:formatCode>General</c:formatCode>
                <c:ptCount val="5"/>
                <c:pt idx="0">
                  <c:v>3115</c:v>
                </c:pt>
                <c:pt idx="1">
                  <c:v>3656</c:v>
                </c:pt>
                <c:pt idx="2">
                  <c:v>4072</c:v>
                </c:pt>
                <c:pt idx="3">
                  <c:v>4503</c:v>
                </c:pt>
                <c:pt idx="4">
                  <c:v>5250</c:v>
                </c:pt>
              </c:numCache>
            </c:numRef>
          </c:val>
          <c:extLst>
            <c:ext xmlns:c16="http://schemas.microsoft.com/office/drawing/2014/chart" uri="{C3380CC4-5D6E-409C-BE32-E72D297353CC}">
              <c16:uniqueId val="{00000000-FD58-49D5-945D-F586725569D7}"/>
            </c:ext>
          </c:extLst>
        </c:ser>
        <c:ser>
          <c:idx val="1"/>
          <c:order val="1"/>
          <c:tx>
            <c:strRef>
              <c:f>Planilha1!$C$1</c:f>
              <c:strCache>
                <c:ptCount val="1"/>
                <c:pt idx="0">
                  <c:v>Outros Categoria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6</c:f>
              <c:strCache>
                <c:ptCount val="5"/>
                <c:pt idx="0">
                  <c:v>2014</c:v>
                </c:pt>
                <c:pt idx="1">
                  <c:v>2015</c:v>
                </c:pt>
                <c:pt idx="2">
                  <c:v>2016</c:v>
                </c:pt>
                <c:pt idx="3">
                  <c:v>2017</c:v>
                </c:pt>
                <c:pt idx="4">
                  <c:v>2018(P)</c:v>
                </c:pt>
              </c:strCache>
            </c:strRef>
          </c:cat>
          <c:val>
            <c:numRef>
              <c:f>Planilha1!$C$2:$C$6</c:f>
              <c:numCache>
                <c:formatCode>General</c:formatCode>
                <c:ptCount val="5"/>
                <c:pt idx="0">
                  <c:v>1485</c:v>
                </c:pt>
                <c:pt idx="1">
                  <c:v>1544</c:v>
                </c:pt>
                <c:pt idx="2">
                  <c:v>1728</c:v>
                </c:pt>
                <c:pt idx="3">
                  <c:v>1797</c:v>
                </c:pt>
                <c:pt idx="4">
                  <c:v>2250</c:v>
                </c:pt>
              </c:numCache>
            </c:numRef>
          </c:val>
          <c:extLst>
            <c:ext xmlns:c16="http://schemas.microsoft.com/office/drawing/2014/chart" uri="{C3380CC4-5D6E-409C-BE32-E72D297353CC}">
              <c16:uniqueId val="{00000001-FD58-49D5-945D-F586725569D7}"/>
            </c:ext>
          </c:extLst>
        </c:ser>
        <c:dLbls>
          <c:showLegendKey val="0"/>
          <c:showVal val="0"/>
          <c:showCatName val="0"/>
          <c:showSerName val="0"/>
          <c:showPercent val="0"/>
          <c:showBubbleSize val="0"/>
        </c:dLbls>
        <c:gapWidth val="150"/>
        <c:overlap val="100"/>
        <c:axId val="322557264"/>
        <c:axId val="322554128"/>
      </c:barChart>
      <c:catAx>
        <c:axId val="322557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pt-BR"/>
          </a:p>
        </c:txPr>
        <c:crossAx val="322554128"/>
        <c:crosses val="autoZero"/>
        <c:auto val="1"/>
        <c:lblAlgn val="ctr"/>
        <c:lblOffset val="100"/>
        <c:noMultiLvlLbl val="0"/>
      </c:catAx>
      <c:valAx>
        <c:axId val="32255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pt-BR"/>
          </a:p>
        </c:txPr>
        <c:crossAx val="322557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Planilha1!$B$1</c:f>
              <c:strCache>
                <c:ptCount val="1"/>
                <c:pt idx="0">
                  <c:v>Coluna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A80-49E3-9056-DD97D60206C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BC0-4713-A487-5EAF4DD0287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BC0-4713-A487-5EAF4DD0287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BC0-4713-A487-5EAF4DD0287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BC0-4713-A487-5EAF4DD0287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BC0-4713-A487-5EAF4DD0287A}"/>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CBC0-4713-A487-5EAF4DD0287A}"/>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CBC0-4713-A487-5EAF4DD0287A}"/>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CBC0-4713-A487-5EAF4DD0287A}"/>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CBC0-4713-A487-5EAF4DD0287A}"/>
              </c:ext>
            </c:extLst>
          </c:dPt>
          <c:dLbls>
            <c:dLbl>
              <c:idx val="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pt-BR"/>
                </a:p>
              </c:txPr>
              <c:showLegendKey val="0"/>
              <c:showVal val="1"/>
              <c:showCatName val="0"/>
              <c:showSerName val="0"/>
              <c:showPercent val="0"/>
              <c:showBubbleSize val="0"/>
              <c:extLst>
                <c:ext xmlns:c16="http://schemas.microsoft.com/office/drawing/2014/chart" uri="{C3380CC4-5D6E-409C-BE32-E72D297353CC}">
                  <c16:uniqueId val="{00000001-2A80-49E3-9056-DD97D60206C2}"/>
                </c:ext>
              </c:extLst>
            </c:dLbl>
            <c:dLbl>
              <c:idx val="6"/>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pt-BR"/>
                </a:p>
              </c:txPr>
              <c:showLegendKey val="0"/>
              <c:showVal val="1"/>
              <c:showCatName val="0"/>
              <c:showSerName val="0"/>
              <c:showPercent val="0"/>
              <c:showBubbleSize val="0"/>
              <c:extLst>
                <c:ext xmlns:c16="http://schemas.microsoft.com/office/drawing/2014/chart" uri="{C3380CC4-5D6E-409C-BE32-E72D297353CC}">
                  <c16:uniqueId val="{0000000D-CBC0-4713-A487-5EAF4DD0287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pt-B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ilha1!$A$2:$A$11</c:f>
              <c:strCache>
                <c:ptCount val="10"/>
                <c:pt idx="0">
                  <c:v>&lt;10 mln</c:v>
                </c:pt>
                <c:pt idx="1">
                  <c:v>10 -20 mln</c:v>
                </c:pt>
                <c:pt idx="2">
                  <c:v>20-30 mln</c:v>
                </c:pt>
                <c:pt idx="3">
                  <c:v>30-40mln</c:v>
                </c:pt>
                <c:pt idx="4">
                  <c:v>40-50mln</c:v>
                </c:pt>
                <c:pt idx="5">
                  <c:v>50-70mln</c:v>
                </c:pt>
                <c:pt idx="6">
                  <c:v>70-90mln</c:v>
                </c:pt>
                <c:pt idx="7">
                  <c:v>90-110mln</c:v>
                </c:pt>
                <c:pt idx="8">
                  <c:v>110-150mln</c:v>
                </c:pt>
                <c:pt idx="9">
                  <c:v>&gt;150mln</c:v>
                </c:pt>
              </c:strCache>
            </c:strRef>
          </c:cat>
          <c:val>
            <c:numRef>
              <c:f>Planilha1!$B$2:$B$11</c:f>
              <c:numCache>
                <c:formatCode>0</c:formatCode>
                <c:ptCount val="10"/>
                <c:pt idx="0">
                  <c:v>350.548</c:v>
                </c:pt>
                <c:pt idx="1">
                  <c:v>64.25</c:v>
                </c:pt>
                <c:pt idx="2">
                  <c:v>15.934000000000001</c:v>
                </c:pt>
                <c:pt idx="3">
                  <c:v>19.018000000000001</c:v>
                </c:pt>
                <c:pt idx="4">
                  <c:v>12.850000000000001</c:v>
                </c:pt>
                <c:pt idx="5">
                  <c:v>12.850000000000001</c:v>
                </c:pt>
                <c:pt idx="6">
                  <c:v>15.933999999999999</c:v>
                </c:pt>
                <c:pt idx="7">
                  <c:v>3.0840000000000001</c:v>
                </c:pt>
                <c:pt idx="8" formatCode="General">
                  <c:v>3</c:v>
                </c:pt>
                <c:pt idx="9" formatCode="General">
                  <c:v>16</c:v>
                </c:pt>
              </c:numCache>
            </c:numRef>
          </c:val>
          <c:extLst>
            <c:ext xmlns:c16="http://schemas.microsoft.com/office/drawing/2014/chart" uri="{C3380CC4-5D6E-409C-BE32-E72D297353CC}">
              <c16:uniqueId val="{00000000-2A80-49E3-9056-DD97D60206C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7.7638325966398802E-2"/>
          <c:y val="0.83112325297557788"/>
          <c:w val="0.85541694575974292"/>
          <c:h val="0.13144915510053035"/>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9A6270A-F738-44E8-AB4F-DE916E1BF4F0}" type="doc">
      <dgm:prSet loTypeId="urn:microsoft.com/office/officeart/2005/8/layout/chevron1" loCatId="process" qsTypeId="urn:microsoft.com/office/officeart/2005/8/quickstyle/simple1" qsCatId="simple" csTypeId="urn:microsoft.com/office/officeart/2005/8/colors/accent1_2" csCatId="accent1" phldr="1"/>
      <dgm:spPr/>
    </dgm:pt>
    <dgm:pt modelId="{6A5E3FD3-8A2E-4E29-84D8-0C0691BB29E3}">
      <dgm:prSet phldrT="[Texto]" custT="1"/>
      <dgm:spPr>
        <a:solidFill>
          <a:srgbClr val="A9C78F"/>
        </a:solidFill>
      </dgm:spPr>
      <dgm:t>
        <a:bodyPr/>
        <a:lstStyle/>
        <a:p>
          <a:r>
            <a:rPr lang="pt-BR" sz="1600" b="0" dirty="0"/>
            <a:t>Alimentação Básica</a:t>
          </a:r>
        </a:p>
      </dgm:t>
    </dgm:pt>
    <dgm:pt modelId="{2FC7637B-F1C5-4659-9753-575BD45EB0D4}" type="parTrans" cxnId="{6FB2A171-20C7-447D-A526-23581D387167}">
      <dgm:prSet/>
      <dgm:spPr/>
      <dgm:t>
        <a:bodyPr/>
        <a:lstStyle/>
        <a:p>
          <a:endParaRPr lang="pt-BR" sz="2000"/>
        </a:p>
      </dgm:t>
    </dgm:pt>
    <dgm:pt modelId="{01838F59-8276-44BE-B744-786A7A5FCC43}" type="sibTrans" cxnId="{6FB2A171-20C7-447D-A526-23581D387167}">
      <dgm:prSet/>
      <dgm:spPr/>
      <dgm:t>
        <a:bodyPr/>
        <a:lstStyle/>
        <a:p>
          <a:endParaRPr lang="pt-BR" sz="2000"/>
        </a:p>
      </dgm:t>
    </dgm:pt>
    <dgm:pt modelId="{93E6600F-0B15-43AA-979E-1AAB719D8FC1}">
      <dgm:prSet phldrT="[Texto]" custT="1"/>
      <dgm:spPr>
        <a:solidFill>
          <a:srgbClr val="A9C78F"/>
        </a:solidFill>
      </dgm:spPr>
      <dgm:t>
        <a:bodyPr/>
        <a:lstStyle/>
        <a:p>
          <a:r>
            <a:rPr lang="pt-BR" sz="1600" b="0" dirty="0"/>
            <a:t>Alimentos Funcionais &amp; Probióticos</a:t>
          </a:r>
        </a:p>
      </dgm:t>
    </dgm:pt>
    <dgm:pt modelId="{256F5DFF-74F7-40E9-AAD8-DE59C390771D}" type="parTrans" cxnId="{798F565D-0ABB-49C0-ACE0-E3FD6B100BDE}">
      <dgm:prSet/>
      <dgm:spPr/>
      <dgm:t>
        <a:bodyPr/>
        <a:lstStyle/>
        <a:p>
          <a:endParaRPr lang="pt-BR" sz="2000"/>
        </a:p>
      </dgm:t>
    </dgm:pt>
    <dgm:pt modelId="{FBA1A182-F150-4BEF-BF14-9E84163A1254}" type="sibTrans" cxnId="{798F565D-0ABB-49C0-ACE0-E3FD6B100BDE}">
      <dgm:prSet/>
      <dgm:spPr/>
      <dgm:t>
        <a:bodyPr/>
        <a:lstStyle/>
        <a:p>
          <a:endParaRPr lang="pt-BR" sz="2000"/>
        </a:p>
      </dgm:t>
    </dgm:pt>
    <dgm:pt modelId="{57BB5089-B6CB-42C7-A86B-39645E43D2AE}">
      <dgm:prSet phldrT="[Texto]" custT="1"/>
      <dgm:spPr>
        <a:solidFill>
          <a:srgbClr val="A9C78F"/>
        </a:solidFill>
      </dgm:spPr>
      <dgm:t>
        <a:bodyPr/>
        <a:lstStyle/>
        <a:p>
          <a:r>
            <a:rPr lang="pt-BR" sz="1600" b="1" dirty="0"/>
            <a:t>Vacinas</a:t>
          </a:r>
        </a:p>
      </dgm:t>
    </dgm:pt>
    <dgm:pt modelId="{9AB9A1C4-E0CC-43B4-B934-942AC8332754}" type="parTrans" cxnId="{FD198A1E-7428-49A3-A31F-936FCA6E554A}">
      <dgm:prSet/>
      <dgm:spPr/>
      <dgm:t>
        <a:bodyPr/>
        <a:lstStyle/>
        <a:p>
          <a:endParaRPr lang="pt-BR" sz="2000"/>
        </a:p>
      </dgm:t>
    </dgm:pt>
    <dgm:pt modelId="{3F5AA50B-28CD-41BE-9D9F-007F544BE55C}" type="sibTrans" cxnId="{FD198A1E-7428-49A3-A31F-936FCA6E554A}">
      <dgm:prSet/>
      <dgm:spPr/>
      <dgm:t>
        <a:bodyPr/>
        <a:lstStyle/>
        <a:p>
          <a:endParaRPr lang="pt-BR" sz="2000"/>
        </a:p>
      </dgm:t>
    </dgm:pt>
    <dgm:pt modelId="{7CB3D6C7-C55D-42FF-8B9A-3D416FDDFF63}">
      <dgm:prSet custT="1"/>
      <dgm:spPr>
        <a:solidFill>
          <a:srgbClr val="A9C78F"/>
        </a:solidFill>
      </dgm:spPr>
      <dgm:t>
        <a:bodyPr/>
        <a:lstStyle/>
        <a:p>
          <a:r>
            <a:rPr lang="pt-BR" sz="1600" b="1" dirty="0"/>
            <a:t>Medicamentos</a:t>
          </a:r>
        </a:p>
      </dgm:t>
    </dgm:pt>
    <dgm:pt modelId="{5D09F891-D0E4-43B0-BA0E-4E48E9705362}" type="parTrans" cxnId="{3079C2BF-B578-4479-9604-EAA2F9ACD5C8}">
      <dgm:prSet/>
      <dgm:spPr/>
      <dgm:t>
        <a:bodyPr/>
        <a:lstStyle/>
        <a:p>
          <a:endParaRPr lang="pt-BR" sz="2000"/>
        </a:p>
      </dgm:t>
    </dgm:pt>
    <dgm:pt modelId="{335891C3-855A-4686-9B74-135167B1F078}" type="sibTrans" cxnId="{3079C2BF-B578-4479-9604-EAA2F9ACD5C8}">
      <dgm:prSet/>
      <dgm:spPr/>
      <dgm:t>
        <a:bodyPr/>
        <a:lstStyle/>
        <a:p>
          <a:endParaRPr lang="pt-BR" sz="2000"/>
        </a:p>
      </dgm:t>
    </dgm:pt>
    <dgm:pt modelId="{D435F023-A091-473F-AC0E-01D995C09969}" type="pres">
      <dgm:prSet presAssocID="{89A6270A-F738-44E8-AB4F-DE916E1BF4F0}" presName="Name0" presStyleCnt="0">
        <dgm:presLayoutVars>
          <dgm:dir/>
          <dgm:animLvl val="lvl"/>
          <dgm:resizeHandles val="exact"/>
        </dgm:presLayoutVars>
      </dgm:prSet>
      <dgm:spPr/>
    </dgm:pt>
    <dgm:pt modelId="{62B19DB6-760A-46E0-AF70-B0F28219ADCD}" type="pres">
      <dgm:prSet presAssocID="{6A5E3FD3-8A2E-4E29-84D8-0C0691BB29E3}" presName="parTxOnly" presStyleLbl="node1" presStyleIdx="0" presStyleCnt="4">
        <dgm:presLayoutVars>
          <dgm:chMax val="0"/>
          <dgm:chPref val="0"/>
          <dgm:bulletEnabled val="1"/>
        </dgm:presLayoutVars>
      </dgm:prSet>
      <dgm:spPr/>
    </dgm:pt>
    <dgm:pt modelId="{0B63CADB-A421-4B6C-8FD7-0B66A5E0B7A7}" type="pres">
      <dgm:prSet presAssocID="{01838F59-8276-44BE-B744-786A7A5FCC43}" presName="parTxOnlySpace" presStyleCnt="0"/>
      <dgm:spPr/>
    </dgm:pt>
    <dgm:pt modelId="{9DDDBD41-C5E7-4927-B271-874500B041D2}" type="pres">
      <dgm:prSet presAssocID="{93E6600F-0B15-43AA-979E-1AAB719D8FC1}" presName="parTxOnly" presStyleLbl="node1" presStyleIdx="1" presStyleCnt="4">
        <dgm:presLayoutVars>
          <dgm:chMax val="0"/>
          <dgm:chPref val="0"/>
          <dgm:bulletEnabled val="1"/>
        </dgm:presLayoutVars>
      </dgm:prSet>
      <dgm:spPr/>
    </dgm:pt>
    <dgm:pt modelId="{22F5CB49-3B4D-4AF0-87E2-496DCE958B93}" type="pres">
      <dgm:prSet presAssocID="{FBA1A182-F150-4BEF-BF14-9E84163A1254}" presName="parTxOnlySpace" presStyleCnt="0"/>
      <dgm:spPr/>
    </dgm:pt>
    <dgm:pt modelId="{75968E63-6DDA-4B94-BBCF-7112A63C32D3}" type="pres">
      <dgm:prSet presAssocID="{57BB5089-B6CB-42C7-A86B-39645E43D2AE}" presName="parTxOnly" presStyleLbl="node1" presStyleIdx="2" presStyleCnt="4">
        <dgm:presLayoutVars>
          <dgm:chMax val="0"/>
          <dgm:chPref val="0"/>
          <dgm:bulletEnabled val="1"/>
        </dgm:presLayoutVars>
      </dgm:prSet>
      <dgm:spPr/>
    </dgm:pt>
    <dgm:pt modelId="{02A3D6A5-68EA-4EDC-8C93-F6272F8D0C93}" type="pres">
      <dgm:prSet presAssocID="{3F5AA50B-28CD-41BE-9D9F-007F544BE55C}" presName="parTxOnlySpace" presStyleCnt="0"/>
      <dgm:spPr/>
    </dgm:pt>
    <dgm:pt modelId="{C9BA41F8-21A7-4F5B-A8A4-7AFB4B7CFA50}" type="pres">
      <dgm:prSet presAssocID="{7CB3D6C7-C55D-42FF-8B9A-3D416FDDFF63}" presName="parTxOnly" presStyleLbl="node1" presStyleIdx="3" presStyleCnt="4">
        <dgm:presLayoutVars>
          <dgm:chMax val="0"/>
          <dgm:chPref val="0"/>
          <dgm:bulletEnabled val="1"/>
        </dgm:presLayoutVars>
      </dgm:prSet>
      <dgm:spPr/>
    </dgm:pt>
  </dgm:ptLst>
  <dgm:cxnLst>
    <dgm:cxn modelId="{FD198A1E-7428-49A3-A31F-936FCA6E554A}" srcId="{89A6270A-F738-44E8-AB4F-DE916E1BF4F0}" destId="{57BB5089-B6CB-42C7-A86B-39645E43D2AE}" srcOrd="2" destOrd="0" parTransId="{9AB9A1C4-E0CC-43B4-B934-942AC8332754}" sibTransId="{3F5AA50B-28CD-41BE-9D9F-007F544BE55C}"/>
    <dgm:cxn modelId="{798F565D-0ABB-49C0-ACE0-E3FD6B100BDE}" srcId="{89A6270A-F738-44E8-AB4F-DE916E1BF4F0}" destId="{93E6600F-0B15-43AA-979E-1AAB719D8FC1}" srcOrd="1" destOrd="0" parTransId="{256F5DFF-74F7-40E9-AAD8-DE59C390771D}" sibTransId="{FBA1A182-F150-4BEF-BF14-9E84163A1254}"/>
    <dgm:cxn modelId="{283D5863-5778-433D-BE8E-1DAA8690736D}" type="presOf" srcId="{89A6270A-F738-44E8-AB4F-DE916E1BF4F0}" destId="{D435F023-A091-473F-AC0E-01D995C09969}" srcOrd="0" destOrd="0" presId="urn:microsoft.com/office/officeart/2005/8/layout/chevron1"/>
    <dgm:cxn modelId="{6FB2A171-20C7-447D-A526-23581D387167}" srcId="{89A6270A-F738-44E8-AB4F-DE916E1BF4F0}" destId="{6A5E3FD3-8A2E-4E29-84D8-0C0691BB29E3}" srcOrd="0" destOrd="0" parTransId="{2FC7637B-F1C5-4659-9753-575BD45EB0D4}" sibTransId="{01838F59-8276-44BE-B744-786A7A5FCC43}"/>
    <dgm:cxn modelId="{0D88AE59-6D72-495A-9F24-A416F1378574}" type="presOf" srcId="{57BB5089-B6CB-42C7-A86B-39645E43D2AE}" destId="{75968E63-6DDA-4B94-BBCF-7112A63C32D3}" srcOrd="0" destOrd="0" presId="urn:microsoft.com/office/officeart/2005/8/layout/chevron1"/>
    <dgm:cxn modelId="{04B3759A-DDC4-4EA4-AC08-1023B213D859}" type="presOf" srcId="{93E6600F-0B15-43AA-979E-1AAB719D8FC1}" destId="{9DDDBD41-C5E7-4927-B271-874500B041D2}" srcOrd="0" destOrd="0" presId="urn:microsoft.com/office/officeart/2005/8/layout/chevron1"/>
    <dgm:cxn modelId="{2DD603A8-8A9E-4304-97CE-B2CD37F86A4F}" type="presOf" srcId="{6A5E3FD3-8A2E-4E29-84D8-0C0691BB29E3}" destId="{62B19DB6-760A-46E0-AF70-B0F28219ADCD}" srcOrd="0" destOrd="0" presId="urn:microsoft.com/office/officeart/2005/8/layout/chevron1"/>
    <dgm:cxn modelId="{D68525BE-804E-4CA7-A4DB-DF003DD15774}" type="presOf" srcId="{7CB3D6C7-C55D-42FF-8B9A-3D416FDDFF63}" destId="{C9BA41F8-21A7-4F5B-A8A4-7AFB4B7CFA50}" srcOrd="0" destOrd="0" presId="urn:microsoft.com/office/officeart/2005/8/layout/chevron1"/>
    <dgm:cxn modelId="{3079C2BF-B578-4479-9604-EAA2F9ACD5C8}" srcId="{89A6270A-F738-44E8-AB4F-DE916E1BF4F0}" destId="{7CB3D6C7-C55D-42FF-8B9A-3D416FDDFF63}" srcOrd="3" destOrd="0" parTransId="{5D09F891-D0E4-43B0-BA0E-4E48E9705362}" sibTransId="{335891C3-855A-4686-9B74-135167B1F078}"/>
    <dgm:cxn modelId="{5BD71E2F-FF28-460D-8B45-DDDBF7BB41C1}" type="presParOf" srcId="{D435F023-A091-473F-AC0E-01D995C09969}" destId="{62B19DB6-760A-46E0-AF70-B0F28219ADCD}" srcOrd="0" destOrd="0" presId="urn:microsoft.com/office/officeart/2005/8/layout/chevron1"/>
    <dgm:cxn modelId="{55F5CC88-0BEF-433E-B91C-14EE3BFBACFE}" type="presParOf" srcId="{D435F023-A091-473F-AC0E-01D995C09969}" destId="{0B63CADB-A421-4B6C-8FD7-0B66A5E0B7A7}" srcOrd="1" destOrd="0" presId="urn:microsoft.com/office/officeart/2005/8/layout/chevron1"/>
    <dgm:cxn modelId="{E8595782-BD98-4D02-BF00-BECA538FD6E9}" type="presParOf" srcId="{D435F023-A091-473F-AC0E-01D995C09969}" destId="{9DDDBD41-C5E7-4927-B271-874500B041D2}" srcOrd="2" destOrd="0" presId="urn:microsoft.com/office/officeart/2005/8/layout/chevron1"/>
    <dgm:cxn modelId="{6FD81426-6E22-4D50-A748-8DA91B653E3D}" type="presParOf" srcId="{D435F023-A091-473F-AC0E-01D995C09969}" destId="{22F5CB49-3B4D-4AF0-87E2-496DCE958B93}" srcOrd="3" destOrd="0" presId="urn:microsoft.com/office/officeart/2005/8/layout/chevron1"/>
    <dgm:cxn modelId="{9A4786F0-3BE3-4117-A023-E5D772C78714}" type="presParOf" srcId="{D435F023-A091-473F-AC0E-01D995C09969}" destId="{75968E63-6DDA-4B94-BBCF-7112A63C32D3}" srcOrd="4" destOrd="0" presId="urn:microsoft.com/office/officeart/2005/8/layout/chevron1"/>
    <dgm:cxn modelId="{57E4790F-2EDC-4BC1-9A77-3DEFFBF8BC14}" type="presParOf" srcId="{D435F023-A091-473F-AC0E-01D995C09969}" destId="{02A3D6A5-68EA-4EDC-8C93-F6272F8D0C93}" srcOrd="5" destOrd="0" presId="urn:microsoft.com/office/officeart/2005/8/layout/chevron1"/>
    <dgm:cxn modelId="{09065189-91C2-47D3-96A6-669E355F91B3}" type="presParOf" srcId="{D435F023-A091-473F-AC0E-01D995C09969}" destId="{C9BA41F8-21A7-4F5B-A8A4-7AFB4B7CFA50}" srcOrd="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9A6270A-F738-44E8-AB4F-DE916E1BF4F0}" type="doc">
      <dgm:prSet loTypeId="urn:microsoft.com/office/officeart/2005/8/layout/chevron1" loCatId="process" qsTypeId="urn:microsoft.com/office/officeart/2005/8/quickstyle/simple1" qsCatId="simple" csTypeId="urn:microsoft.com/office/officeart/2005/8/colors/accent1_2" csCatId="accent1" phldr="1"/>
      <dgm:spPr/>
    </dgm:pt>
    <dgm:pt modelId="{6A5E3FD3-8A2E-4E29-84D8-0C0691BB29E3}">
      <dgm:prSet phldrT="[Texto]" custT="1"/>
      <dgm:spPr>
        <a:solidFill>
          <a:schemeClr val="accent2">
            <a:lumMod val="60000"/>
            <a:lumOff val="40000"/>
          </a:schemeClr>
        </a:solidFill>
      </dgm:spPr>
      <dgm:t>
        <a:bodyPr/>
        <a:lstStyle/>
        <a:p>
          <a:r>
            <a:rPr lang="pt-BR" sz="1600" b="1" dirty="0"/>
            <a:t>Fertilizantes</a:t>
          </a:r>
        </a:p>
      </dgm:t>
    </dgm:pt>
    <dgm:pt modelId="{2FC7637B-F1C5-4659-9753-575BD45EB0D4}" type="parTrans" cxnId="{6FB2A171-20C7-447D-A526-23581D387167}">
      <dgm:prSet/>
      <dgm:spPr/>
      <dgm:t>
        <a:bodyPr/>
        <a:lstStyle/>
        <a:p>
          <a:endParaRPr lang="pt-BR" sz="2000"/>
        </a:p>
      </dgm:t>
    </dgm:pt>
    <dgm:pt modelId="{01838F59-8276-44BE-B744-786A7A5FCC43}" type="sibTrans" cxnId="{6FB2A171-20C7-447D-A526-23581D387167}">
      <dgm:prSet/>
      <dgm:spPr/>
      <dgm:t>
        <a:bodyPr/>
        <a:lstStyle/>
        <a:p>
          <a:endParaRPr lang="pt-BR" sz="2000"/>
        </a:p>
      </dgm:t>
    </dgm:pt>
    <dgm:pt modelId="{93E6600F-0B15-43AA-979E-1AAB719D8FC1}">
      <dgm:prSet phldrT="[Texto]" custT="1"/>
      <dgm:spPr>
        <a:solidFill>
          <a:schemeClr val="accent2">
            <a:lumMod val="60000"/>
            <a:lumOff val="40000"/>
          </a:schemeClr>
        </a:solidFill>
      </dgm:spPr>
      <dgm:t>
        <a:bodyPr/>
        <a:lstStyle/>
        <a:p>
          <a:r>
            <a:rPr lang="pt-BR" sz="1600" b="1" dirty="0" err="1"/>
            <a:t>Bioestimulantes</a:t>
          </a:r>
          <a:endParaRPr lang="pt-BR" sz="1600" b="1" dirty="0"/>
        </a:p>
      </dgm:t>
    </dgm:pt>
    <dgm:pt modelId="{256F5DFF-74F7-40E9-AAD8-DE59C390771D}" type="parTrans" cxnId="{798F565D-0ABB-49C0-ACE0-E3FD6B100BDE}">
      <dgm:prSet/>
      <dgm:spPr/>
      <dgm:t>
        <a:bodyPr/>
        <a:lstStyle/>
        <a:p>
          <a:endParaRPr lang="pt-BR" sz="2000"/>
        </a:p>
      </dgm:t>
    </dgm:pt>
    <dgm:pt modelId="{FBA1A182-F150-4BEF-BF14-9E84163A1254}" type="sibTrans" cxnId="{798F565D-0ABB-49C0-ACE0-E3FD6B100BDE}">
      <dgm:prSet/>
      <dgm:spPr/>
      <dgm:t>
        <a:bodyPr/>
        <a:lstStyle/>
        <a:p>
          <a:endParaRPr lang="pt-BR" sz="2000"/>
        </a:p>
      </dgm:t>
    </dgm:pt>
    <dgm:pt modelId="{57BB5089-B6CB-42C7-A86B-39645E43D2AE}">
      <dgm:prSet phldrT="[Texto]" custT="1"/>
      <dgm:spPr>
        <a:solidFill>
          <a:schemeClr val="accent2">
            <a:lumMod val="60000"/>
            <a:lumOff val="40000"/>
          </a:schemeClr>
        </a:solidFill>
      </dgm:spPr>
      <dgm:t>
        <a:bodyPr/>
        <a:lstStyle/>
        <a:p>
          <a:r>
            <a:rPr lang="pt-BR" sz="1600" b="1" dirty="0"/>
            <a:t>Indutores de resistência nas Plantas</a:t>
          </a:r>
        </a:p>
      </dgm:t>
    </dgm:pt>
    <dgm:pt modelId="{9AB9A1C4-E0CC-43B4-B934-942AC8332754}" type="parTrans" cxnId="{FD198A1E-7428-49A3-A31F-936FCA6E554A}">
      <dgm:prSet/>
      <dgm:spPr/>
      <dgm:t>
        <a:bodyPr/>
        <a:lstStyle/>
        <a:p>
          <a:endParaRPr lang="pt-BR" sz="2000"/>
        </a:p>
      </dgm:t>
    </dgm:pt>
    <dgm:pt modelId="{3F5AA50B-28CD-41BE-9D9F-007F544BE55C}" type="sibTrans" cxnId="{FD198A1E-7428-49A3-A31F-936FCA6E554A}">
      <dgm:prSet/>
      <dgm:spPr/>
      <dgm:t>
        <a:bodyPr/>
        <a:lstStyle/>
        <a:p>
          <a:endParaRPr lang="pt-BR" sz="2000"/>
        </a:p>
      </dgm:t>
    </dgm:pt>
    <dgm:pt modelId="{7CB3D6C7-C55D-42FF-8B9A-3D416FDDFF63}">
      <dgm:prSet custT="1"/>
      <dgm:spPr>
        <a:solidFill>
          <a:schemeClr val="accent2">
            <a:lumMod val="60000"/>
            <a:lumOff val="40000"/>
          </a:schemeClr>
        </a:solidFill>
      </dgm:spPr>
      <dgm:t>
        <a:bodyPr/>
        <a:lstStyle/>
        <a:p>
          <a:r>
            <a:rPr lang="pt-BR" sz="1600" b="1" dirty="0"/>
            <a:t>Pesticidas / Fungicidas / </a:t>
          </a:r>
          <a:r>
            <a:rPr lang="pt-BR" sz="1600" b="1" dirty="0" err="1"/>
            <a:t>etc</a:t>
          </a:r>
          <a:endParaRPr lang="pt-BR" sz="1600" b="1" dirty="0"/>
        </a:p>
      </dgm:t>
    </dgm:pt>
    <dgm:pt modelId="{5D09F891-D0E4-43B0-BA0E-4E48E9705362}" type="parTrans" cxnId="{3079C2BF-B578-4479-9604-EAA2F9ACD5C8}">
      <dgm:prSet/>
      <dgm:spPr/>
      <dgm:t>
        <a:bodyPr/>
        <a:lstStyle/>
        <a:p>
          <a:endParaRPr lang="pt-BR" sz="2000"/>
        </a:p>
      </dgm:t>
    </dgm:pt>
    <dgm:pt modelId="{335891C3-855A-4686-9B74-135167B1F078}" type="sibTrans" cxnId="{3079C2BF-B578-4479-9604-EAA2F9ACD5C8}">
      <dgm:prSet/>
      <dgm:spPr/>
      <dgm:t>
        <a:bodyPr/>
        <a:lstStyle/>
        <a:p>
          <a:endParaRPr lang="pt-BR" sz="2000"/>
        </a:p>
      </dgm:t>
    </dgm:pt>
    <dgm:pt modelId="{D435F023-A091-473F-AC0E-01D995C09969}" type="pres">
      <dgm:prSet presAssocID="{89A6270A-F738-44E8-AB4F-DE916E1BF4F0}" presName="Name0" presStyleCnt="0">
        <dgm:presLayoutVars>
          <dgm:dir/>
          <dgm:animLvl val="lvl"/>
          <dgm:resizeHandles val="exact"/>
        </dgm:presLayoutVars>
      </dgm:prSet>
      <dgm:spPr/>
    </dgm:pt>
    <dgm:pt modelId="{62B19DB6-760A-46E0-AF70-B0F28219ADCD}" type="pres">
      <dgm:prSet presAssocID="{6A5E3FD3-8A2E-4E29-84D8-0C0691BB29E3}" presName="parTxOnly" presStyleLbl="node1" presStyleIdx="0" presStyleCnt="4">
        <dgm:presLayoutVars>
          <dgm:chMax val="0"/>
          <dgm:chPref val="0"/>
          <dgm:bulletEnabled val="1"/>
        </dgm:presLayoutVars>
      </dgm:prSet>
      <dgm:spPr/>
    </dgm:pt>
    <dgm:pt modelId="{0B63CADB-A421-4B6C-8FD7-0B66A5E0B7A7}" type="pres">
      <dgm:prSet presAssocID="{01838F59-8276-44BE-B744-786A7A5FCC43}" presName="parTxOnlySpace" presStyleCnt="0"/>
      <dgm:spPr/>
    </dgm:pt>
    <dgm:pt modelId="{9DDDBD41-C5E7-4927-B271-874500B041D2}" type="pres">
      <dgm:prSet presAssocID="{93E6600F-0B15-43AA-979E-1AAB719D8FC1}" presName="parTxOnly" presStyleLbl="node1" presStyleIdx="1" presStyleCnt="4" custScaleX="108988">
        <dgm:presLayoutVars>
          <dgm:chMax val="0"/>
          <dgm:chPref val="0"/>
          <dgm:bulletEnabled val="1"/>
        </dgm:presLayoutVars>
      </dgm:prSet>
      <dgm:spPr/>
    </dgm:pt>
    <dgm:pt modelId="{22F5CB49-3B4D-4AF0-87E2-496DCE958B93}" type="pres">
      <dgm:prSet presAssocID="{FBA1A182-F150-4BEF-BF14-9E84163A1254}" presName="parTxOnlySpace" presStyleCnt="0"/>
      <dgm:spPr/>
    </dgm:pt>
    <dgm:pt modelId="{75968E63-6DDA-4B94-BBCF-7112A63C32D3}" type="pres">
      <dgm:prSet presAssocID="{57BB5089-B6CB-42C7-A86B-39645E43D2AE}" presName="parTxOnly" presStyleLbl="node1" presStyleIdx="2" presStyleCnt="4">
        <dgm:presLayoutVars>
          <dgm:chMax val="0"/>
          <dgm:chPref val="0"/>
          <dgm:bulletEnabled val="1"/>
        </dgm:presLayoutVars>
      </dgm:prSet>
      <dgm:spPr/>
    </dgm:pt>
    <dgm:pt modelId="{02A3D6A5-68EA-4EDC-8C93-F6272F8D0C93}" type="pres">
      <dgm:prSet presAssocID="{3F5AA50B-28CD-41BE-9D9F-007F544BE55C}" presName="parTxOnlySpace" presStyleCnt="0"/>
      <dgm:spPr/>
    </dgm:pt>
    <dgm:pt modelId="{C9BA41F8-21A7-4F5B-A8A4-7AFB4B7CFA50}" type="pres">
      <dgm:prSet presAssocID="{7CB3D6C7-C55D-42FF-8B9A-3D416FDDFF63}" presName="parTxOnly" presStyleLbl="node1" presStyleIdx="3" presStyleCnt="4">
        <dgm:presLayoutVars>
          <dgm:chMax val="0"/>
          <dgm:chPref val="0"/>
          <dgm:bulletEnabled val="1"/>
        </dgm:presLayoutVars>
      </dgm:prSet>
      <dgm:spPr/>
    </dgm:pt>
  </dgm:ptLst>
  <dgm:cxnLst>
    <dgm:cxn modelId="{FD198A1E-7428-49A3-A31F-936FCA6E554A}" srcId="{89A6270A-F738-44E8-AB4F-DE916E1BF4F0}" destId="{57BB5089-B6CB-42C7-A86B-39645E43D2AE}" srcOrd="2" destOrd="0" parTransId="{9AB9A1C4-E0CC-43B4-B934-942AC8332754}" sibTransId="{3F5AA50B-28CD-41BE-9D9F-007F544BE55C}"/>
    <dgm:cxn modelId="{798F565D-0ABB-49C0-ACE0-E3FD6B100BDE}" srcId="{89A6270A-F738-44E8-AB4F-DE916E1BF4F0}" destId="{93E6600F-0B15-43AA-979E-1AAB719D8FC1}" srcOrd="1" destOrd="0" parTransId="{256F5DFF-74F7-40E9-AAD8-DE59C390771D}" sibTransId="{FBA1A182-F150-4BEF-BF14-9E84163A1254}"/>
    <dgm:cxn modelId="{283D5863-5778-433D-BE8E-1DAA8690736D}" type="presOf" srcId="{89A6270A-F738-44E8-AB4F-DE916E1BF4F0}" destId="{D435F023-A091-473F-AC0E-01D995C09969}" srcOrd="0" destOrd="0" presId="urn:microsoft.com/office/officeart/2005/8/layout/chevron1"/>
    <dgm:cxn modelId="{6FB2A171-20C7-447D-A526-23581D387167}" srcId="{89A6270A-F738-44E8-AB4F-DE916E1BF4F0}" destId="{6A5E3FD3-8A2E-4E29-84D8-0C0691BB29E3}" srcOrd="0" destOrd="0" parTransId="{2FC7637B-F1C5-4659-9753-575BD45EB0D4}" sibTransId="{01838F59-8276-44BE-B744-786A7A5FCC43}"/>
    <dgm:cxn modelId="{0D88AE59-6D72-495A-9F24-A416F1378574}" type="presOf" srcId="{57BB5089-B6CB-42C7-A86B-39645E43D2AE}" destId="{75968E63-6DDA-4B94-BBCF-7112A63C32D3}" srcOrd="0" destOrd="0" presId="urn:microsoft.com/office/officeart/2005/8/layout/chevron1"/>
    <dgm:cxn modelId="{04B3759A-DDC4-4EA4-AC08-1023B213D859}" type="presOf" srcId="{93E6600F-0B15-43AA-979E-1AAB719D8FC1}" destId="{9DDDBD41-C5E7-4927-B271-874500B041D2}" srcOrd="0" destOrd="0" presId="urn:microsoft.com/office/officeart/2005/8/layout/chevron1"/>
    <dgm:cxn modelId="{2DD603A8-8A9E-4304-97CE-B2CD37F86A4F}" type="presOf" srcId="{6A5E3FD3-8A2E-4E29-84D8-0C0691BB29E3}" destId="{62B19DB6-760A-46E0-AF70-B0F28219ADCD}" srcOrd="0" destOrd="0" presId="urn:microsoft.com/office/officeart/2005/8/layout/chevron1"/>
    <dgm:cxn modelId="{D68525BE-804E-4CA7-A4DB-DF003DD15774}" type="presOf" srcId="{7CB3D6C7-C55D-42FF-8B9A-3D416FDDFF63}" destId="{C9BA41F8-21A7-4F5B-A8A4-7AFB4B7CFA50}" srcOrd="0" destOrd="0" presId="urn:microsoft.com/office/officeart/2005/8/layout/chevron1"/>
    <dgm:cxn modelId="{3079C2BF-B578-4479-9604-EAA2F9ACD5C8}" srcId="{89A6270A-F738-44E8-AB4F-DE916E1BF4F0}" destId="{7CB3D6C7-C55D-42FF-8B9A-3D416FDDFF63}" srcOrd="3" destOrd="0" parTransId="{5D09F891-D0E4-43B0-BA0E-4E48E9705362}" sibTransId="{335891C3-855A-4686-9B74-135167B1F078}"/>
    <dgm:cxn modelId="{5BD71E2F-FF28-460D-8B45-DDDBF7BB41C1}" type="presParOf" srcId="{D435F023-A091-473F-AC0E-01D995C09969}" destId="{62B19DB6-760A-46E0-AF70-B0F28219ADCD}" srcOrd="0" destOrd="0" presId="urn:microsoft.com/office/officeart/2005/8/layout/chevron1"/>
    <dgm:cxn modelId="{55F5CC88-0BEF-433E-B91C-14EE3BFBACFE}" type="presParOf" srcId="{D435F023-A091-473F-AC0E-01D995C09969}" destId="{0B63CADB-A421-4B6C-8FD7-0B66A5E0B7A7}" srcOrd="1" destOrd="0" presId="urn:microsoft.com/office/officeart/2005/8/layout/chevron1"/>
    <dgm:cxn modelId="{E8595782-BD98-4D02-BF00-BECA538FD6E9}" type="presParOf" srcId="{D435F023-A091-473F-AC0E-01D995C09969}" destId="{9DDDBD41-C5E7-4927-B271-874500B041D2}" srcOrd="2" destOrd="0" presId="urn:microsoft.com/office/officeart/2005/8/layout/chevron1"/>
    <dgm:cxn modelId="{6FD81426-6E22-4D50-A748-8DA91B653E3D}" type="presParOf" srcId="{D435F023-A091-473F-AC0E-01D995C09969}" destId="{22F5CB49-3B4D-4AF0-87E2-496DCE958B93}" srcOrd="3" destOrd="0" presId="urn:microsoft.com/office/officeart/2005/8/layout/chevron1"/>
    <dgm:cxn modelId="{9A4786F0-3BE3-4117-A023-E5D772C78714}" type="presParOf" srcId="{D435F023-A091-473F-AC0E-01D995C09969}" destId="{75968E63-6DDA-4B94-BBCF-7112A63C32D3}" srcOrd="4" destOrd="0" presId="urn:microsoft.com/office/officeart/2005/8/layout/chevron1"/>
    <dgm:cxn modelId="{57E4790F-2EDC-4BC1-9A77-3DEFFBF8BC14}" type="presParOf" srcId="{D435F023-A091-473F-AC0E-01D995C09969}" destId="{02A3D6A5-68EA-4EDC-8C93-F6272F8D0C93}" srcOrd="5" destOrd="0" presId="urn:microsoft.com/office/officeart/2005/8/layout/chevron1"/>
    <dgm:cxn modelId="{09065189-91C2-47D3-96A6-669E355F91B3}" type="presParOf" srcId="{D435F023-A091-473F-AC0E-01D995C09969}" destId="{C9BA41F8-21A7-4F5B-A8A4-7AFB4B7CFA50}" srcOrd="6" destOrd="0" presId="urn:microsoft.com/office/officeart/2005/8/layout/chevro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B19DB6-760A-46E0-AF70-B0F28219ADCD}">
      <dsp:nvSpPr>
        <dsp:cNvPr id="0" name=""/>
        <dsp:cNvSpPr/>
      </dsp:nvSpPr>
      <dsp:spPr>
        <a:xfrm>
          <a:off x="4074" y="164388"/>
          <a:ext cx="2371812" cy="948724"/>
        </a:xfrm>
        <a:prstGeom prst="chevron">
          <a:avLst/>
        </a:prstGeom>
        <a:solidFill>
          <a:srgbClr val="A9C7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0" kern="1200" dirty="0"/>
            <a:t>Alimentação Básica</a:t>
          </a:r>
        </a:p>
      </dsp:txBody>
      <dsp:txXfrm>
        <a:off x="478436" y="164388"/>
        <a:ext cx="1423088" cy="948724"/>
      </dsp:txXfrm>
    </dsp:sp>
    <dsp:sp modelId="{9DDDBD41-C5E7-4927-B271-874500B041D2}">
      <dsp:nvSpPr>
        <dsp:cNvPr id="0" name=""/>
        <dsp:cNvSpPr/>
      </dsp:nvSpPr>
      <dsp:spPr>
        <a:xfrm>
          <a:off x="2138705" y="164388"/>
          <a:ext cx="2371812" cy="948724"/>
        </a:xfrm>
        <a:prstGeom prst="chevron">
          <a:avLst/>
        </a:prstGeom>
        <a:solidFill>
          <a:srgbClr val="A9C7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0" kern="1200" dirty="0"/>
            <a:t>Alimentos Funcionais &amp; Probióticos</a:t>
          </a:r>
        </a:p>
      </dsp:txBody>
      <dsp:txXfrm>
        <a:off x="2613067" y="164388"/>
        <a:ext cx="1423088" cy="948724"/>
      </dsp:txXfrm>
    </dsp:sp>
    <dsp:sp modelId="{75968E63-6DDA-4B94-BBCF-7112A63C32D3}">
      <dsp:nvSpPr>
        <dsp:cNvPr id="0" name=""/>
        <dsp:cNvSpPr/>
      </dsp:nvSpPr>
      <dsp:spPr>
        <a:xfrm>
          <a:off x="4273336" y="164388"/>
          <a:ext cx="2371812" cy="948724"/>
        </a:xfrm>
        <a:prstGeom prst="chevron">
          <a:avLst/>
        </a:prstGeom>
        <a:solidFill>
          <a:srgbClr val="A9C7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1" kern="1200" dirty="0"/>
            <a:t>Vacinas</a:t>
          </a:r>
        </a:p>
      </dsp:txBody>
      <dsp:txXfrm>
        <a:off x="4747698" y="164388"/>
        <a:ext cx="1423088" cy="948724"/>
      </dsp:txXfrm>
    </dsp:sp>
    <dsp:sp modelId="{C9BA41F8-21A7-4F5B-A8A4-7AFB4B7CFA50}">
      <dsp:nvSpPr>
        <dsp:cNvPr id="0" name=""/>
        <dsp:cNvSpPr/>
      </dsp:nvSpPr>
      <dsp:spPr>
        <a:xfrm>
          <a:off x="6407967" y="164388"/>
          <a:ext cx="2371812" cy="948724"/>
        </a:xfrm>
        <a:prstGeom prst="chevron">
          <a:avLst/>
        </a:prstGeom>
        <a:solidFill>
          <a:srgbClr val="A9C7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1" kern="1200" dirty="0"/>
            <a:t>Medicamentos</a:t>
          </a:r>
        </a:p>
      </dsp:txBody>
      <dsp:txXfrm>
        <a:off x="6882329" y="164388"/>
        <a:ext cx="1423088" cy="9487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B19DB6-760A-46E0-AF70-B0F28219ADCD}">
      <dsp:nvSpPr>
        <dsp:cNvPr id="0" name=""/>
        <dsp:cNvSpPr/>
      </dsp:nvSpPr>
      <dsp:spPr>
        <a:xfrm>
          <a:off x="3141" y="175539"/>
          <a:ext cx="2316055" cy="926422"/>
        </a:xfrm>
        <a:prstGeom prst="chevron">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1" kern="1200" dirty="0"/>
            <a:t>Fertilizantes</a:t>
          </a:r>
        </a:p>
      </dsp:txBody>
      <dsp:txXfrm>
        <a:off x="466352" y="175539"/>
        <a:ext cx="1389633" cy="926422"/>
      </dsp:txXfrm>
    </dsp:sp>
    <dsp:sp modelId="{9DDDBD41-C5E7-4927-B271-874500B041D2}">
      <dsp:nvSpPr>
        <dsp:cNvPr id="0" name=""/>
        <dsp:cNvSpPr/>
      </dsp:nvSpPr>
      <dsp:spPr>
        <a:xfrm>
          <a:off x="2087590" y="175539"/>
          <a:ext cx="2524222" cy="926422"/>
        </a:xfrm>
        <a:prstGeom prst="chevron">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1" kern="1200" dirty="0" err="1"/>
            <a:t>Bioestimulantes</a:t>
          </a:r>
          <a:endParaRPr lang="pt-BR" sz="1600" b="1" kern="1200" dirty="0"/>
        </a:p>
      </dsp:txBody>
      <dsp:txXfrm>
        <a:off x="2550801" y="175539"/>
        <a:ext cx="1597800" cy="926422"/>
      </dsp:txXfrm>
    </dsp:sp>
    <dsp:sp modelId="{75968E63-6DDA-4B94-BBCF-7112A63C32D3}">
      <dsp:nvSpPr>
        <dsp:cNvPr id="0" name=""/>
        <dsp:cNvSpPr/>
      </dsp:nvSpPr>
      <dsp:spPr>
        <a:xfrm>
          <a:off x="4380207" y="175539"/>
          <a:ext cx="2316055" cy="926422"/>
        </a:xfrm>
        <a:prstGeom prst="chevron">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1" kern="1200" dirty="0"/>
            <a:t>Indutores de resistência nas Plantas</a:t>
          </a:r>
        </a:p>
      </dsp:txBody>
      <dsp:txXfrm>
        <a:off x="4843418" y="175539"/>
        <a:ext cx="1389633" cy="926422"/>
      </dsp:txXfrm>
    </dsp:sp>
    <dsp:sp modelId="{C9BA41F8-21A7-4F5B-A8A4-7AFB4B7CFA50}">
      <dsp:nvSpPr>
        <dsp:cNvPr id="0" name=""/>
        <dsp:cNvSpPr/>
      </dsp:nvSpPr>
      <dsp:spPr>
        <a:xfrm>
          <a:off x="6464657" y="175539"/>
          <a:ext cx="2316055" cy="926422"/>
        </a:xfrm>
        <a:prstGeom prst="chevron">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pt-BR" sz="1600" b="1" kern="1200" dirty="0"/>
            <a:t>Pesticidas / Fungicidas / </a:t>
          </a:r>
          <a:r>
            <a:rPr lang="pt-BR" sz="1600" b="1" kern="1200" dirty="0" err="1"/>
            <a:t>etc</a:t>
          </a:r>
          <a:endParaRPr lang="pt-BR" sz="1600" b="1" kern="1200" dirty="0"/>
        </a:p>
      </dsp:txBody>
      <dsp:txXfrm>
        <a:off x="6927868" y="175539"/>
        <a:ext cx="1389633" cy="92642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4435475" cy="3556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5797550" y="0"/>
            <a:ext cx="4435475" cy="355600"/>
          </a:xfrm>
          <a:prstGeom prst="rect">
            <a:avLst/>
          </a:prstGeom>
        </p:spPr>
        <p:txBody>
          <a:bodyPr vert="horz" lIns="91440" tIns="45720" rIns="91440" bIns="45720" rtlCol="0"/>
          <a:lstStyle>
            <a:lvl1pPr algn="r">
              <a:defRPr sz="1200"/>
            </a:lvl1pPr>
          </a:lstStyle>
          <a:p>
            <a:fld id="{F97A2B0E-913E-CB42-880B-46E4F6DE3CCD}" type="datetime1">
              <a:rPr lang="it-IT" smtClean="0"/>
              <a:t>23/05/2019</a:t>
            </a:fld>
            <a:endParaRPr lang="it-IT"/>
          </a:p>
        </p:txBody>
      </p:sp>
      <p:sp>
        <p:nvSpPr>
          <p:cNvPr id="4" name="Segnaposto piè di pagina 3"/>
          <p:cNvSpPr>
            <a:spLocks noGrp="1"/>
          </p:cNvSpPr>
          <p:nvPr>
            <p:ph type="ftr" sz="quarter" idx="2"/>
          </p:nvPr>
        </p:nvSpPr>
        <p:spPr>
          <a:xfrm>
            <a:off x="0" y="6743700"/>
            <a:ext cx="4435475" cy="354013"/>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5797550" y="6743700"/>
            <a:ext cx="4435475" cy="354013"/>
          </a:xfrm>
          <a:prstGeom prst="rect">
            <a:avLst/>
          </a:prstGeom>
        </p:spPr>
        <p:txBody>
          <a:bodyPr vert="horz" lIns="91440" tIns="45720" rIns="91440" bIns="45720" rtlCol="0" anchor="b"/>
          <a:lstStyle>
            <a:lvl1pPr algn="r">
              <a:defRPr sz="1200"/>
            </a:lvl1pPr>
          </a:lstStyle>
          <a:p>
            <a:fld id="{16C37D8E-DDD6-2B49-9D57-40E01962911C}" type="slidenum">
              <a:rPr lang="it-IT" smtClean="0"/>
              <a:t>‹nº›</a:t>
            </a:fld>
            <a:endParaRPr lang="it-IT"/>
          </a:p>
        </p:txBody>
      </p:sp>
    </p:spTree>
    <p:extLst>
      <p:ext uri="{BB962C8B-B14F-4D97-AF65-F5344CB8AC3E}">
        <p14:creationId xmlns:p14="http://schemas.microsoft.com/office/powerpoint/2010/main" val="7545290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4435475" cy="3556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5797550" y="0"/>
            <a:ext cx="4435475" cy="355600"/>
          </a:xfrm>
          <a:prstGeom prst="rect">
            <a:avLst/>
          </a:prstGeom>
        </p:spPr>
        <p:txBody>
          <a:bodyPr vert="horz" lIns="91440" tIns="45720" rIns="91440" bIns="45720" rtlCol="0"/>
          <a:lstStyle>
            <a:lvl1pPr algn="r">
              <a:defRPr sz="1200"/>
            </a:lvl1pPr>
          </a:lstStyle>
          <a:p>
            <a:fld id="{43A2F29F-58E0-E743-B118-B516EEEB69BF}" type="datetime1">
              <a:rPr lang="it-IT" smtClean="0"/>
              <a:t>23/05/2019</a:t>
            </a:fld>
            <a:endParaRPr lang="it-IT"/>
          </a:p>
        </p:txBody>
      </p:sp>
      <p:sp>
        <p:nvSpPr>
          <p:cNvPr id="4" name="Segnaposto immagine diapositiva 3"/>
          <p:cNvSpPr>
            <a:spLocks noGrp="1" noRot="1" noChangeAspect="1"/>
          </p:cNvSpPr>
          <p:nvPr>
            <p:ph type="sldImg" idx="2"/>
          </p:nvPr>
        </p:nvSpPr>
        <p:spPr>
          <a:xfrm>
            <a:off x="3424238" y="887413"/>
            <a:ext cx="3386137" cy="239553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1023938" y="3416300"/>
            <a:ext cx="8186737" cy="2795588"/>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6743700"/>
            <a:ext cx="4435475" cy="3556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5797550" y="6743700"/>
            <a:ext cx="4435475" cy="355600"/>
          </a:xfrm>
          <a:prstGeom prst="rect">
            <a:avLst/>
          </a:prstGeom>
        </p:spPr>
        <p:txBody>
          <a:bodyPr vert="horz" lIns="91440" tIns="45720" rIns="91440" bIns="45720" rtlCol="0" anchor="b"/>
          <a:lstStyle>
            <a:lvl1pPr algn="r">
              <a:defRPr sz="1200"/>
            </a:lvl1pPr>
          </a:lstStyle>
          <a:p>
            <a:fld id="{B6BCFC18-0B3E-4EA0-BBC3-8A95CB37A93A}" type="slidenum">
              <a:rPr lang="it-IT" smtClean="0"/>
              <a:t>‹nº›</a:t>
            </a:fld>
            <a:endParaRPr lang="it-IT"/>
          </a:p>
        </p:txBody>
      </p:sp>
    </p:spTree>
    <p:extLst>
      <p:ext uri="{BB962C8B-B14F-4D97-AF65-F5344CB8AC3E}">
        <p14:creationId xmlns:p14="http://schemas.microsoft.com/office/powerpoint/2010/main" val="30485297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6BCFC18-0B3E-4EA0-BBC3-8A95CB37A93A}" type="slidenum">
              <a:rPr lang="it-IT" smtClean="0"/>
              <a:t>1</a:t>
            </a:fld>
            <a:endParaRPr lang="it-IT"/>
          </a:p>
        </p:txBody>
      </p:sp>
    </p:spTree>
    <p:extLst>
      <p:ext uri="{BB962C8B-B14F-4D97-AF65-F5344CB8AC3E}">
        <p14:creationId xmlns:p14="http://schemas.microsoft.com/office/powerpoint/2010/main" val="1417984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Porque tem um importante papel na MELHORIA DA TOLERANCIA AO STRESS ABIOTICO, </a:t>
            </a:r>
          </a:p>
          <a:p>
            <a:r>
              <a:rPr lang="it-IT" dirty="0"/>
              <a:t>Porque tem um melhor aproveitamento dos nutrientes já disponíveis – EFICIÊNICA – potencializado resultados</a:t>
            </a:r>
          </a:p>
          <a:p>
            <a:r>
              <a:rPr lang="it-IT" dirty="0"/>
              <a:t>Porque tem efeito na PRODUTIVIDADE em Grandes Culturas e melhora da QUALIDADE EM HF</a:t>
            </a:r>
          </a:p>
        </p:txBody>
      </p:sp>
      <p:sp>
        <p:nvSpPr>
          <p:cNvPr id="4" name="Segnaposto numero diapositiva 3"/>
          <p:cNvSpPr>
            <a:spLocks noGrp="1"/>
          </p:cNvSpPr>
          <p:nvPr>
            <p:ph type="sldNum" sz="quarter" idx="10"/>
          </p:nvPr>
        </p:nvSpPr>
        <p:spPr/>
        <p:txBody>
          <a:bodyPr/>
          <a:lstStyle/>
          <a:p>
            <a:fld id="{B6BCFC18-0B3E-4EA0-BBC3-8A95CB37A93A}" type="slidenum">
              <a:rPr lang="it-IT" smtClean="0"/>
              <a:t>14</a:t>
            </a:fld>
            <a:endParaRPr lang="it-IT"/>
          </a:p>
        </p:txBody>
      </p:sp>
    </p:spTree>
    <p:extLst>
      <p:ext uri="{BB962C8B-B14F-4D97-AF65-F5344CB8AC3E}">
        <p14:creationId xmlns:p14="http://schemas.microsoft.com/office/powerpoint/2010/main" val="2170662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like to take a moment to give a plug for the Biostimulant world, to which I subscribe to these days. The EU with the EBIC has developed a definition for biostimulants. They are more akin to the Functional foods and probiotics that we just talked to. </a:t>
            </a:r>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33964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Gostaria de compartilhar 3 pilares muito importante para todos nós:</a:t>
            </a:r>
          </a:p>
          <a:p>
            <a:endParaRPr lang="it-IT" dirty="0"/>
          </a:p>
          <a:p>
            <a:r>
              <a:rPr lang="it-IT" dirty="0"/>
              <a:t>1- MISSÂO/VISAO/VALORES</a:t>
            </a:r>
          </a:p>
          <a:p>
            <a:endParaRPr lang="it-IT" dirty="0"/>
          </a:p>
          <a:p>
            <a:r>
              <a:rPr lang="it-IT" dirty="0"/>
              <a:t>Há anos a Valagro veem desenvolvendo com paisão INOVADORADAS E EFETIVAS SOLUÇÕES para a nutrição e cuidado de plantas, com respeito a pessoas e ao ambiente. </a:t>
            </a:r>
          </a:p>
          <a:p>
            <a:endParaRPr lang="it-IT" dirty="0"/>
          </a:p>
          <a:p>
            <a:r>
              <a:rPr lang="it-IT" dirty="0"/>
              <a:t>A CRESCENTE DEMANDA POR ALIMENTOS E BEM ESTAR MUNDICAL, DEPENDE DE UMA EFETIVA CAPACIDADE DE ATENDIMENTO</a:t>
            </a:r>
          </a:p>
          <a:p>
            <a:r>
              <a:rPr lang="it-IT" dirty="0"/>
              <a:t>1- DEPENDER DE METODOS NATURAIS NÃO É REALISTA PARA ATENDER OS DESAFIOS GLOBAIS.</a:t>
            </a:r>
          </a:p>
          <a:p>
            <a:r>
              <a:rPr lang="it-IT" dirty="0"/>
              <a:t>2- DEPENDER EXCESSIVAMENTE DA QUIMICA NÃO É SUSTENTAVEL PARA O MEIO AMBIENTE</a:t>
            </a:r>
          </a:p>
          <a:p>
            <a:endParaRPr lang="it-IT" dirty="0"/>
          </a:p>
          <a:p>
            <a:r>
              <a:rPr lang="it-IT" dirty="0"/>
              <a:t>PORTANTO, «NOSSA VISÃO» É POSSÍVEL UMA 3° VIA, QUE ATENDA </a:t>
            </a:r>
            <a:r>
              <a:rPr lang="it-IT" b="1" dirty="0"/>
              <a:t>AS NECESSIDADES DA HUMANIDADE</a:t>
            </a:r>
            <a:r>
              <a:rPr lang="it-IT" dirty="0"/>
              <a:t> X </a:t>
            </a:r>
            <a:r>
              <a:rPr lang="it-IT" b="1" dirty="0"/>
              <a:t>USANDO MENOS RECURSOS, utilizando a Ciencia a Serviço do Homem, com Inovação e respeito a natureza.</a:t>
            </a:r>
          </a:p>
          <a:p>
            <a:endParaRPr lang="it-IT" dirty="0"/>
          </a:p>
          <a:p>
            <a:r>
              <a:rPr lang="it-IT" dirty="0"/>
              <a:t>Nosso Valores – seguir os slides</a:t>
            </a:r>
          </a:p>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17</a:t>
            </a:fld>
            <a:endParaRPr lang="it-IT"/>
          </a:p>
        </p:txBody>
      </p:sp>
    </p:spTree>
    <p:extLst>
      <p:ext uri="{BB962C8B-B14F-4D97-AF65-F5344CB8AC3E}">
        <p14:creationId xmlns:p14="http://schemas.microsoft.com/office/powerpoint/2010/main" val="39196243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18</a:t>
            </a:fld>
            <a:endParaRPr lang="it-IT"/>
          </a:p>
        </p:txBody>
      </p:sp>
    </p:spTree>
    <p:extLst>
      <p:ext uri="{BB962C8B-B14F-4D97-AF65-F5344CB8AC3E}">
        <p14:creationId xmlns:p14="http://schemas.microsoft.com/office/powerpoint/2010/main" val="24373008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19</a:t>
            </a:fld>
            <a:endParaRPr lang="it-IT"/>
          </a:p>
        </p:txBody>
      </p:sp>
    </p:spTree>
    <p:extLst>
      <p:ext uri="{BB962C8B-B14F-4D97-AF65-F5344CB8AC3E}">
        <p14:creationId xmlns:p14="http://schemas.microsoft.com/office/powerpoint/2010/main" val="39196243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20</a:t>
            </a:fld>
            <a:endParaRPr lang="it-IT"/>
          </a:p>
        </p:txBody>
      </p:sp>
    </p:spTree>
    <p:extLst>
      <p:ext uri="{BB962C8B-B14F-4D97-AF65-F5344CB8AC3E}">
        <p14:creationId xmlns:p14="http://schemas.microsoft.com/office/powerpoint/2010/main" val="2092212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21</a:t>
            </a:fld>
            <a:endParaRPr lang="it-IT"/>
          </a:p>
        </p:txBody>
      </p:sp>
    </p:spTree>
    <p:extLst>
      <p:ext uri="{BB962C8B-B14F-4D97-AF65-F5344CB8AC3E}">
        <p14:creationId xmlns:p14="http://schemas.microsoft.com/office/powerpoint/2010/main" val="24426568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22</a:t>
            </a:fld>
            <a:endParaRPr lang="it-IT"/>
          </a:p>
        </p:txBody>
      </p:sp>
    </p:spTree>
    <p:extLst>
      <p:ext uri="{BB962C8B-B14F-4D97-AF65-F5344CB8AC3E}">
        <p14:creationId xmlns:p14="http://schemas.microsoft.com/office/powerpoint/2010/main" val="39196243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24</a:t>
            </a:fld>
            <a:endParaRPr lang="it-IT"/>
          </a:p>
        </p:txBody>
      </p:sp>
    </p:spTree>
    <p:extLst>
      <p:ext uri="{BB962C8B-B14F-4D97-AF65-F5344CB8AC3E}">
        <p14:creationId xmlns:p14="http://schemas.microsoft.com/office/powerpoint/2010/main" val="38869145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25</a:t>
            </a:fld>
            <a:endParaRPr lang="it-IT"/>
          </a:p>
        </p:txBody>
      </p:sp>
    </p:spTree>
    <p:extLst>
      <p:ext uri="{BB962C8B-B14F-4D97-AF65-F5344CB8AC3E}">
        <p14:creationId xmlns:p14="http://schemas.microsoft.com/office/powerpoint/2010/main" val="3457604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B6BCFC18-0B3E-4EA0-BBC3-8A95CB37A93A}" type="slidenum">
              <a:rPr lang="it-IT" smtClean="0"/>
              <a:t>2</a:t>
            </a:fld>
            <a:endParaRPr lang="it-IT"/>
          </a:p>
        </p:txBody>
      </p:sp>
    </p:spTree>
    <p:extLst>
      <p:ext uri="{BB962C8B-B14F-4D97-AF65-F5344CB8AC3E}">
        <p14:creationId xmlns:p14="http://schemas.microsoft.com/office/powerpoint/2010/main" val="26159535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624118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start with taking a look at the world around us. Out of the approximately 7 billion people in this world now, about 20% actually work in agriculture. If we exclude the nearly 2 billion that too young to work legally, this is almost 30% of the current population is what feeds the rest. </a:t>
            </a:r>
          </a:p>
          <a:p>
            <a:r>
              <a:rPr lang="en-US" dirty="0"/>
              <a:t>However, when you look at the smallholder farmer perspective and in some of the developing countries, it is much more than this – almost 60-70% and in some geographies 80-90% of the population depend on  agriculture for their livelihoods.</a:t>
            </a:r>
          </a:p>
          <a:p>
            <a:r>
              <a:rPr lang="en-US" dirty="0"/>
              <a:t>Simply put, Food is basic to human existence and that’s why we are all here. </a:t>
            </a:r>
          </a:p>
          <a:p>
            <a:endParaRPr lang="en-US" dirty="0"/>
          </a:p>
          <a:p>
            <a:r>
              <a:rPr lang="en-US" dirty="0"/>
              <a:t>Even though the rate of population increase may have slowed down in several countries, some of the recent estimates suggest that by 2030, when the world population will be above 8 billion, we will need 50% more food, 30% more water and 50% more energy! </a:t>
            </a:r>
          </a:p>
          <a:p>
            <a:endParaRPr lang="en-US" dirty="0"/>
          </a:p>
          <a:p>
            <a:r>
              <a:rPr lang="en-US" dirty="0"/>
              <a:t>And by 2050, when the world population exceeds 9 billion and according to the latest estimate closer to 10 billion, we will need 70% more food; however, FAO does not see agricultural productivity going up at that rate. However, the picture that FAO projects is not that gloomy – we just need more investments ( 84 billion) to produce that much food – not impossible!</a:t>
            </a:r>
          </a:p>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8621675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start with taking a look at the world around us. Out of the approximately 7 billion people in this world now, about 20% actually work in agriculture. If we exclude the nearly 2 billion that too young to work legally, this is almost 30% of the current population is what feeds the rest. </a:t>
            </a:r>
          </a:p>
          <a:p>
            <a:r>
              <a:rPr lang="en-US" dirty="0"/>
              <a:t>However, when you look at the smallholder farmer perspective and in some of the developing countries, it is much more than this – almost 60-70% and in some geographies 80-90% of the population depend on  agriculture for their livelihoods.</a:t>
            </a:r>
          </a:p>
          <a:p>
            <a:r>
              <a:rPr lang="en-US" dirty="0"/>
              <a:t>Simply put, Food is basic to human existence and that’s why we are all here. </a:t>
            </a:r>
          </a:p>
          <a:p>
            <a:endParaRPr lang="en-US" dirty="0"/>
          </a:p>
          <a:p>
            <a:r>
              <a:rPr lang="en-US" dirty="0"/>
              <a:t>Even though the rate of population increase may have slowed down in several countries, some of the recent estimates suggest that by 2030, when the world population will be above 8 billion, we will need 50% more food, 30% more water and 50% more energy! </a:t>
            </a:r>
          </a:p>
          <a:p>
            <a:endParaRPr lang="en-US" dirty="0"/>
          </a:p>
          <a:p>
            <a:r>
              <a:rPr lang="en-US" dirty="0"/>
              <a:t>And by 2050, when the world population exceeds 9 billion and according to the latest estimate closer to 10 billion, we will need 70% more food; however, FAO does not see agricultural productivity going up at that rate. However, the picture that FAO projects is not that gloomy – we just need more investments ( 84 billion) to produce that much food – not impossible!</a:t>
            </a:r>
          </a:p>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29481596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start with taking a look at the world around us. Out of the approximately 7 billion people in this world now, about 20% actually work in agriculture. If we exclude the nearly 2 billion that too young to work legally, this is almost 30% of the current population is what feeds the rest. </a:t>
            </a:r>
          </a:p>
          <a:p>
            <a:r>
              <a:rPr lang="en-US" dirty="0"/>
              <a:t>However, when you look at the smallholder farmer perspective and in some of the developing countries, it is much more than this – almost 60-70% and in some geographies 80-90% of the population depend on  agriculture for their livelihoods.</a:t>
            </a:r>
          </a:p>
          <a:p>
            <a:r>
              <a:rPr lang="en-US" dirty="0"/>
              <a:t>Simply put, Food is basic to human existence and that’s why we are all here. </a:t>
            </a:r>
          </a:p>
          <a:p>
            <a:endParaRPr lang="en-US" dirty="0"/>
          </a:p>
          <a:p>
            <a:r>
              <a:rPr lang="en-US" dirty="0"/>
              <a:t>Even though the rate of population increase may have slowed down in several countries, some of the recent estimates suggest that by 2030, when the world population will be above 8 billion, we will need 50% more food, 30% more water and 50% more energy! </a:t>
            </a:r>
          </a:p>
          <a:p>
            <a:endParaRPr lang="en-US" dirty="0"/>
          </a:p>
          <a:p>
            <a:r>
              <a:rPr lang="en-US" dirty="0"/>
              <a:t>And by 2050, when the world population exceeds 9 billion and according to the latest estimate closer to 10 billion, we will need 70% more food; however, FAO does not see agricultural productivity going up at that rate. However, the picture that FAO projects is not that gloomy – we just need more investments ( 84 billion) to produce that much food – not impossible!</a:t>
            </a:r>
          </a:p>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926559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start with taking a look at the world around us. Out of the approximately 7 billion people in this world now, about 20% actually work in agriculture. If we exclude the nearly 2 billion that too young to work legally, this is almost 30% of the current population is what feeds the rest. </a:t>
            </a:r>
          </a:p>
          <a:p>
            <a:r>
              <a:rPr lang="en-US" dirty="0"/>
              <a:t>However, when you look at the smallholder farmer perspective and in some of the developing countries, it is much more than this – almost 60-70% and in some geographies 80-90% of the population depend on  agriculture for their livelihoods.</a:t>
            </a:r>
          </a:p>
          <a:p>
            <a:r>
              <a:rPr lang="en-US" dirty="0"/>
              <a:t>Simply put, Food is basic to human existence and that’s why we are all here. </a:t>
            </a:r>
          </a:p>
          <a:p>
            <a:endParaRPr lang="en-US" dirty="0"/>
          </a:p>
          <a:p>
            <a:r>
              <a:rPr lang="en-US" dirty="0"/>
              <a:t>Even though the rate of population increase may have slowed down in several countries, some of the recent estimates suggest that by 2030, when the world population will be above 8 billion, we will need 50% more food, 30% more water and 50% more energy! </a:t>
            </a:r>
          </a:p>
          <a:p>
            <a:endParaRPr lang="en-US" dirty="0"/>
          </a:p>
          <a:p>
            <a:r>
              <a:rPr lang="en-US" dirty="0"/>
              <a:t>And by 2050, when the world population exceeds 9 billion and according to the latest estimate closer to 10 billion, we will need 70% more food; however, FAO does not see agricultural productivity going up at that rate. However, the picture that FAO projects is not that gloomy – we just need more investments ( 84 billion) to produce that much food – not impossible!</a:t>
            </a:r>
          </a:p>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30</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2417976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start with taking a look at the world around us. Out of the approximately 7 billion people in this world now, about 20% actually work in agriculture. If we exclude the nearly 2 billion that too young to work legally, this is almost 30% of the current population is what feeds the rest. </a:t>
            </a:r>
          </a:p>
          <a:p>
            <a:r>
              <a:rPr lang="en-US" dirty="0"/>
              <a:t>However, when you look at the smallholder farmer perspective and in some of the developing countries, it is much more than this – almost 60-70% and in some geographies 80-90% of the population depend on  agriculture for their livelihoods.</a:t>
            </a:r>
          </a:p>
          <a:p>
            <a:r>
              <a:rPr lang="en-US" dirty="0"/>
              <a:t>Simply put, Food is basic to human existence and that’s why we are all here. </a:t>
            </a:r>
          </a:p>
          <a:p>
            <a:endParaRPr lang="en-US" dirty="0"/>
          </a:p>
          <a:p>
            <a:r>
              <a:rPr lang="en-US" dirty="0"/>
              <a:t>Even though the rate of population increase may have slowed down in several countries, some of the recent estimates suggest that by 2030, when the world population will be above 8 billion, we will need 50% more food, 30% more water and 50% more energy! </a:t>
            </a:r>
          </a:p>
          <a:p>
            <a:endParaRPr lang="en-US" dirty="0"/>
          </a:p>
          <a:p>
            <a:r>
              <a:rPr lang="en-US" dirty="0"/>
              <a:t>And by 2050, when the world population exceeds 9 billion and according to the latest estimate closer to 10 billion, we will need 70% more food; however, FAO does not see agricultural productivity going up at that rate. However, the picture that FAO projects is not that gloomy – we just need more investments ( 84 billion) to produce that much food – not impossible!</a:t>
            </a:r>
          </a:p>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31</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27795877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baseline="0" dirty="0" err="1"/>
              <a:t>Currently</a:t>
            </a:r>
            <a:r>
              <a:rPr lang="it-IT" baseline="0" dirty="0"/>
              <a:t> </a:t>
            </a:r>
            <a:r>
              <a:rPr lang="it-IT" baseline="0" dirty="0" err="1"/>
              <a:t>we</a:t>
            </a:r>
            <a:r>
              <a:rPr lang="it-IT" baseline="0" dirty="0"/>
              <a:t> are </a:t>
            </a:r>
            <a:r>
              <a:rPr lang="it-IT" baseline="0" dirty="0" err="1"/>
              <a:t>able</a:t>
            </a:r>
            <a:r>
              <a:rPr lang="it-IT" baseline="0" dirty="0"/>
              <a:t> to </a:t>
            </a:r>
            <a:r>
              <a:rPr lang="it-IT" baseline="0" dirty="0" err="1"/>
              <a:t>meet</a:t>
            </a:r>
            <a:r>
              <a:rPr lang="it-IT" baseline="0" dirty="0"/>
              <a:t> global market </a:t>
            </a:r>
            <a:r>
              <a:rPr lang="it-IT" baseline="0" dirty="0" err="1"/>
              <a:t>needs</a:t>
            </a:r>
            <a:r>
              <a:rPr lang="it-IT" baseline="0" dirty="0"/>
              <a:t> </a:t>
            </a:r>
            <a:r>
              <a:rPr lang="it-IT" baseline="0" dirty="0" err="1"/>
              <a:t>through</a:t>
            </a:r>
            <a:r>
              <a:rPr lang="it-IT" baseline="0" dirty="0"/>
              <a:t> </a:t>
            </a:r>
            <a:r>
              <a:rPr lang="it-IT" baseline="0" dirty="0" err="1"/>
              <a:t>our</a:t>
            </a:r>
            <a:r>
              <a:rPr lang="it-IT" baseline="0" dirty="0"/>
              <a:t> innovative </a:t>
            </a:r>
            <a:r>
              <a:rPr lang="it-IT" baseline="0" dirty="0" err="1"/>
              <a:t>solutions</a:t>
            </a:r>
            <a:r>
              <a:rPr lang="it-IT" baseline="0" dirty="0"/>
              <a:t> </a:t>
            </a:r>
            <a:r>
              <a:rPr lang="it-IT" baseline="0" dirty="0" err="1"/>
              <a:t>which</a:t>
            </a:r>
            <a:r>
              <a:rPr lang="it-IT" baseline="0" dirty="0"/>
              <a:t> help </a:t>
            </a:r>
            <a:r>
              <a:rPr lang="it-IT" baseline="0" dirty="0" err="1"/>
              <a:t>farmers</a:t>
            </a:r>
            <a:r>
              <a:rPr lang="it-IT" baseline="0" dirty="0"/>
              <a:t> to </a:t>
            </a:r>
            <a:r>
              <a:rPr lang="it-IT" baseline="0" dirty="0" err="1"/>
              <a:t>improve</a:t>
            </a:r>
            <a:r>
              <a:rPr lang="it-IT" baseline="0" dirty="0"/>
              <a:t> the </a:t>
            </a:r>
            <a:r>
              <a:rPr lang="it-IT" baseline="0" dirty="0" err="1"/>
              <a:t>nutrient</a:t>
            </a:r>
            <a:r>
              <a:rPr lang="it-IT" baseline="0" dirty="0"/>
              <a:t> use </a:t>
            </a:r>
            <a:r>
              <a:rPr lang="it-IT" baseline="0" dirty="0" err="1"/>
              <a:t>efficiency</a:t>
            </a:r>
            <a:r>
              <a:rPr lang="it-IT" baseline="0" dirty="0"/>
              <a:t> and the </a:t>
            </a:r>
            <a:r>
              <a:rPr lang="it-IT" baseline="0" dirty="0" err="1"/>
              <a:t>resistance</a:t>
            </a:r>
            <a:r>
              <a:rPr lang="it-IT" baseline="0" dirty="0"/>
              <a:t> to </a:t>
            </a:r>
            <a:r>
              <a:rPr lang="it-IT" baseline="0" dirty="0" err="1"/>
              <a:t>abiotic</a:t>
            </a:r>
            <a:r>
              <a:rPr lang="it-IT" baseline="0" dirty="0"/>
              <a:t> stress in </a:t>
            </a:r>
            <a:r>
              <a:rPr lang="it-IT" baseline="0" dirty="0" err="1"/>
              <a:t>plants</a:t>
            </a:r>
            <a:r>
              <a:rPr lang="it-IT" baseline="0" dirty="0"/>
              <a:t>, </a:t>
            </a:r>
            <a:r>
              <a:rPr lang="it-IT" baseline="0" dirty="0" err="1"/>
              <a:t>as</a:t>
            </a:r>
            <a:r>
              <a:rPr lang="it-IT" baseline="0" dirty="0"/>
              <a:t> </a:t>
            </a:r>
            <a:r>
              <a:rPr lang="it-IT" baseline="0" dirty="0" err="1"/>
              <a:t>well</a:t>
            </a:r>
            <a:r>
              <a:rPr lang="it-IT" baseline="0" dirty="0"/>
              <a:t> </a:t>
            </a:r>
            <a:r>
              <a:rPr lang="it-IT" baseline="0" dirty="0" err="1"/>
              <a:t>as</a:t>
            </a:r>
            <a:r>
              <a:rPr lang="it-IT" baseline="0" dirty="0"/>
              <a:t> the </a:t>
            </a:r>
            <a:r>
              <a:rPr lang="it-IT" baseline="0" dirty="0" err="1"/>
              <a:t>quality</a:t>
            </a:r>
            <a:r>
              <a:rPr lang="it-IT" baseline="0" dirty="0"/>
              <a:t> of </a:t>
            </a:r>
            <a:r>
              <a:rPr lang="it-IT" baseline="0" dirty="0" err="1"/>
              <a:t>crops</a:t>
            </a:r>
            <a:r>
              <a:rPr lang="it-IT" baseline="0" dirty="0"/>
              <a:t>.</a:t>
            </a:r>
          </a:p>
          <a:p>
            <a:endParaRPr lang="it-IT" baseline="0" dirty="0"/>
          </a:p>
          <a:p>
            <a:pPr defTabSz="860176">
              <a:defRPr/>
            </a:pPr>
            <a:r>
              <a:rPr lang="it-IT" baseline="0" dirty="0" err="1"/>
              <a:t>But</a:t>
            </a:r>
            <a:r>
              <a:rPr lang="it-IT" baseline="0" dirty="0"/>
              <a:t> </a:t>
            </a:r>
            <a:r>
              <a:rPr lang="it-IT" baseline="0" dirty="0" err="1"/>
              <a:t>thanks</a:t>
            </a:r>
            <a:r>
              <a:rPr lang="it-IT" baseline="0" dirty="0"/>
              <a:t> to the </a:t>
            </a:r>
            <a:r>
              <a:rPr lang="it-IT" baseline="0" dirty="0" err="1"/>
              <a:t>the</a:t>
            </a:r>
            <a:r>
              <a:rPr lang="it-IT" baseline="0" dirty="0"/>
              <a:t> entry of SRIBIO in </a:t>
            </a:r>
            <a:r>
              <a:rPr lang="it-IT" baseline="0" dirty="0" err="1"/>
              <a:t>Valagro</a:t>
            </a:r>
            <a:r>
              <a:rPr lang="it-IT" baseline="0" dirty="0"/>
              <a:t> Group, </a:t>
            </a:r>
            <a:r>
              <a:rPr lang="it-IT" baseline="0" dirty="0" err="1"/>
              <a:t>we</a:t>
            </a:r>
            <a:r>
              <a:rPr lang="it-IT" baseline="0" dirty="0"/>
              <a:t> </a:t>
            </a:r>
            <a:r>
              <a:rPr lang="it-IT" baseline="0" dirty="0" err="1"/>
              <a:t>will</a:t>
            </a:r>
            <a:r>
              <a:rPr lang="it-IT" baseline="0" dirty="0"/>
              <a:t> be </a:t>
            </a:r>
            <a:r>
              <a:rPr lang="it-IT" baseline="0" dirty="0" err="1"/>
              <a:t>able</a:t>
            </a:r>
            <a:r>
              <a:rPr lang="it-IT" baseline="0" dirty="0"/>
              <a:t> </a:t>
            </a:r>
            <a:r>
              <a:rPr lang="it-IT" baseline="0" dirty="0" err="1"/>
              <a:t>also</a:t>
            </a:r>
            <a:r>
              <a:rPr lang="it-IT" baseline="0" dirty="0"/>
              <a:t> to </a:t>
            </a:r>
            <a:r>
              <a:rPr lang="it-IT" baseline="0" dirty="0" err="1"/>
              <a:t>offer</a:t>
            </a:r>
            <a:r>
              <a:rPr lang="it-IT" baseline="0" dirty="0"/>
              <a:t> </a:t>
            </a:r>
            <a:r>
              <a:rPr lang="it-IT" baseline="0" dirty="0" err="1"/>
              <a:t>many</a:t>
            </a:r>
            <a:r>
              <a:rPr lang="it-IT" baseline="0" dirty="0"/>
              <a:t> </a:t>
            </a:r>
            <a:r>
              <a:rPr lang="it-IT" baseline="0" dirty="0" err="1"/>
              <a:t>other</a:t>
            </a:r>
            <a:r>
              <a:rPr lang="it-IT" baseline="0" dirty="0"/>
              <a:t> </a:t>
            </a:r>
            <a:r>
              <a:rPr lang="it-IT" baseline="0" dirty="0" err="1"/>
              <a:t>bio-based</a:t>
            </a:r>
            <a:r>
              <a:rPr lang="it-IT" baseline="0" dirty="0"/>
              <a:t> </a:t>
            </a:r>
            <a:r>
              <a:rPr lang="it-IT" baseline="0" dirty="0" err="1"/>
              <a:t>solutions</a:t>
            </a:r>
            <a:r>
              <a:rPr lang="it-IT" baseline="0" dirty="0"/>
              <a:t> </a:t>
            </a:r>
            <a:r>
              <a:rPr lang="it-IT" baseline="0" dirty="0" err="1"/>
              <a:t>that</a:t>
            </a:r>
            <a:r>
              <a:rPr lang="it-IT" baseline="0" dirty="0"/>
              <a:t> </a:t>
            </a:r>
            <a:r>
              <a:rPr lang="it-IT" baseline="0" dirty="0" err="1"/>
              <a:t>means</a:t>
            </a:r>
            <a:r>
              <a:rPr lang="it-IT" baseline="0" dirty="0"/>
              <a:t> </a:t>
            </a:r>
            <a:r>
              <a:rPr lang="it-IT" baseline="0" dirty="0" err="1"/>
              <a:t>not</a:t>
            </a:r>
            <a:r>
              <a:rPr lang="it-IT" baseline="0" dirty="0"/>
              <a:t> </a:t>
            </a:r>
            <a:r>
              <a:rPr lang="it-IT" baseline="0" dirty="0" err="1"/>
              <a:t>only</a:t>
            </a:r>
            <a:r>
              <a:rPr lang="it-IT" baseline="0" dirty="0"/>
              <a:t> </a:t>
            </a:r>
            <a:r>
              <a:rPr lang="it-IT" baseline="0" dirty="0" err="1"/>
              <a:t>biostimulants</a:t>
            </a:r>
            <a:r>
              <a:rPr lang="it-IT" baseline="0" dirty="0"/>
              <a:t> </a:t>
            </a:r>
            <a:r>
              <a:rPr lang="it-IT" baseline="0" dirty="0" err="1"/>
              <a:t>but</a:t>
            </a:r>
            <a:r>
              <a:rPr lang="it-IT" baseline="0" dirty="0"/>
              <a:t> </a:t>
            </a:r>
            <a:r>
              <a:rPr lang="it-IT" baseline="0" dirty="0" err="1"/>
              <a:t>also</a:t>
            </a:r>
            <a:r>
              <a:rPr lang="it-IT" baseline="0" dirty="0"/>
              <a:t> product for </a:t>
            </a:r>
            <a:r>
              <a:rPr lang="it-IT" baseline="0" dirty="0" err="1"/>
              <a:t>biocontrol</a:t>
            </a:r>
            <a:r>
              <a:rPr lang="it-IT" baseline="0" dirty="0"/>
              <a:t>.</a:t>
            </a:r>
          </a:p>
          <a:p>
            <a:endParaRPr lang="it-IT" baseline="0" dirty="0"/>
          </a:p>
          <a:p>
            <a:pPr defTabSz="860176">
              <a:defRPr/>
            </a:pPr>
            <a:r>
              <a:rPr lang="en-GB" sz="1100" dirty="0"/>
              <a:t>Thus we will be able to broaden our offering to the global market and expand our product portfolio by offering customers integrated and increasingly more effective solutions to meet their specific needs.</a:t>
            </a:r>
            <a:endParaRPr lang="it-IT" sz="1100" dirty="0"/>
          </a:p>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32</a:t>
            </a:fld>
            <a:endParaRPr lang="it-IT"/>
          </a:p>
        </p:txBody>
      </p:sp>
    </p:spTree>
    <p:extLst>
      <p:ext uri="{BB962C8B-B14F-4D97-AF65-F5344CB8AC3E}">
        <p14:creationId xmlns:p14="http://schemas.microsoft.com/office/powerpoint/2010/main" val="20316145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 us start with taking a look at the world around us. Out of the approximately 7 billion people in this world now, about 20% actually work in agriculture. If we exclude the nearly 2 billion that too young to work legally, this is almost 30% of the current population is what feeds the rest. </a:t>
            </a:r>
          </a:p>
          <a:p>
            <a:r>
              <a:rPr lang="en-US" dirty="0"/>
              <a:t>However, when you look at the smallholder farmer perspective and in some of the developing countries, it is much more than this – almost 60-70% and in some geographies 80-90% of the population depend on  agriculture for their livelihoods.</a:t>
            </a:r>
          </a:p>
          <a:p>
            <a:r>
              <a:rPr lang="en-US" dirty="0"/>
              <a:t>Simply put, Food is basic to human existence and that’s why we are all here. </a:t>
            </a:r>
          </a:p>
          <a:p>
            <a:endParaRPr lang="en-US" dirty="0"/>
          </a:p>
          <a:p>
            <a:r>
              <a:rPr lang="en-US" dirty="0"/>
              <a:t>Even though the rate of population increase may have slowed down in several countries, some of the recent estimates suggest that by 2030, when the world population will be above 8 billion, we will need 50% more food, 30% more water and 50% more energy! </a:t>
            </a:r>
          </a:p>
          <a:p>
            <a:endParaRPr lang="en-US" dirty="0"/>
          </a:p>
          <a:p>
            <a:r>
              <a:rPr lang="en-US" dirty="0"/>
              <a:t>And by 2050, when the world population exceeds 9 billion and according to the latest estimate closer to 10 billion, we will need 70% more food; however, FAO does not see agricultural productivity going up at that rate. However, the picture that FAO projects is not that gloomy – we just need more investments ( 84 billion) to produce that much food – not impossible!</a:t>
            </a:r>
          </a:p>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33</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267670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34</a:t>
            </a:fld>
            <a:endParaRPr lang="it-IT"/>
          </a:p>
        </p:txBody>
      </p:sp>
    </p:spTree>
    <p:extLst>
      <p:ext uri="{BB962C8B-B14F-4D97-AF65-F5344CB8AC3E}">
        <p14:creationId xmlns:p14="http://schemas.microsoft.com/office/powerpoint/2010/main" val="32019042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35</a:t>
            </a:fld>
            <a:endParaRPr lang="it-IT"/>
          </a:p>
        </p:txBody>
      </p:sp>
    </p:spTree>
    <p:extLst>
      <p:ext uri="{BB962C8B-B14F-4D97-AF65-F5344CB8AC3E}">
        <p14:creationId xmlns:p14="http://schemas.microsoft.com/office/powerpoint/2010/main" val="152857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b="1" kern="1200" dirty="0">
                <a:solidFill>
                  <a:schemeClr val="tx1"/>
                </a:solidFill>
                <a:effectLst/>
                <a:latin typeface="+mn-lt"/>
                <a:ea typeface="+mn-ea"/>
                <a:cs typeface="+mn-cs"/>
              </a:rPr>
              <a:t>Dentro desse desafio Global, a nossa empresa </a:t>
            </a:r>
            <a:r>
              <a:rPr lang="pt-BR" sz="1200" b="1" kern="1200" dirty="0" err="1">
                <a:solidFill>
                  <a:schemeClr val="tx1"/>
                </a:solidFill>
                <a:effectLst/>
                <a:latin typeface="+mn-lt"/>
                <a:ea typeface="+mn-ea"/>
                <a:cs typeface="+mn-cs"/>
              </a:rPr>
              <a:t>Valagro</a:t>
            </a:r>
            <a:r>
              <a:rPr lang="pt-BR" sz="1200" b="1" kern="1200" dirty="0">
                <a:solidFill>
                  <a:schemeClr val="tx1"/>
                </a:solidFill>
                <a:effectLst/>
                <a:latin typeface="+mn-lt"/>
                <a:ea typeface="+mn-ea"/>
                <a:cs typeface="+mn-cs"/>
              </a:rPr>
              <a:t>, traz consigo uma proposta de atender as necessidade dos agricultores do mundo, respondendo ao desafio de “Fazer Mais com Menos” Através de Inovação, Pesquisa e Serviços de alto valor </a:t>
            </a:r>
            <a:r>
              <a:rPr lang="pt-BR" sz="1200" b="1" kern="1200" dirty="0" err="1">
                <a:solidFill>
                  <a:schemeClr val="tx1"/>
                </a:solidFill>
                <a:effectLst/>
                <a:latin typeface="+mn-lt"/>
                <a:ea typeface="+mn-ea"/>
                <a:cs typeface="+mn-cs"/>
              </a:rPr>
              <a:t>agregrado</a:t>
            </a:r>
            <a:r>
              <a:rPr lang="pt-BR" sz="1200" b="1" kern="1200" dirty="0">
                <a:solidFill>
                  <a:schemeClr val="tx1"/>
                </a:solidFill>
                <a:effectLst/>
                <a:latin typeface="+mn-lt"/>
                <a:ea typeface="+mn-ea"/>
                <a:cs typeface="+mn-cs"/>
              </a:rPr>
              <a:t>. </a:t>
            </a:r>
          </a:p>
          <a:p>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Se considerarmos conjuntamente o os </a:t>
            </a:r>
            <a:r>
              <a:rPr lang="pt-BR" sz="1200" b="1" kern="1200" dirty="0">
                <a:solidFill>
                  <a:schemeClr val="tx1"/>
                </a:solidFill>
                <a:effectLst/>
                <a:latin typeface="+mn-lt"/>
                <a:ea typeface="+mn-ea"/>
                <a:cs typeface="+mn-cs"/>
              </a:rPr>
              <a:t>efeitos da mudança climática</a:t>
            </a:r>
            <a:r>
              <a:rPr lang="pt-BR" sz="1200" kern="1200" dirty="0">
                <a:solidFill>
                  <a:schemeClr val="tx1"/>
                </a:solidFill>
                <a:effectLst/>
                <a:latin typeface="+mn-lt"/>
                <a:ea typeface="+mn-ea"/>
                <a:cs typeface="+mn-cs"/>
              </a:rPr>
              <a:t> e diante da </a:t>
            </a:r>
            <a:r>
              <a:rPr lang="pt-BR" sz="1200" b="1" kern="1200" dirty="0">
                <a:solidFill>
                  <a:schemeClr val="tx1"/>
                </a:solidFill>
                <a:effectLst/>
                <a:latin typeface="+mn-lt"/>
                <a:ea typeface="+mn-ea"/>
                <a:cs typeface="+mn-cs"/>
              </a:rPr>
              <a:t>escassez de recursos fundamentais </a:t>
            </a:r>
            <a:r>
              <a:rPr lang="pt-BR" sz="1200" kern="1200" dirty="0">
                <a:solidFill>
                  <a:schemeClr val="tx1"/>
                </a:solidFill>
                <a:effectLst/>
                <a:latin typeface="+mn-lt"/>
                <a:ea typeface="+mn-ea"/>
                <a:cs typeface="+mn-cs"/>
              </a:rPr>
              <a:t>e da </a:t>
            </a:r>
            <a:r>
              <a:rPr lang="pt-BR" sz="1200" b="1" kern="1200" dirty="0">
                <a:solidFill>
                  <a:schemeClr val="tx1"/>
                </a:solidFill>
                <a:effectLst/>
                <a:latin typeface="+mn-lt"/>
                <a:ea typeface="+mn-ea"/>
                <a:cs typeface="+mn-cs"/>
              </a:rPr>
              <a:t>rentabilidade e disponibilidade da terra</a:t>
            </a:r>
            <a:r>
              <a:rPr lang="pt-BR" sz="1200" kern="1200" dirty="0">
                <a:solidFill>
                  <a:schemeClr val="tx1"/>
                </a:solidFill>
                <a:effectLst/>
                <a:latin typeface="+mn-lt"/>
                <a:ea typeface="+mn-ea"/>
                <a:cs typeface="+mn-cs"/>
              </a:rPr>
              <a:t>, como a agricultura pode ser cada vez mais produtiva e ao mesmo tempo eficiente para responder de forma sustentável essa necessidade de produzir mais alimentos para uma população mundial cada vez maior?</a:t>
            </a:r>
          </a:p>
          <a:p>
            <a:endParaRPr lang="pt-BR"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sz="1200" kern="1200" dirty="0">
                <a:solidFill>
                  <a:schemeClr val="tx1"/>
                </a:solidFill>
                <a:effectLst/>
                <a:latin typeface="+mn-lt"/>
                <a:ea typeface="+mn-ea"/>
                <a:cs typeface="+mn-cs"/>
              </a:rPr>
              <a:t>Para responder a esta pergunta, é que surgiu nosso projeto</a:t>
            </a:r>
            <a:r>
              <a:rPr lang="pt-BR" sz="1200" b="1" kern="1200" dirty="0">
                <a:solidFill>
                  <a:schemeClr val="tx1"/>
                </a:solidFill>
                <a:effectLst/>
                <a:latin typeface="+mn-lt"/>
                <a:ea typeface="+mn-ea"/>
                <a:cs typeface="+mn-cs"/>
              </a:rPr>
              <a:t> </a:t>
            </a:r>
            <a:r>
              <a:rPr lang="pt-BR" sz="1200" b="1" kern="1200" dirty="0" err="1">
                <a:solidFill>
                  <a:schemeClr val="tx1"/>
                </a:solidFill>
                <a:effectLst/>
                <a:latin typeface="+mn-lt"/>
                <a:ea typeface="+mn-ea"/>
                <a:cs typeface="+mn-cs"/>
              </a:rPr>
              <a:t>Valagro</a:t>
            </a:r>
            <a:r>
              <a:rPr lang="pt-BR" sz="1200" b="1" kern="1200" dirty="0">
                <a:solidFill>
                  <a:schemeClr val="tx1"/>
                </a:solidFill>
                <a:effectLst/>
                <a:latin typeface="+mn-lt"/>
                <a:ea typeface="+mn-ea"/>
                <a:cs typeface="+mn-cs"/>
              </a:rPr>
              <a:t> for Future </a:t>
            </a:r>
            <a:r>
              <a:rPr lang="pt-BR" sz="1200" b="1" kern="1200" dirty="0" err="1">
                <a:solidFill>
                  <a:schemeClr val="tx1"/>
                </a:solidFill>
                <a:effectLst/>
                <a:latin typeface="+mn-lt"/>
                <a:ea typeface="+mn-ea"/>
                <a:cs typeface="+mn-cs"/>
              </a:rPr>
              <a:t>Farming</a:t>
            </a:r>
            <a:r>
              <a:rPr lang="pt-BR" sz="1200" b="1" kern="1200" dirty="0">
                <a:solidFill>
                  <a:schemeClr val="tx1"/>
                </a:solidFill>
                <a:effectLst/>
                <a:latin typeface="+mn-lt"/>
                <a:ea typeface="+mn-ea"/>
                <a:cs typeface="+mn-cs"/>
              </a:rPr>
              <a:t> (</a:t>
            </a:r>
            <a:r>
              <a:rPr lang="pt-BR" sz="1200" b="1" i="1" kern="1200" dirty="0" err="1">
                <a:solidFill>
                  <a:schemeClr val="tx1"/>
                </a:solidFill>
                <a:effectLst/>
                <a:latin typeface="+mn-lt"/>
                <a:ea typeface="+mn-ea"/>
                <a:cs typeface="+mn-cs"/>
              </a:rPr>
              <a:t>Valagro</a:t>
            </a:r>
            <a:r>
              <a:rPr lang="pt-BR" sz="1200" b="1" i="1" kern="1200" dirty="0">
                <a:solidFill>
                  <a:schemeClr val="tx1"/>
                </a:solidFill>
                <a:effectLst/>
                <a:latin typeface="+mn-lt"/>
                <a:ea typeface="+mn-ea"/>
                <a:cs typeface="+mn-cs"/>
              </a:rPr>
              <a:t> para a Agricultura do Futuro</a:t>
            </a:r>
            <a:r>
              <a:rPr lang="pt-BR" sz="1200" b="1" kern="1200" dirty="0">
                <a:solidFill>
                  <a:schemeClr val="tx1"/>
                </a:solidFill>
                <a:effectLst/>
                <a:latin typeface="+mn-lt"/>
                <a:ea typeface="+mn-ea"/>
                <a:cs typeface="+mn-cs"/>
              </a:rPr>
              <a:t>)</a:t>
            </a:r>
            <a:r>
              <a:rPr lang="pt-BR" sz="1200" kern="1200" dirty="0">
                <a:solidFill>
                  <a:schemeClr val="tx1"/>
                </a:solidFill>
                <a:effectLst/>
                <a:latin typeface="+mn-lt"/>
                <a:ea typeface="+mn-ea"/>
                <a:cs typeface="+mn-cs"/>
              </a:rPr>
              <a:t>, onde pretendemos ilustrar nosso  </a:t>
            </a:r>
            <a:r>
              <a:rPr lang="pt-BR" sz="1200" b="1" kern="1200" dirty="0">
                <a:solidFill>
                  <a:schemeClr val="tx1"/>
                </a:solidFill>
                <a:effectLst/>
                <a:latin typeface="+mn-lt"/>
                <a:ea typeface="+mn-ea"/>
                <a:cs typeface="+mn-cs"/>
              </a:rPr>
              <a:t>compromisso de construir a agricultura do amanhã, com a ciência a serviço da natureza.</a:t>
            </a:r>
            <a:endParaRPr lang="en-US" dirty="0"/>
          </a:p>
          <a:p>
            <a:endParaRPr lang="pt-BR" sz="1200" kern="1200" dirty="0">
              <a:solidFill>
                <a:schemeClr val="tx1"/>
              </a:solidFill>
              <a:effectLst/>
              <a:latin typeface="+mn-lt"/>
              <a:ea typeface="+mn-ea"/>
              <a:cs typeface="+mn-cs"/>
            </a:endParaRP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Gostaria de ilustrar, melhor alguns destes conceitos, em nosso vídeo (</a:t>
            </a:r>
            <a:r>
              <a:rPr lang="pt-BR" sz="1200" kern="1200" dirty="0" err="1">
                <a:solidFill>
                  <a:schemeClr val="tx1"/>
                </a:solidFill>
                <a:effectLst/>
                <a:latin typeface="+mn-lt"/>
                <a:ea typeface="+mn-ea"/>
                <a:cs typeface="+mn-cs"/>
              </a:rPr>
              <a:t>Meet</a:t>
            </a:r>
            <a:r>
              <a:rPr lang="pt-BR" sz="1200" kern="1200" dirty="0">
                <a:solidFill>
                  <a:schemeClr val="tx1"/>
                </a:solidFill>
                <a:effectLst/>
                <a:latin typeface="+mn-lt"/>
                <a:ea typeface="+mn-ea"/>
                <a:cs typeface="+mn-cs"/>
              </a:rPr>
              <a:t> </a:t>
            </a:r>
            <a:r>
              <a:rPr lang="pt-BR" sz="1200" kern="1200" dirty="0" err="1">
                <a:solidFill>
                  <a:schemeClr val="tx1"/>
                </a:solidFill>
                <a:effectLst/>
                <a:latin typeface="+mn-lt"/>
                <a:ea typeface="+mn-ea"/>
                <a:cs typeface="+mn-cs"/>
              </a:rPr>
              <a:t>the</a:t>
            </a:r>
            <a:r>
              <a:rPr lang="pt-BR" sz="1200" kern="1200" dirty="0">
                <a:solidFill>
                  <a:schemeClr val="tx1"/>
                </a:solidFill>
                <a:effectLst/>
                <a:latin typeface="+mn-lt"/>
                <a:ea typeface="+mn-ea"/>
                <a:cs typeface="+mn-cs"/>
              </a:rPr>
              <a:t> Global </a:t>
            </a:r>
            <a:r>
              <a:rPr lang="pt-BR" sz="1200" kern="1200" dirty="0" err="1">
                <a:solidFill>
                  <a:schemeClr val="tx1"/>
                </a:solidFill>
                <a:effectLst/>
                <a:latin typeface="+mn-lt"/>
                <a:ea typeface="+mn-ea"/>
                <a:cs typeface="+mn-cs"/>
              </a:rPr>
              <a:t>Challenge</a:t>
            </a:r>
            <a:r>
              <a:rPr lang="pt-BR" sz="1200" kern="1200" dirty="0">
                <a:solidFill>
                  <a:schemeClr val="tx1"/>
                </a:solidFill>
                <a:effectLst/>
                <a:latin typeface="+mn-lt"/>
                <a:ea typeface="+mn-ea"/>
                <a:cs typeface="+mn-cs"/>
              </a:rPr>
              <a:t>) – </a:t>
            </a:r>
            <a:r>
              <a:rPr lang="pt-BR" sz="1200" kern="1200" dirty="0" err="1">
                <a:solidFill>
                  <a:schemeClr val="tx1"/>
                </a:solidFill>
                <a:effectLst/>
                <a:latin typeface="+mn-lt"/>
                <a:ea typeface="+mn-ea"/>
                <a:cs typeface="+mn-cs"/>
              </a:rPr>
              <a:t>Atigir</a:t>
            </a:r>
            <a:r>
              <a:rPr lang="pt-BR" sz="1200" kern="1200" dirty="0">
                <a:solidFill>
                  <a:schemeClr val="tx1"/>
                </a:solidFill>
                <a:effectLst/>
                <a:latin typeface="+mn-lt"/>
                <a:ea typeface="+mn-ea"/>
                <a:cs typeface="+mn-cs"/>
              </a:rPr>
              <a:t> o Desafio Global.</a:t>
            </a:r>
          </a:p>
          <a:p>
            <a:endParaRPr lang="pt-BR"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28438074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36</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12294138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18CD4162-4466-43AA-B217-DE435310564E}" type="slidenum">
              <a:rPr kumimoji="0" lang="it-IT" sz="1200" b="0" i="0" u="none" strike="noStrike" kern="1200" cap="none" spc="0" normalizeH="0" baseline="0" noProof="0" smtClean="0">
                <a:ln>
                  <a:noFill/>
                </a:ln>
                <a:solidFill>
                  <a:prstClr val="black"/>
                </a:solidFill>
                <a:effectLst/>
                <a:uLnTx/>
                <a:uFillTx/>
                <a:latin typeface="Calibri"/>
                <a:ea typeface="ＭＳ Ｐゴシック" pitchFamily="1" charset="-128"/>
                <a:cs typeface="+mn-cs"/>
              </a:rPr>
              <a:pPr marL="0" marR="0" lvl="0" indent="0" algn="r" defTabSz="914377" rtl="0" eaLnBrk="1" fontAlgn="auto" latinLnBrk="0" hangingPunct="1">
                <a:lnSpc>
                  <a:spcPct val="100000"/>
                </a:lnSpc>
                <a:spcBef>
                  <a:spcPts val="0"/>
                </a:spcBef>
                <a:spcAft>
                  <a:spcPts val="0"/>
                </a:spcAft>
                <a:buClrTx/>
                <a:buSzTx/>
                <a:buFontTx/>
                <a:buNone/>
                <a:tabLst/>
                <a:defRPr/>
              </a:pPr>
              <a:t>37</a:t>
            </a:fld>
            <a:endParaRPr kumimoji="0" lang="it-IT" sz="1200" b="0" i="0" u="none" strike="noStrike" kern="1200" cap="none" spc="0" normalizeH="0" baseline="0" noProof="0" dirty="0">
              <a:ln>
                <a:noFill/>
              </a:ln>
              <a:solidFill>
                <a:prstClr val="black"/>
              </a:solidFill>
              <a:effectLst/>
              <a:uLnTx/>
              <a:uFillTx/>
              <a:latin typeface="Calibri"/>
              <a:ea typeface="ＭＳ Ｐゴシック" pitchFamily="1" charset="-128"/>
              <a:cs typeface="+mn-cs"/>
            </a:endParaRPr>
          </a:p>
        </p:txBody>
      </p:sp>
    </p:spTree>
    <p:extLst>
      <p:ext uri="{BB962C8B-B14F-4D97-AF65-F5344CB8AC3E}">
        <p14:creationId xmlns:p14="http://schemas.microsoft.com/office/powerpoint/2010/main" val="3040786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dirty="0"/>
              <a:t>Gostaria de compartilhar este material da SOCIEDADE AMERICANA DE FISIOLIGISTA DE PLANTAS:</a:t>
            </a:r>
          </a:p>
          <a:p>
            <a:r>
              <a:rPr lang="pt-BR" dirty="0"/>
              <a:t>- Indica do potencial máximo genético de algumas culturas, que% tem </a:t>
            </a:r>
            <a:r>
              <a:rPr lang="pt-BR" dirty="0" err="1"/>
              <a:t>potential</a:t>
            </a:r>
            <a:r>
              <a:rPr lang="pt-BR" dirty="0"/>
              <a:t> de ser comprometido por efeitos abióticos e bióticos</a:t>
            </a:r>
          </a:p>
        </p:txBody>
      </p:sp>
      <p:sp>
        <p:nvSpPr>
          <p:cNvPr id="4" name="Espaço Reservado para Número de Slide 3"/>
          <p:cNvSpPr>
            <a:spLocks noGrp="1"/>
          </p:cNvSpPr>
          <p:nvPr>
            <p:ph type="sldNum" sz="quarter" idx="10"/>
          </p:nvPr>
        </p:nvSpPr>
        <p:spPr/>
        <p:txBody>
          <a:bodyPr/>
          <a:lstStyle/>
          <a:p>
            <a:fld id="{B6BCFC18-0B3E-4EA0-BBC3-8A95CB37A93A}" type="slidenum">
              <a:rPr lang="it-IT" smtClean="0"/>
              <a:t>7</a:t>
            </a:fld>
            <a:endParaRPr lang="it-IT"/>
          </a:p>
        </p:txBody>
      </p:sp>
    </p:spTree>
    <p:extLst>
      <p:ext uri="{BB962C8B-B14F-4D97-AF65-F5344CB8AC3E}">
        <p14:creationId xmlns:p14="http://schemas.microsoft.com/office/powerpoint/2010/main" val="3876643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6BCFC18-0B3E-4EA0-BBC3-8A95CB37A93A}" type="slidenum">
              <a:rPr lang="it-IT" smtClean="0"/>
              <a:t>9</a:t>
            </a:fld>
            <a:endParaRPr lang="it-IT"/>
          </a:p>
        </p:txBody>
      </p:sp>
    </p:spTree>
    <p:extLst>
      <p:ext uri="{BB962C8B-B14F-4D97-AF65-F5344CB8AC3E}">
        <p14:creationId xmlns:p14="http://schemas.microsoft.com/office/powerpoint/2010/main" val="39196243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Mas este tripe é posto a prova, quando temos RESISTENCIA DESENVOLVIDA A DEFENSIVOS, EXCESSO DE PRODUTOS, DEFINICIENCIA NUTRICIONAL, DESEQUELIBRIO FISIOLÓGICO E HORMONAL NA PLANTA ou os efeitos do STRESS ABIOTICO</a:t>
            </a:r>
          </a:p>
        </p:txBody>
      </p:sp>
      <p:sp>
        <p:nvSpPr>
          <p:cNvPr id="4" name="Segnaposto numero diapositiva 3"/>
          <p:cNvSpPr>
            <a:spLocks noGrp="1"/>
          </p:cNvSpPr>
          <p:nvPr>
            <p:ph type="sldNum" sz="quarter" idx="10"/>
          </p:nvPr>
        </p:nvSpPr>
        <p:spPr/>
        <p:txBody>
          <a:bodyPr/>
          <a:lstStyle/>
          <a:p>
            <a:fld id="{B6BCFC18-0B3E-4EA0-BBC3-8A95CB37A93A}" type="slidenum">
              <a:rPr lang="it-IT" smtClean="0"/>
              <a:t>10</a:t>
            </a:fld>
            <a:endParaRPr lang="it-IT"/>
          </a:p>
        </p:txBody>
      </p:sp>
    </p:spTree>
    <p:extLst>
      <p:ext uri="{BB962C8B-B14F-4D97-AF65-F5344CB8AC3E}">
        <p14:creationId xmlns:p14="http://schemas.microsoft.com/office/powerpoint/2010/main" val="3919624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É por isso que entendemos a necessidade de um manejo integrado do tripe TRADICIONAL,  com novas tecnologias, dentre as quais BIOESTIMULANTES, BIOLÓGICOS/BIOCONTROLE, MICRONUTRIENTES E NUTRIENTES ESPECIAIS</a:t>
            </a:r>
          </a:p>
        </p:txBody>
      </p:sp>
      <p:sp>
        <p:nvSpPr>
          <p:cNvPr id="4" name="Segnaposto numero diapositiva 3"/>
          <p:cNvSpPr>
            <a:spLocks noGrp="1"/>
          </p:cNvSpPr>
          <p:nvPr>
            <p:ph type="sldNum" sz="quarter" idx="10"/>
          </p:nvPr>
        </p:nvSpPr>
        <p:spPr/>
        <p:txBody>
          <a:bodyPr/>
          <a:lstStyle/>
          <a:p>
            <a:fld id="{B6BCFC18-0B3E-4EA0-BBC3-8A95CB37A93A}" type="slidenum">
              <a:rPr lang="it-IT" smtClean="0"/>
              <a:t>11</a:t>
            </a:fld>
            <a:endParaRPr lang="it-IT"/>
          </a:p>
        </p:txBody>
      </p:sp>
    </p:spTree>
    <p:extLst>
      <p:ext uri="{BB962C8B-B14F-4D97-AF65-F5344CB8AC3E}">
        <p14:creationId xmlns:p14="http://schemas.microsoft.com/office/powerpoint/2010/main" val="39196243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Temos um resumo esquematioc dos segmentos hoje desenvolvidos para a agricultura</a:t>
            </a:r>
          </a:p>
        </p:txBody>
      </p:sp>
      <p:sp>
        <p:nvSpPr>
          <p:cNvPr id="4" name="Segnaposto numero diapositiva 3"/>
          <p:cNvSpPr>
            <a:spLocks noGrp="1"/>
          </p:cNvSpPr>
          <p:nvPr>
            <p:ph type="sldNum" sz="quarter" idx="10"/>
          </p:nvPr>
        </p:nvSpPr>
        <p:spPr/>
        <p:txBody>
          <a:bodyPr/>
          <a:lstStyle/>
          <a:p>
            <a:fld id="{B6BCFC18-0B3E-4EA0-BBC3-8A95CB37A93A}" type="slidenum">
              <a:rPr lang="it-IT" smtClean="0"/>
              <a:t>12</a:t>
            </a:fld>
            <a:endParaRPr lang="it-IT"/>
          </a:p>
        </p:txBody>
      </p:sp>
    </p:spTree>
    <p:extLst>
      <p:ext uri="{BB962C8B-B14F-4D97-AF65-F5344CB8AC3E}">
        <p14:creationId xmlns:p14="http://schemas.microsoft.com/office/powerpoint/2010/main" val="1918693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1- gradual redução da internveção quimica</a:t>
            </a:r>
          </a:p>
          <a:p>
            <a:r>
              <a:rPr lang="it-IT" dirty="0"/>
              <a:t>2- valorização do segmentos de BIOCONTROLE contribuindo para o manejo integrado da intervenção química</a:t>
            </a:r>
          </a:p>
          <a:p>
            <a:r>
              <a:rPr lang="it-IT" dirty="0"/>
              <a:t>3- Sementes – mantendo suas perspectivas de difusão tecnológica é um dos principais drivers </a:t>
            </a:r>
          </a:p>
          <a:p>
            <a:r>
              <a:rPr lang="it-IT" dirty="0"/>
              <a:t>4- Otimização do uso de fertilizantes Minerais / restrições de uso em algumas regioe do planeta</a:t>
            </a:r>
          </a:p>
          <a:p>
            <a:r>
              <a:rPr lang="it-IT" dirty="0"/>
              <a:t>5) – papel crescimente dos BIOFERTILIZANTES</a:t>
            </a:r>
          </a:p>
          <a:p>
            <a:r>
              <a:rPr lang="it-IT" dirty="0"/>
              <a:t>6) – Mais larga adoção dos BIOESTIMULANTES E MICRUNITRIENTES de alta qualidade</a:t>
            </a:r>
          </a:p>
        </p:txBody>
      </p:sp>
      <p:sp>
        <p:nvSpPr>
          <p:cNvPr id="4" name="Segnaposto numero diapositiva 3"/>
          <p:cNvSpPr>
            <a:spLocks noGrp="1"/>
          </p:cNvSpPr>
          <p:nvPr>
            <p:ph type="sldNum" sz="quarter" idx="10"/>
          </p:nvPr>
        </p:nvSpPr>
        <p:spPr/>
        <p:txBody>
          <a:bodyPr/>
          <a:lstStyle/>
          <a:p>
            <a:fld id="{B6BCFC18-0B3E-4EA0-BBC3-8A95CB37A93A}" type="slidenum">
              <a:rPr lang="it-IT" smtClean="0"/>
              <a:t>13</a:t>
            </a:fld>
            <a:endParaRPr lang="it-IT"/>
          </a:p>
        </p:txBody>
      </p:sp>
    </p:spTree>
    <p:extLst>
      <p:ext uri="{BB962C8B-B14F-4D97-AF65-F5344CB8AC3E}">
        <p14:creationId xmlns:p14="http://schemas.microsoft.com/office/powerpoint/2010/main" val="1737933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801648" y="2349386"/>
            <a:ext cx="9085342" cy="1621111"/>
          </a:xfrm>
        </p:spPr>
        <p:txBody>
          <a:bodyPr/>
          <a:lstStyle/>
          <a:p>
            <a:r>
              <a:rPr lang="it-IT"/>
              <a:t>Fare clic per modificare stile</a:t>
            </a:r>
          </a:p>
        </p:txBody>
      </p:sp>
      <p:sp>
        <p:nvSpPr>
          <p:cNvPr id="3" name="Sottotitolo 2"/>
          <p:cNvSpPr>
            <a:spLocks noGrp="1"/>
          </p:cNvSpPr>
          <p:nvPr>
            <p:ph type="subTitle" idx="1"/>
          </p:nvPr>
        </p:nvSpPr>
        <p:spPr>
          <a:xfrm>
            <a:off x="1603296" y="4285615"/>
            <a:ext cx="7482047" cy="1932728"/>
          </a:xfrm>
        </p:spPr>
        <p:txBody>
          <a:bodyPr/>
          <a:lstStyle>
            <a:lvl1pPr marL="0" indent="0" algn="ctr">
              <a:buNone/>
              <a:defRPr>
                <a:solidFill>
                  <a:schemeClr val="tx1">
                    <a:tint val="75000"/>
                  </a:schemeClr>
                </a:solidFill>
              </a:defRPr>
            </a:lvl1pPr>
            <a:lvl2pPr marL="521437" indent="0" algn="ctr">
              <a:buNone/>
              <a:defRPr>
                <a:solidFill>
                  <a:schemeClr val="tx1">
                    <a:tint val="75000"/>
                  </a:schemeClr>
                </a:solidFill>
              </a:defRPr>
            </a:lvl2pPr>
            <a:lvl3pPr marL="1042873" indent="0" algn="ctr">
              <a:buNone/>
              <a:defRPr>
                <a:solidFill>
                  <a:schemeClr val="tx1">
                    <a:tint val="75000"/>
                  </a:schemeClr>
                </a:solidFill>
              </a:defRPr>
            </a:lvl3pPr>
            <a:lvl4pPr marL="1564310" indent="0" algn="ctr">
              <a:buNone/>
              <a:defRPr>
                <a:solidFill>
                  <a:schemeClr val="tx1">
                    <a:tint val="75000"/>
                  </a:schemeClr>
                </a:solidFill>
              </a:defRPr>
            </a:lvl4pPr>
            <a:lvl5pPr marL="2085746" indent="0" algn="ctr">
              <a:buNone/>
              <a:defRPr>
                <a:solidFill>
                  <a:schemeClr val="tx1">
                    <a:tint val="75000"/>
                  </a:schemeClr>
                </a:solidFill>
              </a:defRPr>
            </a:lvl5pPr>
            <a:lvl6pPr marL="2607183" indent="0" algn="ctr">
              <a:buNone/>
              <a:defRPr>
                <a:solidFill>
                  <a:schemeClr val="tx1">
                    <a:tint val="75000"/>
                  </a:schemeClr>
                </a:solidFill>
              </a:defRPr>
            </a:lvl6pPr>
            <a:lvl7pPr marL="3128620" indent="0" algn="ctr">
              <a:buNone/>
              <a:defRPr>
                <a:solidFill>
                  <a:schemeClr val="tx1">
                    <a:tint val="75000"/>
                  </a:schemeClr>
                </a:solidFill>
              </a:defRPr>
            </a:lvl7pPr>
            <a:lvl8pPr marL="3650056" indent="0" algn="ctr">
              <a:buNone/>
              <a:defRPr>
                <a:solidFill>
                  <a:schemeClr val="tx1">
                    <a:tint val="75000"/>
                  </a:schemeClr>
                </a:solidFill>
              </a:defRPr>
            </a:lvl8pPr>
            <a:lvl9pPr marL="4171493"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lvl1pPr>
              <a:defRPr/>
            </a:lvl1pPr>
          </a:lstStyle>
          <a:p>
            <a:pPr>
              <a:defRPr/>
            </a:pPr>
            <a:fld id="{831A55B1-ED83-B341-8A27-A5F7713D0174}" type="datetime1">
              <a:rPr lang="it-IT" smtClean="0"/>
              <a:t>23/05/2019</a:t>
            </a:fld>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CFD14757-2874-1E45-80F0-6A8AEC6C9FBA}" type="slidenum">
              <a:rPr lang="it-IT"/>
              <a:pPr>
                <a:defRPr/>
              </a:pPr>
              <a:t>‹nº›</a:t>
            </a:fld>
            <a:endParaRPr lang="it-IT"/>
          </a:p>
        </p:txBody>
      </p:sp>
    </p:spTree>
    <p:extLst>
      <p:ext uri="{BB962C8B-B14F-4D97-AF65-F5344CB8AC3E}">
        <p14:creationId xmlns:p14="http://schemas.microsoft.com/office/powerpoint/2010/main" val="3742791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lvl1pPr>
              <a:defRPr/>
            </a:lvl1pPr>
          </a:lstStyle>
          <a:p>
            <a:pPr>
              <a:defRPr/>
            </a:pPr>
            <a:fld id="{1B5D0161-0C43-E249-AC22-F33FF49A2E81}" type="datetime1">
              <a:rPr lang="it-IT" smtClean="0"/>
              <a:t>23/05/2019</a:t>
            </a:fld>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6C3E981B-D037-A246-9F2D-3EC1671D6D1F}" type="slidenum">
              <a:rPr lang="it-IT"/>
              <a:pPr>
                <a:defRPr/>
              </a:pPr>
              <a:t>‹nº›</a:t>
            </a:fld>
            <a:endParaRPr lang="it-IT"/>
          </a:p>
        </p:txBody>
      </p:sp>
    </p:spTree>
    <p:extLst>
      <p:ext uri="{BB962C8B-B14F-4D97-AF65-F5344CB8AC3E}">
        <p14:creationId xmlns:p14="http://schemas.microsoft.com/office/powerpoint/2010/main" val="1748716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7749262" y="302865"/>
            <a:ext cx="2404944" cy="6452932"/>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534432" y="302865"/>
            <a:ext cx="7036687" cy="6452932"/>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lvl1pPr>
              <a:defRPr/>
            </a:lvl1pPr>
          </a:lstStyle>
          <a:p>
            <a:pPr>
              <a:defRPr/>
            </a:pPr>
            <a:fld id="{8A5302D2-C32A-4A4C-B80E-F34AEF7F61DB}" type="datetime1">
              <a:rPr lang="it-IT" smtClean="0"/>
              <a:t>23/05/2019</a:t>
            </a:fld>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8E3F9AF2-4D1C-EA44-AC27-A4572CD66221}" type="slidenum">
              <a:rPr lang="it-IT"/>
              <a:pPr>
                <a:defRPr/>
              </a:pPr>
              <a:t>‹nº›</a:t>
            </a:fld>
            <a:endParaRPr lang="it-IT"/>
          </a:p>
        </p:txBody>
      </p:sp>
    </p:spTree>
    <p:extLst>
      <p:ext uri="{BB962C8B-B14F-4D97-AF65-F5344CB8AC3E}">
        <p14:creationId xmlns:p14="http://schemas.microsoft.com/office/powerpoint/2010/main" val="1500579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6724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ue contenuti">
    <p:spTree>
      <p:nvGrpSpPr>
        <p:cNvPr id="1" name=""/>
        <p:cNvGrpSpPr/>
        <p:nvPr/>
      </p:nvGrpSpPr>
      <p:grpSpPr>
        <a:xfrm>
          <a:off x="0" y="0"/>
          <a:ext cx="0" cy="0"/>
          <a:chOff x="0" y="0"/>
          <a:chExt cx="0" cy="0"/>
        </a:xfrm>
      </p:grpSpPr>
      <p:pic>
        <p:nvPicPr>
          <p:cNvPr id="9" name="Immagine 8" descr="base_GC_2015.jpg"/>
          <p:cNvPicPr>
            <a:picLocks noChangeAspect="1"/>
          </p:cNvPicPr>
          <p:nvPr userDrawn="1"/>
        </p:nvPicPr>
        <p:blipFill>
          <a:blip r:embed="rId2" cstate="print"/>
          <a:srcRect l="75987" t="86747"/>
          <a:stretch>
            <a:fillRect/>
          </a:stretch>
        </p:blipFill>
        <p:spPr>
          <a:xfrm>
            <a:off x="8763402" y="6560734"/>
            <a:ext cx="1925236" cy="1002116"/>
          </a:xfrm>
          <a:prstGeom prst="rect">
            <a:avLst/>
          </a:prstGeom>
        </p:spPr>
      </p:pic>
    </p:spTree>
    <p:extLst>
      <p:ext uri="{BB962C8B-B14F-4D97-AF65-F5344CB8AC3E}">
        <p14:creationId xmlns:p14="http://schemas.microsoft.com/office/powerpoint/2010/main" val="37823202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801648" y="2349403"/>
            <a:ext cx="9085342" cy="1621111"/>
          </a:xfrm>
        </p:spPr>
        <p:txBody>
          <a:bodyPr/>
          <a:lstStyle/>
          <a:p>
            <a:r>
              <a:rPr lang="it-IT"/>
              <a:t>Fare clic per modificare lo stile del titolo</a:t>
            </a:r>
          </a:p>
        </p:txBody>
      </p:sp>
      <p:sp>
        <p:nvSpPr>
          <p:cNvPr id="3" name="Sottotitolo 2"/>
          <p:cNvSpPr>
            <a:spLocks noGrp="1"/>
          </p:cNvSpPr>
          <p:nvPr>
            <p:ph type="subTitle" idx="1"/>
          </p:nvPr>
        </p:nvSpPr>
        <p:spPr>
          <a:xfrm>
            <a:off x="1603296" y="4285615"/>
            <a:ext cx="7482047" cy="1932728"/>
          </a:xfrm>
        </p:spPr>
        <p:txBody>
          <a:bodyPr/>
          <a:lstStyle>
            <a:lvl1pPr marL="0" indent="0" algn="ctr">
              <a:buNone/>
              <a:defRPr>
                <a:solidFill>
                  <a:schemeClr val="tx1">
                    <a:tint val="75000"/>
                  </a:schemeClr>
                </a:solidFill>
              </a:defRPr>
            </a:lvl1pPr>
            <a:lvl2pPr marL="300613" indent="0" algn="ctr">
              <a:buNone/>
              <a:defRPr>
                <a:solidFill>
                  <a:schemeClr val="tx1">
                    <a:tint val="75000"/>
                  </a:schemeClr>
                </a:solidFill>
              </a:defRPr>
            </a:lvl2pPr>
            <a:lvl3pPr marL="601226" indent="0" algn="ctr">
              <a:buNone/>
              <a:defRPr>
                <a:solidFill>
                  <a:schemeClr val="tx1">
                    <a:tint val="75000"/>
                  </a:schemeClr>
                </a:solidFill>
              </a:defRPr>
            </a:lvl3pPr>
            <a:lvl4pPr marL="901839" indent="0" algn="ctr">
              <a:buNone/>
              <a:defRPr>
                <a:solidFill>
                  <a:schemeClr val="tx1">
                    <a:tint val="75000"/>
                  </a:schemeClr>
                </a:solidFill>
              </a:defRPr>
            </a:lvl4pPr>
            <a:lvl5pPr marL="1202452" indent="0" algn="ctr">
              <a:buNone/>
              <a:defRPr>
                <a:solidFill>
                  <a:schemeClr val="tx1">
                    <a:tint val="75000"/>
                  </a:schemeClr>
                </a:solidFill>
              </a:defRPr>
            </a:lvl5pPr>
            <a:lvl6pPr marL="1503064" indent="0" algn="ctr">
              <a:buNone/>
              <a:defRPr>
                <a:solidFill>
                  <a:schemeClr val="tx1">
                    <a:tint val="75000"/>
                  </a:schemeClr>
                </a:solidFill>
              </a:defRPr>
            </a:lvl6pPr>
            <a:lvl7pPr marL="1803677" indent="0" algn="ctr">
              <a:buNone/>
              <a:defRPr>
                <a:solidFill>
                  <a:schemeClr val="tx1">
                    <a:tint val="75000"/>
                  </a:schemeClr>
                </a:solidFill>
              </a:defRPr>
            </a:lvl7pPr>
            <a:lvl8pPr marL="2104290" indent="0" algn="ctr">
              <a:buNone/>
              <a:defRPr>
                <a:solidFill>
                  <a:schemeClr val="tx1">
                    <a:tint val="75000"/>
                  </a:schemeClr>
                </a:solidFill>
              </a:defRPr>
            </a:lvl8pPr>
            <a:lvl9pPr marL="2404904"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510647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1112710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44329" y="4859850"/>
            <a:ext cx="9085342" cy="1502066"/>
          </a:xfrm>
        </p:spPr>
        <p:txBody>
          <a:bodyPr anchor="t"/>
          <a:lstStyle>
            <a:lvl1pPr algn="l">
              <a:defRPr sz="2630" b="1" cap="all"/>
            </a:lvl1pPr>
          </a:lstStyle>
          <a:p>
            <a:r>
              <a:rPr lang="it-IT"/>
              <a:t>Fare clic per modificare lo stile del titolo</a:t>
            </a:r>
          </a:p>
        </p:txBody>
      </p:sp>
      <p:sp>
        <p:nvSpPr>
          <p:cNvPr id="3" name="Segnaposto testo 2"/>
          <p:cNvSpPr>
            <a:spLocks noGrp="1"/>
          </p:cNvSpPr>
          <p:nvPr>
            <p:ph type="body" idx="1"/>
          </p:nvPr>
        </p:nvSpPr>
        <p:spPr>
          <a:xfrm>
            <a:off x="844329" y="3205459"/>
            <a:ext cx="9085342" cy="1654373"/>
          </a:xfrm>
        </p:spPr>
        <p:txBody>
          <a:bodyPr anchor="b"/>
          <a:lstStyle>
            <a:lvl1pPr marL="0" indent="0">
              <a:buNone/>
              <a:defRPr sz="1315">
                <a:solidFill>
                  <a:schemeClr val="tx1">
                    <a:tint val="75000"/>
                  </a:schemeClr>
                </a:solidFill>
              </a:defRPr>
            </a:lvl1pPr>
            <a:lvl2pPr marL="300613" indent="0">
              <a:buNone/>
              <a:defRPr sz="1249">
                <a:solidFill>
                  <a:schemeClr val="tx1">
                    <a:tint val="75000"/>
                  </a:schemeClr>
                </a:solidFill>
              </a:defRPr>
            </a:lvl2pPr>
            <a:lvl3pPr marL="601226" indent="0">
              <a:buNone/>
              <a:defRPr sz="1052">
                <a:solidFill>
                  <a:schemeClr val="tx1">
                    <a:tint val="75000"/>
                  </a:schemeClr>
                </a:solidFill>
              </a:defRPr>
            </a:lvl3pPr>
            <a:lvl4pPr marL="901839" indent="0">
              <a:buNone/>
              <a:defRPr sz="986">
                <a:solidFill>
                  <a:schemeClr val="tx1">
                    <a:tint val="75000"/>
                  </a:schemeClr>
                </a:solidFill>
              </a:defRPr>
            </a:lvl4pPr>
            <a:lvl5pPr marL="1202452" indent="0">
              <a:buNone/>
              <a:defRPr sz="986">
                <a:solidFill>
                  <a:schemeClr val="tx1">
                    <a:tint val="75000"/>
                  </a:schemeClr>
                </a:solidFill>
              </a:defRPr>
            </a:lvl5pPr>
            <a:lvl6pPr marL="1503064" indent="0">
              <a:buNone/>
              <a:defRPr sz="986">
                <a:solidFill>
                  <a:schemeClr val="tx1">
                    <a:tint val="75000"/>
                  </a:schemeClr>
                </a:solidFill>
              </a:defRPr>
            </a:lvl6pPr>
            <a:lvl7pPr marL="1803677" indent="0">
              <a:buNone/>
              <a:defRPr sz="986">
                <a:solidFill>
                  <a:schemeClr val="tx1">
                    <a:tint val="75000"/>
                  </a:schemeClr>
                </a:solidFill>
              </a:defRPr>
            </a:lvl7pPr>
            <a:lvl8pPr marL="2104290" indent="0">
              <a:buNone/>
              <a:defRPr sz="986">
                <a:solidFill>
                  <a:schemeClr val="tx1">
                    <a:tint val="75000"/>
                  </a:schemeClr>
                </a:solidFill>
              </a:defRPr>
            </a:lvl8pPr>
            <a:lvl9pPr marL="2404904" indent="0">
              <a:buNone/>
              <a:defRPr sz="986">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11680346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534432" y="1764672"/>
            <a:ext cx="4720815" cy="4991131"/>
          </a:xfrm>
        </p:spPr>
        <p:txBody>
          <a:bodyPr/>
          <a:lstStyle>
            <a:lvl1pPr>
              <a:defRPr sz="1841"/>
            </a:lvl1pPr>
            <a:lvl2pPr>
              <a:defRPr sz="1578"/>
            </a:lvl2pPr>
            <a:lvl3pPr>
              <a:defRPr sz="1315"/>
            </a:lvl3pPr>
            <a:lvl4pPr>
              <a:defRPr sz="1249"/>
            </a:lvl4pPr>
            <a:lvl5pPr>
              <a:defRPr sz="1249"/>
            </a:lvl5pPr>
            <a:lvl6pPr>
              <a:defRPr sz="1249"/>
            </a:lvl6pPr>
            <a:lvl7pPr>
              <a:defRPr sz="1249"/>
            </a:lvl7pPr>
            <a:lvl8pPr>
              <a:defRPr sz="1249"/>
            </a:lvl8pPr>
            <a:lvl9pPr>
              <a:defRPr sz="1249"/>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5433391" y="1764672"/>
            <a:ext cx="4720815" cy="4991131"/>
          </a:xfrm>
        </p:spPr>
        <p:txBody>
          <a:bodyPr/>
          <a:lstStyle>
            <a:lvl1pPr>
              <a:defRPr sz="1841"/>
            </a:lvl1pPr>
            <a:lvl2pPr>
              <a:defRPr sz="1578"/>
            </a:lvl2pPr>
            <a:lvl3pPr>
              <a:defRPr sz="1315"/>
            </a:lvl3pPr>
            <a:lvl4pPr>
              <a:defRPr sz="1249"/>
            </a:lvl4pPr>
            <a:lvl5pPr>
              <a:defRPr sz="1249"/>
            </a:lvl5pPr>
            <a:lvl6pPr>
              <a:defRPr sz="1249"/>
            </a:lvl6pPr>
            <a:lvl7pPr>
              <a:defRPr sz="1249"/>
            </a:lvl7pPr>
            <a:lvl8pPr>
              <a:defRPr sz="1249"/>
            </a:lvl8pPr>
            <a:lvl9pPr>
              <a:defRPr sz="1249"/>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27840755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534432" y="1692894"/>
            <a:ext cx="4722671" cy="705516"/>
          </a:xfrm>
        </p:spPr>
        <p:txBody>
          <a:bodyPr anchor="b"/>
          <a:lstStyle>
            <a:lvl1pPr marL="0" indent="0">
              <a:buNone/>
              <a:defRPr sz="1578" b="1"/>
            </a:lvl1pPr>
            <a:lvl2pPr marL="300613" indent="0">
              <a:buNone/>
              <a:defRPr sz="1315" b="1"/>
            </a:lvl2pPr>
            <a:lvl3pPr marL="601226" indent="0">
              <a:buNone/>
              <a:defRPr sz="1249" b="1"/>
            </a:lvl3pPr>
            <a:lvl4pPr marL="901839" indent="0">
              <a:buNone/>
              <a:defRPr sz="1052" b="1"/>
            </a:lvl4pPr>
            <a:lvl5pPr marL="1202452" indent="0">
              <a:buNone/>
              <a:defRPr sz="1052" b="1"/>
            </a:lvl5pPr>
            <a:lvl6pPr marL="1503064" indent="0">
              <a:buNone/>
              <a:defRPr sz="1052" b="1"/>
            </a:lvl6pPr>
            <a:lvl7pPr marL="1803677" indent="0">
              <a:buNone/>
              <a:defRPr sz="1052" b="1"/>
            </a:lvl7pPr>
            <a:lvl8pPr marL="2104290" indent="0">
              <a:buNone/>
              <a:defRPr sz="1052" b="1"/>
            </a:lvl8pPr>
            <a:lvl9pPr marL="2404904" indent="0">
              <a:buNone/>
              <a:defRPr sz="1052" b="1"/>
            </a:lvl9pPr>
          </a:lstStyle>
          <a:p>
            <a:pPr lvl="0"/>
            <a:r>
              <a:rPr lang="it-IT"/>
              <a:t>Fare clic per modificare stili del testo dello schema</a:t>
            </a:r>
          </a:p>
        </p:txBody>
      </p:sp>
      <p:sp>
        <p:nvSpPr>
          <p:cNvPr id="4" name="Segnaposto contenuto 3"/>
          <p:cNvSpPr>
            <a:spLocks noGrp="1"/>
          </p:cNvSpPr>
          <p:nvPr>
            <p:ph sz="half" idx="2"/>
          </p:nvPr>
        </p:nvSpPr>
        <p:spPr>
          <a:xfrm>
            <a:off x="534432" y="2398404"/>
            <a:ext cx="4722671" cy="4357393"/>
          </a:xfrm>
        </p:spPr>
        <p:txBody>
          <a:bodyPr/>
          <a:lstStyle>
            <a:lvl1pPr>
              <a:defRPr sz="1578"/>
            </a:lvl1pPr>
            <a:lvl2pPr>
              <a:defRPr sz="1315"/>
            </a:lvl2pPr>
            <a:lvl3pPr>
              <a:defRPr sz="1249"/>
            </a:lvl3pPr>
            <a:lvl4pPr>
              <a:defRPr sz="1052"/>
            </a:lvl4pPr>
            <a:lvl5pPr>
              <a:defRPr sz="1052"/>
            </a:lvl5pPr>
            <a:lvl6pPr>
              <a:defRPr sz="1052"/>
            </a:lvl6pPr>
            <a:lvl7pPr>
              <a:defRPr sz="1052"/>
            </a:lvl7pPr>
            <a:lvl8pPr>
              <a:defRPr sz="1052"/>
            </a:lvl8pPr>
            <a:lvl9pPr>
              <a:defRPr sz="1052"/>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5429690" y="1692894"/>
            <a:ext cx="4724526" cy="705516"/>
          </a:xfrm>
        </p:spPr>
        <p:txBody>
          <a:bodyPr anchor="b"/>
          <a:lstStyle>
            <a:lvl1pPr marL="0" indent="0">
              <a:buNone/>
              <a:defRPr sz="1578" b="1"/>
            </a:lvl1pPr>
            <a:lvl2pPr marL="300613" indent="0">
              <a:buNone/>
              <a:defRPr sz="1315" b="1"/>
            </a:lvl2pPr>
            <a:lvl3pPr marL="601226" indent="0">
              <a:buNone/>
              <a:defRPr sz="1249" b="1"/>
            </a:lvl3pPr>
            <a:lvl4pPr marL="901839" indent="0">
              <a:buNone/>
              <a:defRPr sz="1052" b="1"/>
            </a:lvl4pPr>
            <a:lvl5pPr marL="1202452" indent="0">
              <a:buNone/>
              <a:defRPr sz="1052" b="1"/>
            </a:lvl5pPr>
            <a:lvl6pPr marL="1503064" indent="0">
              <a:buNone/>
              <a:defRPr sz="1052" b="1"/>
            </a:lvl6pPr>
            <a:lvl7pPr marL="1803677" indent="0">
              <a:buNone/>
              <a:defRPr sz="1052" b="1"/>
            </a:lvl7pPr>
            <a:lvl8pPr marL="2104290" indent="0">
              <a:buNone/>
              <a:defRPr sz="1052" b="1"/>
            </a:lvl8pPr>
            <a:lvl9pPr marL="2404904" indent="0">
              <a:buNone/>
              <a:defRPr sz="1052" b="1"/>
            </a:lvl9pPr>
          </a:lstStyle>
          <a:p>
            <a:pPr lvl="0"/>
            <a:r>
              <a:rPr lang="it-IT"/>
              <a:t>Fare clic per modificare stili del testo dello schema</a:t>
            </a:r>
          </a:p>
        </p:txBody>
      </p:sp>
      <p:sp>
        <p:nvSpPr>
          <p:cNvPr id="6" name="Segnaposto contenuto 5"/>
          <p:cNvSpPr>
            <a:spLocks noGrp="1"/>
          </p:cNvSpPr>
          <p:nvPr>
            <p:ph sz="quarter" idx="4"/>
          </p:nvPr>
        </p:nvSpPr>
        <p:spPr>
          <a:xfrm>
            <a:off x="5429690" y="2398404"/>
            <a:ext cx="4724526" cy="4357393"/>
          </a:xfrm>
        </p:spPr>
        <p:txBody>
          <a:bodyPr/>
          <a:lstStyle>
            <a:lvl1pPr>
              <a:defRPr sz="1578"/>
            </a:lvl1pPr>
            <a:lvl2pPr>
              <a:defRPr sz="1315"/>
            </a:lvl2pPr>
            <a:lvl3pPr>
              <a:defRPr sz="1249"/>
            </a:lvl3pPr>
            <a:lvl4pPr>
              <a:defRPr sz="1052"/>
            </a:lvl4pPr>
            <a:lvl5pPr>
              <a:defRPr sz="1052"/>
            </a:lvl5pPr>
            <a:lvl6pPr>
              <a:defRPr sz="1052"/>
            </a:lvl6pPr>
            <a:lvl7pPr>
              <a:defRPr sz="1052"/>
            </a:lvl7pPr>
            <a:lvl8pPr>
              <a:defRPr sz="1052"/>
            </a:lvl8pPr>
            <a:lvl9pPr>
              <a:defRPr sz="1052"/>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1810827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587043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lvl1pPr>
              <a:defRPr/>
            </a:lvl1pPr>
          </a:lstStyle>
          <a:p>
            <a:pPr>
              <a:defRPr/>
            </a:pPr>
            <a:fld id="{64DFB3C3-B2B7-B546-8F8B-FD13032622CA}" type="datetime1">
              <a:rPr lang="it-IT" smtClean="0"/>
              <a:t>23/05/2019</a:t>
            </a:fld>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7670B376-D543-F144-B466-FDB86EDAE6EC}" type="slidenum">
              <a:rPr lang="it-IT"/>
              <a:pPr>
                <a:defRPr/>
              </a:pPr>
              <a:t>‹nº›</a:t>
            </a:fld>
            <a:endParaRPr lang="it-IT"/>
          </a:p>
        </p:txBody>
      </p:sp>
    </p:spTree>
    <p:extLst>
      <p:ext uri="{BB962C8B-B14F-4D97-AF65-F5344CB8AC3E}">
        <p14:creationId xmlns:p14="http://schemas.microsoft.com/office/powerpoint/2010/main" val="26506538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5320584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534435" y="301125"/>
            <a:ext cx="3516488" cy="1281484"/>
          </a:xfrm>
        </p:spPr>
        <p:txBody>
          <a:bodyPr anchor="b"/>
          <a:lstStyle>
            <a:lvl1pPr algn="l">
              <a:defRPr sz="1315" b="1"/>
            </a:lvl1pPr>
          </a:lstStyle>
          <a:p>
            <a:r>
              <a:rPr lang="it-IT"/>
              <a:t>Fare clic per modificare lo stile del titolo</a:t>
            </a:r>
          </a:p>
        </p:txBody>
      </p:sp>
      <p:sp>
        <p:nvSpPr>
          <p:cNvPr id="3" name="Segnaposto contenuto 2"/>
          <p:cNvSpPr>
            <a:spLocks noGrp="1"/>
          </p:cNvSpPr>
          <p:nvPr>
            <p:ph idx="1"/>
          </p:nvPr>
        </p:nvSpPr>
        <p:spPr>
          <a:xfrm>
            <a:off x="4178961" y="301129"/>
            <a:ext cx="5975246" cy="6454683"/>
          </a:xfrm>
        </p:spPr>
        <p:txBody>
          <a:bodyPr/>
          <a:lstStyle>
            <a:lvl1pPr>
              <a:defRPr sz="2104"/>
            </a:lvl1pPr>
            <a:lvl2pPr>
              <a:defRPr sz="1841"/>
            </a:lvl2pPr>
            <a:lvl3pPr>
              <a:defRPr sz="1578"/>
            </a:lvl3pPr>
            <a:lvl4pPr>
              <a:defRPr sz="1315"/>
            </a:lvl4pPr>
            <a:lvl5pPr>
              <a:defRPr sz="1315"/>
            </a:lvl5pPr>
            <a:lvl6pPr>
              <a:defRPr sz="1315"/>
            </a:lvl6pPr>
            <a:lvl7pPr>
              <a:defRPr sz="1315"/>
            </a:lvl7pPr>
            <a:lvl8pPr>
              <a:defRPr sz="1315"/>
            </a:lvl8pPr>
            <a:lvl9pPr>
              <a:defRPr sz="1315"/>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534435" y="1582601"/>
            <a:ext cx="3516488" cy="5173200"/>
          </a:xfrm>
        </p:spPr>
        <p:txBody>
          <a:bodyPr/>
          <a:lstStyle>
            <a:lvl1pPr marL="0" indent="0">
              <a:buNone/>
              <a:defRPr sz="986"/>
            </a:lvl1pPr>
            <a:lvl2pPr marL="300613" indent="0">
              <a:buNone/>
              <a:defRPr sz="789"/>
            </a:lvl2pPr>
            <a:lvl3pPr marL="601226" indent="0">
              <a:buNone/>
              <a:defRPr sz="723"/>
            </a:lvl3pPr>
            <a:lvl4pPr marL="901839" indent="0">
              <a:buNone/>
              <a:defRPr sz="592"/>
            </a:lvl4pPr>
            <a:lvl5pPr marL="1202452" indent="0">
              <a:buNone/>
              <a:defRPr sz="592"/>
            </a:lvl5pPr>
            <a:lvl6pPr marL="1503064" indent="0">
              <a:buNone/>
              <a:defRPr sz="592"/>
            </a:lvl6pPr>
            <a:lvl7pPr marL="1803677" indent="0">
              <a:buNone/>
              <a:defRPr sz="592"/>
            </a:lvl7pPr>
            <a:lvl8pPr marL="2104290" indent="0">
              <a:buNone/>
              <a:defRPr sz="592"/>
            </a:lvl8pPr>
            <a:lvl9pPr marL="2404904" indent="0">
              <a:buNone/>
              <a:defRPr sz="592"/>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685841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095047" y="5294009"/>
            <a:ext cx="6413183" cy="624987"/>
          </a:xfrm>
        </p:spPr>
        <p:txBody>
          <a:bodyPr anchor="b"/>
          <a:lstStyle>
            <a:lvl1pPr algn="l">
              <a:defRPr sz="1315" b="1"/>
            </a:lvl1pPr>
          </a:lstStyle>
          <a:p>
            <a:r>
              <a:rPr lang="it-IT"/>
              <a:t>Fare clic per modificare lo stile del titolo</a:t>
            </a:r>
          </a:p>
        </p:txBody>
      </p:sp>
      <p:sp>
        <p:nvSpPr>
          <p:cNvPr id="3" name="Segnaposto immagine 2"/>
          <p:cNvSpPr>
            <a:spLocks noGrp="1"/>
          </p:cNvSpPr>
          <p:nvPr>
            <p:ph type="pic" idx="1"/>
          </p:nvPr>
        </p:nvSpPr>
        <p:spPr>
          <a:xfrm>
            <a:off x="2095047" y="675755"/>
            <a:ext cx="6413183" cy="4537710"/>
          </a:xfrm>
        </p:spPr>
        <p:txBody>
          <a:bodyPr/>
          <a:lstStyle>
            <a:lvl1pPr marL="0" indent="0">
              <a:buNone/>
              <a:defRPr sz="2104"/>
            </a:lvl1pPr>
            <a:lvl2pPr marL="300613" indent="0">
              <a:buNone/>
              <a:defRPr sz="1841"/>
            </a:lvl2pPr>
            <a:lvl3pPr marL="601226" indent="0">
              <a:buNone/>
              <a:defRPr sz="1578"/>
            </a:lvl3pPr>
            <a:lvl4pPr marL="901839" indent="0">
              <a:buNone/>
              <a:defRPr sz="1315"/>
            </a:lvl4pPr>
            <a:lvl5pPr marL="1202452" indent="0">
              <a:buNone/>
              <a:defRPr sz="1315"/>
            </a:lvl5pPr>
            <a:lvl6pPr marL="1503064" indent="0">
              <a:buNone/>
              <a:defRPr sz="1315"/>
            </a:lvl6pPr>
            <a:lvl7pPr marL="1803677" indent="0">
              <a:buNone/>
              <a:defRPr sz="1315"/>
            </a:lvl7pPr>
            <a:lvl8pPr marL="2104290" indent="0">
              <a:buNone/>
              <a:defRPr sz="1315"/>
            </a:lvl8pPr>
            <a:lvl9pPr marL="2404904" indent="0">
              <a:buNone/>
              <a:defRPr sz="1315"/>
            </a:lvl9pPr>
          </a:lstStyle>
          <a:p>
            <a:endParaRPr lang="it-IT"/>
          </a:p>
        </p:txBody>
      </p:sp>
      <p:sp>
        <p:nvSpPr>
          <p:cNvPr id="4" name="Segnaposto testo 3"/>
          <p:cNvSpPr>
            <a:spLocks noGrp="1"/>
          </p:cNvSpPr>
          <p:nvPr>
            <p:ph type="body" sz="half" idx="2"/>
          </p:nvPr>
        </p:nvSpPr>
        <p:spPr>
          <a:xfrm>
            <a:off x="2095047" y="5918995"/>
            <a:ext cx="6413183" cy="887585"/>
          </a:xfrm>
        </p:spPr>
        <p:txBody>
          <a:bodyPr/>
          <a:lstStyle>
            <a:lvl1pPr marL="0" indent="0">
              <a:buNone/>
              <a:defRPr sz="986"/>
            </a:lvl1pPr>
            <a:lvl2pPr marL="300613" indent="0">
              <a:buNone/>
              <a:defRPr sz="789"/>
            </a:lvl2pPr>
            <a:lvl3pPr marL="601226" indent="0">
              <a:buNone/>
              <a:defRPr sz="723"/>
            </a:lvl3pPr>
            <a:lvl4pPr marL="901839" indent="0">
              <a:buNone/>
              <a:defRPr sz="592"/>
            </a:lvl4pPr>
            <a:lvl5pPr marL="1202452" indent="0">
              <a:buNone/>
              <a:defRPr sz="592"/>
            </a:lvl5pPr>
            <a:lvl6pPr marL="1503064" indent="0">
              <a:buNone/>
              <a:defRPr sz="592"/>
            </a:lvl6pPr>
            <a:lvl7pPr marL="1803677" indent="0">
              <a:buNone/>
              <a:defRPr sz="592"/>
            </a:lvl7pPr>
            <a:lvl8pPr marL="2104290" indent="0">
              <a:buNone/>
              <a:defRPr sz="592"/>
            </a:lvl8pPr>
            <a:lvl9pPr marL="2404904" indent="0">
              <a:buNone/>
              <a:defRPr sz="592"/>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7834648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37939832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7749262" y="302882"/>
            <a:ext cx="2404944" cy="6452932"/>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534432" y="302882"/>
            <a:ext cx="7036687" cy="6452932"/>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spTree>
    <p:extLst>
      <p:ext uri="{BB962C8B-B14F-4D97-AF65-F5344CB8AC3E}">
        <p14:creationId xmlns:p14="http://schemas.microsoft.com/office/powerpoint/2010/main" val="6655832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267216" y="1428542"/>
            <a:ext cx="10154206" cy="53272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flipV="1">
            <a:off x="267216" y="819310"/>
            <a:ext cx="1015420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Number Placeholder 1"/>
          <p:cNvSpPr>
            <a:spLocks noGrp="1"/>
          </p:cNvSpPr>
          <p:nvPr>
            <p:ph type="sldNum" sz="quarter" idx="4"/>
          </p:nvPr>
        </p:nvSpPr>
        <p:spPr>
          <a:xfrm>
            <a:off x="5030786" y="7160213"/>
            <a:ext cx="627067" cy="402652"/>
          </a:xfrm>
          <a:prstGeom prst="rect">
            <a:avLst/>
          </a:prstGeom>
        </p:spPr>
        <p:txBody>
          <a:bodyPr vert="horz" lIns="91438" tIns="45719" rIns="91438" bIns="45719" rtlCol="0" anchor="ctr"/>
          <a:lstStyle>
            <a:lvl1pPr algn="ctr" fontAlgn="auto">
              <a:spcBef>
                <a:spcPts val="0"/>
              </a:spcBef>
              <a:spcAft>
                <a:spcPts val="0"/>
              </a:spcAft>
              <a:defRPr sz="789">
                <a:solidFill>
                  <a:schemeClr val="bg1">
                    <a:lumMod val="50000"/>
                  </a:schemeClr>
                </a:solidFill>
                <a:latin typeface="+mn-lt"/>
              </a:defRPr>
            </a:lvl1pPr>
          </a:lstStyle>
          <a:p>
            <a:pPr>
              <a:defRPr/>
            </a:pPr>
            <a:fld id="{AB0F33F5-963C-4093-AAA0-1AC5A2AEF360}" type="slidenum">
              <a:rPr lang="en-US" smtClean="0">
                <a:solidFill>
                  <a:prstClr val="white">
                    <a:lumMod val="50000"/>
                  </a:prstClr>
                </a:solidFill>
              </a:rPr>
              <a:pPr>
                <a:defRPr/>
              </a:pPr>
              <a:t>‹nº›</a:t>
            </a:fld>
            <a:endParaRPr lang="en-US" dirty="0">
              <a:solidFill>
                <a:prstClr val="white">
                  <a:lumMod val="50000"/>
                </a:prstClr>
              </a:solidFill>
            </a:endParaRPr>
          </a:p>
        </p:txBody>
      </p:sp>
      <p:sp>
        <p:nvSpPr>
          <p:cNvPr id="7" name="Rectangle 2"/>
          <p:cNvSpPr>
            <a:spLocks noGrp="1" noChangeArrowheads="1"/>
          </p:cNvSpPr>
          <p:nvPr>
            <p:ph type="title"/>
          </p:nvPr>
        </p:nvSpPr>
        <p:spPr bwMode="auto">
          <a:xfrm>
            <a:off x="267216" y="14"/>
            <a:ext cx="7994211" cy="808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19" tIns="0" rIns="45719" bIns="0" numCol="1" anchor="b" anchorCtr="0" compatLnSpc="1">
            <a:prstTxWarp prst="textNoShape">
              <a:avLst/>
            </a:prstTxWarp>
          </a:bodyPr>
          <a:lstStyle/>
          <a:p>
            <a:pPr lvl="0"/>
            <a:r>
              <a:rPr lang="en-US" dirty="0"/>
              <a:t>Click to edit Master title style</a:t>
            </a:r>
          </a:p>
        </p:txBody>
      </p:sp>
    </p:spTree>
    <p:extLst>
      <p:ext uri="{BB962C8B-B14F-4D97-AF65-F5344CB8AC3E}">
        <p14:creationId xmlns:p14="http://schemas.microsoft.com/office/powerpoint/2010/main" val="41033936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Rectangle 7"/>
          <p:cNvSpPr/>
          <p:nvPr userDrawn="1"/>
        </p:nvSpPr>
        <p:spPr bwMode="auto">
          <a:xfrm>
            <a:off x="0" y="0"/>
            <a:ext cx="10688638" cy="1521324"/>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0121" tIns="30061" rIns="60121" bIns="30061" numCol="1" rtlCol="0" anchor="ctr" anchorCtr="0" compatLnSpc="1">
            <a:prstTxWarp prst="textNoShape">
              <a:avLst/>
            </a:prstTxWarp>
          </a:bodyPr>
          <a:lstStyle/>
          <a:p>
            <a:pPr algn="ctr" defTabSz="601043"/>
            <a:endParaRPr lang="en-US" sz="1512" dirty="0">
              <a:solidFill>
                <a:srgbClr val="977C00">
                  <a:lumMod val="50000"/>
                </a:srgbClr>
              </a:solidFill>
              <a:latin typeface="Segoe" pitchFamily="34" charset="0"/>
            </a:endParaRPr>
          </a:p>
        </p:txBody>
      </p:sp>
      <p:sp>
        <p:nvSpPr>
          <p:cNvPr id="2" name="Title 1"/>
          <p:cNvSpPr>
            <a:spLocks noGrp="1"/>
          </p:cNvSpPr>
          <p:nvPr>
            <p:ph type="title"/>
          </p:nvPr>
        </p:nvSpPr>
        <p:spPr>
          <a:xfrm>
            <a:off x="547422" y="571125"/>
            <a:ext cx="9191114" cy="488749"/>
          </a:xfrm>
        </p:spPr>
        <p:txBody>
          <a:bodyPr anchor="ctr" anchorCtr="0"/>
          <a:lstStyle>
            <a:lvl1pPr>
              <a:defRPr sz="2104" spc="0" baseline="0">
                <a:solidFill>
                  <a:srgbClr val="FFFFFF"/>
                </a:solidFill>
              </a:defRPr>
            </a:lvl1pPr>
          </a:lstStyle>
          <a:p>
            <a:r>
              <a:rPr lang="en-US" dirty="0"/>
              <a:t>Click to edit Master title style</a:t>
            </a:r>
          </a:p>
        </p:txBody>
      </p:sp>
      <p:sp>
        <p:nvSpPr>
          <p:cNvPr id="3" name="Content Placeholder 2"/>
          <p:cNvSpPr>
            <a:spLocks noGrp="1"/>
          </p:cNvSpPr>
          <p:nvPr>
            <p:ph idx="1"/>
          </p:nvPr>
        </p:nvSpPr>
        <p:spPr>
          <a:xfrm>
            <a:off x="547425" y="1951986"/>
            <a:ext cx="9395238" cy="4570972"/>
          </a:xfrm>
        </p:spPr>
        <p:txBody>
          <a:bodyPr/>
          <a:lstStyle>
            <a:lvl1pPr marL="189976" marR="0" indent="-189976" algn="l" defTabSz="601216" rtl="0" eaLnBrk="1" fontAlgn="auto" latinLnBrk="0" hangingPunct="1">
              <a:lnSpc>
                <a:spcPct val="90000"/>
              </a:lnSpc>
              <a:spcBef>
                <a:spcPts val="0"/>
              </a:spcBef>
              <a:spcAft>
                <a:spcPts val="1052"/>
              </a:spcAft>
              <a:buClr>
                <a:srgbClr val="CEAA7A"/>
              </a:buClr>
              <a:buSzTx/>
              <a:buFont typeface="Arial" pitchFamily="34" charset="0"/>
              <a:buNone/>
              <a:tabLst/>
              <a:defRPr spc="0" baseline="0"/>
            </a:lvl1pPr>
            <a:lvl2pPr marL="300620" marR="0"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spc="0" baseline="0"/>
            </a:lvl2pPr>
            <a:lvl3pPr marL="563664" marR="0"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lang="en-US" sz="1184" b="1" kern="1200" spc="0" baseline="0" dirty="0" smtClean="0">
                <a:solidFill>
                  <a:schemeClr val="tx1"/>
                </a:solidFill>
                <a:latin typeface="+mn-lt"/>
                <a:ea typeface="+mn-ea"/>
                <a:cs typeface="+mn-cs"/>
              </a:defRPr>
            </a:lvl3pPr>
            <a:lvl4pPr marL="864284" marR="0"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lang="en-US" sz="1052" b="1" kern="1200" spc="0" baseline="0" dirty="0" smtClean="0">
                <a:solidFill>
                  <a:schemeClr val="tx1"/>
                </a:solidFill>
                <a:latin typeface="+mn-lt"/>
                <a:ea typeface="+mn-ea"/>
                <a:cs typeface="+mn-cs"/>
              </a:defRPr>
            </a:lvl4pPr>
            <a:lvl5pPr marL="1164905" marR="0"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lang="en-US" sz="921" b="1" kern="1200" spc="0" baseline="0" dirty="0">
                <a:solidFill>
                  <a:schemeClr val="tx1"/>
                </a:solidFill>
                <a:latin typeface="+mn-lt"/>
                <a:ea typeface="+mn-ea"/>
                <a:cs typeface="+mn-cs"/>
              </a:defRPr>
            </a:lvl5pPr>
          </a:lstStyle>
          <a:p>
            <a:pPr marL="189976" marR="0" lvl="0" indent="-189976" algn="l" defTabSz="601216" rtl="0" eaLnBrk="1" fontAlgn="auto" latinLnBrk="0" hangingPunct="1">
              <a:lnSpc>
                <a:spcPct val="90000"/>
              </a:lnSpc>
              <a:spcBef>
                <a:spcPts val="0"/>
              </a:spcBef>
              <a:spcAft>
                <a:spcPts val="1052"/>
              </a:spcAft>
              <a:buClr>
                <a:srgbClr val="CEAA7A"/>
              </a:buClr>
              <a:buSzTx/>
              <a:buFont typeface="Arial" pitchFamily="34" charset="0"/>
              <a:buNone/>
              <a:tabLst/>
              <a:defRPr/>
            </a:pPr>
            <a:r>
              <a:rPr kumimoji="0" lang="en-US" sz="1578" b="1" i="0" u="none" strike="noStrike" kern="1200" cap="none" spc="0" normalizeH="0" baseline="0" noProof="0" dirty="0">
                <a:ln>
                  <a:noFill/>
                </a:ln>
                <a:solidFill>
                  <a:srgbClr val="58452A"/>
                </a:solidFill>
                <a:effectLst/>
                <a:uLnTx/>
                <a:uFillTx/>
                <a:latin typeface="+mn-lt"/>
                <a:ea typeface="+mn-ea"/>
                <a:cs typeface="+mn-cs"/>
              </a:rPr>
              <a:t>Click to edit Master text styles</a:t>
            </a:r>
          </a:p>
          <a:p>
            <a:pPr marL="300620" marR="0" lvl="1"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a:pPr>
            <a:r>
              <a:rPr kumimoji="0" lang="en-US" sz="1249" b="1" i="0" u="none" strike="noStrike" kern="1200" cap="none" spc="0" normalizeH="0" baseline="0" noProof="0" dirty="0">
                <a:ln>
                  <a:noFill/>
                </a:ln>
                <a:solidFill>
                  <a:srgbClr val="58452A"/>
                </a:solidFill>
                <a:effectLst/>
                <a:uLnTx/>
                <a:uFillTx/>
                <a:latin typeface="+mn-lt"/>
                <a:ea typeface="+mn-ea"/>
                <a:cs typeface="+mn-cs"/>
              </a:rPr>
              <a:t>Second level</a:t>
            </a:r>
          </a:p>
          <a:p>
            <a:pPr marL="563664" marR="0" lvl="2"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a:pPr>
            <a:r>
              <a:rPr kumimoji="0" lang="en-US" sz="1085" b="1" i="0" u="none" strike="noStrike" kern="1200" cap="none" spc="0" normalizeH="0" baseline="0" noProof="0" dirty="0">
                <a:ln>
                  <a:noFill/>
                </a:ln>
                <a:solidFill>
                  <a:srgbClr val="58452A"/>
                </a:solidFill>
                <a:effectLst/>
                <a:uLnTx/>
                <a:uFillTx/>
                <a:latin typeface="+mn-lt"/>
                <a:ea typeface="+mn-ea"/>
                <a:cs typeface="+mn-cs"/>
              </a:rPr>
              <a:t>Third level</a:t>
            </a:r>
          </a:p>
          <a:p>
            <a:pPr marL="864284" marR="0" lvl="3"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a:pPr>
            <a:r>
              <a:rPr kumimoji="0" lang="en-US" sz="1085" b="1" i="0" u="none" strike="noStrike" kern="1200" cap="none" spc="0" normalizeH="0" baseline="0" noProof="0" dirty="0">
                <a:ln>
                  <a:noFill/>
                </a:ln>
                <a:solidFill>
                  <a:srgbClr val="58452A"/>
                </a:solidFill>
                <a:effectLst/>
                <a:uLnTx/>
                <a:uFillTx/>
                <a:latin typeface="+mn-lt"/>
                <a:ea typeface="+mn-ea"/>
                <a:cs typeface="+mn-cs"/>
              </a:rPr>
              <a:t>Fourth level</a:t>
            </a:r>
          </a:p>
          <a:p>
            <a:pPr marL="1164905" marR="0" lvl="4" indent="-300620" algn="l" defTabSz="601216" rtl="0" eaLnBrk="1" fontAlgn="auto" latinLnBrk="0" hangingPunct="1">
              <a:lnSpc>
                <a:spcPct val="90000"/>
              </a:lnSpc>
              <a:spcBef>
                <a:spcPts val="0"/>
              </a:spcBef>
              <a:spcAft>
                <a:spcPts val="1052"/>
              </a:spcAft>
              <a:buClr>
                <a:srgbClr val="CEAA7A"/>
              </a:buClr>
              <a:buSzTx/>
              <a:buFont typeface="Arial" pitchFamily="34" charset="0"/>
              <a:buChar char="•"/>
              <a:tabLst/>
              <a:defRPr/>
            </a:pPr>
            <a:r>
              <a:rPr kumimoji="0" lang="en-US" sz="1085" b="1" i="0" u="none" strike="noStrike" kern="1200" cap="none" spc="0" normalizeH="0" baseline="0" noProof="0" dirty="0">
                <a:ln>
                  <a:noFill/>
                </a:ln>
                <a:solidFill>
                  <a:srgbClr val="58452A"/>
                </a:solidFill>
                <a:effectLst/>
                <a:uLnTx/>
                <a:uFillTx/>
                <a:latin typeface="+mn-lt"/>
                <a:ea typeface="+mn-ea"/>
                <a:cs typeface="+mn-cs"/>
              </a:rPr>
              <a:t>Fifth level</a:t>
            </a:r>
          </a:p>
        </p:txBody>
      </p:sp>
    </p:spTree>
    <p:extLst>
      <p:ext uri="{BB962C8B-B14F-4D97-AF65-F5344CB8AC3E}">
        <p14:creationId xmlns:p14="http://schemas.microsoft.com/office/powerpoint/2010/main" val="110382383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367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6" name="Rectangle 15"/>
          <p:cNvSpPr/>
          <p:nvPr/>
        </p:nvSpPr>
        <p:spPr bwMode="auto">
          <a:xfrm>
            <a:off x="-1855" y="6941370"/>
            <a:ext cx="10688638" cy="621968"/>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0121" tIns="30061" rIns="60121" bIns="30061" numCol="1" rtlCol="0" anchor="ctr" anchorCtr="0" compatLnSpc="1">
            <a:prstTxWarp prst="textNoShape">
              <a:avLst/>
            </a:prstTxWarp>
          </a:bodyPr>
          <a:lstStyle/>
          <a:p>
            <a:pPr algn="ctr" defTabSz="601043"/>
            <a:endParaRPr lang="en-US" sz="1512" dirty="0">
              <a:solidFill>
                <a:srgbClr val="977C00">
                  <a:lumMod val="50000"/>
                </a:srgbClr>
              </a:solidFill>
              <a:latin typeface="Segoe" pitchFamily="34" charset="0"/>
            </a:endParaRPr>
          </a:p>
        </p:txBody>
      </p:sp>
      <p:sp>
        <p:nvSpPr>
          <p:cNvPr id="9" name="Title Placeholder 1"/>
          <p:cNvSpPr>
            <a:spLocks noGrp="1"/>
          </p:cNvSpPr>
          <p:nvPr>
            <p:ph type="title"/>
          </p:nvPr>
        </p:nvSpPr>
        <p:spPr>
          <a:xfrm>
            <a:off x="755259" y="513239"/>
            <a:ext cx="9309877" cy="549843"/>
          </a:xfrm>
          <a:prstGeom prst="rect">
            <a:avLst/>
          </a:prstGeom>
        </p:spPr>
        <p:txBody>
          <a:bodyPr vert="horz" wrap="square" lIns="0" tIns="0" rIns="0" bIns="0" rtlCol="0" anchor="t" anchorCtr="0">
            <a:noAutofit/>
          </a:bodyPr>
          <a:lstStyle/>
          <a:p>
            <a:r>
              <a:rPr lang="en-US" dirty="0"/>
              <a:t>Click to edit Master title style</a:t>
            </a:r>
          </a:p>
        </p:txBody>
      </p:sp>
      <p:sp>
        <p:nvSpPr>
          <p:cNvPr id="12" name="Text Placeholder 11"/>
          <p:cNvSpPr>
            <a:spLocks noGrp="1"/>
          </p:cNvSpPr>
          <p:nvPr>
            <p:ph type="body" sz="quarter" idx="13"/>
          </p:nvPr>
        </p:nvSpPr>
        <p:spPr>
          <a:xfrm>
            <a:off x="755259" y="1720822"/>
            <a:ext cx="9295032" cy="4828397"/>
          </a:xfrm>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6730780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Rectangle 15"/>
          <p:cNvSpPr/>
          <p:nvPr/>
        </p:nvSpPr>
        <p:spPr bwMode="auto">
          <a:xfrm>
            <a:off x="-1855" y="6941370"/>
            <a:ext cx="10688638" cy="621968"/>
          </a:xfrm>
          <a:prstGeom prst="rect">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60121" tIns="30061" rIns="60121" bIns="30061" numCol="1" rtlCol="0" anchor="ctr" anchorCtr="0" compatLnSpc="1">
            <a:prstTxWarp prst="textNoShape">
              <a:avLst/>
            </a:prstTxWarp>
          </a:bodyPr>
          <a:lstStyle/>
          <a:p>
            <a:pPr algn="ctr" defTabSz="601043"/>
            <a:endParaRPr lang="en-US" sz="1512" dirty="0">
              <a:solidFill>
                <a:schemeClr val="accent1">
                  <a:lumMod val="50000"/>
                </a:schemeClr>
              </a:solidFill>
              <a:latin typeface="Segoe" pitchFamily="34" charset="0"/>
            </a:endParaRPr>
          </a:p>
        </p:txBody>
      </p:sp>
      <p:sp>
        <p:nvSpPr>
          <p:cNvPr id="9" name="Title Placeholder 1"/>
          <p:cNvSpPr>
            <a:spLocks noGrp="1"/>
          </p:cNvSpPr>
          <p:nvPr>
            <p:ph type="title"/>
          </p:nvPr>
        </p:nvSpPr>
        <p:spPr>
          <a:xfrm>
            <a:off x="755259" y="513239"/>
            <a:ext cx="9309877" cy="549843"/>
          </a:xfrm>
          <a:prstGeom prst="rect">
            <a:avLst/>
          </a:prstGeom>
        </p:spPr>
        <p:txBody>
          <a:bodyPr vert="horz" wrap="square" lIns="0" tIns="0" rIns="0" bIns="0" rtlCol="0" anchor="t" anchorCtr="0">
            <a:noAutofit/>
          </a:bodyPr>
          <a:lstStyle/>
          <a:p>
            <a:r>
              <a:rPr lang="en-US" dirty="0"/>
              <a:t>Click to edit Master title style</a:t>
            </a:r>
          </a:p>
        </p:txBody>
      </p:sp>
      <p:sp>
        <p:nvSpPr>
          <p:cNvPr id="12" name="Text Placeholder 11"/>
          <p:cNvSpPr>
            <a:spLocks noGrp="1"/>
          </p:cNvSpPr>
          <p:nvPr>
            <p:ph type="body" sz="quarter" idx="13"/>
          </p:nvPr>
        </p:nvSpPr>
        <p:spPr>
          <a:xfrm>
            <a:off x="755259" y="1720822"/>
            <a:ext cx="9295032" cy="4828397"/>
          </a:xfrm>
        </p:spPr>
        <p:txBody>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9367095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44329" y="4859832"/>
            <a:ext cx="9085342" cy="1502066"/>
          </a:xfrm>
        </p:spPr>
        <p:txBody>
          <a:bodyPr anchor="t"/>
          <a:lstStyle>
            <a:lvl1pPr algn="l">
              <a:defRPr sz="4600" b="1" cap="all"/>
            </a:lvl1pPr>
          </a:lstStyle>
          <a:p>
            <a:r>
              <a:rPr lang="it-IT"/>
              <a:t>Fare clic per modificare stile</a:t>
            </a:r>
          </a:p>
        </p:txBody>
      </p:sp>
      <p:sp>
        <p:nvSpPr>
          <p:cNvPr id="3" name="Segnaposto testo 2"/>
          <p:cNvSpPr>
            <a:spLocks noGrp="1"/>
          </p:cNvSpPr>
          <p:nvPr>
            <p:ph type="body" idx="1"/>
          </p:nvPr>
        </p:nvSpPr>
        <p:spPr>
          <a:xfrm>
            <a:off x="844329" y="3205459"/>
            <a:ext cx="9085342" cy="1654373"/>
          </a:xfrm>
        </p:spPr>
        <p:txBody>
          <a:bodyPr anchor="b"/>
          <a:lstStyle>
            <a:lvl1pPr marL="0" indent="0">
              <a:buNone/>
              <a:defRPr sz="2300">
                <a:solidFill>
                  <a:schemeClr val="tx1">
                    <a:tint val="75000"/>
                  </a:schemeClr>
                </a:solidFill>
              </a:defRPr>
            </a:lvl1pPr>
            <a:lvl2pPr marL="521437" indent="0">
              <a:buNone/>
              <a:defRPr sz="2100">
                <a:solidFill>
                  <a:schemeClr val="tx1">
                    <a:tint val="75000"/>
                  </a:schemeClr>
                </a:solidFill>
              </a:defRPr>
            </a:lvl2pPr>
            <a:lvl3pPr marL="1042873" indent="0">
              <a:buNone/>
              <a:defRPr sz="1800">
                <a:solidFill>
                  <a:schemeClr val="tx1">
                    <a:tint val="75000"/>
                  </a:schemeClr>
                </a:solidFill>
              </a:defRPr>
            </a:lvl3pPr>
            <a:lvl4pPr marL="1564310" indent="0">
              <a:buNone/>
              <a:defRPr sz="1600">
                <a:solidFill>
                  <a:schemeClr val="tx1">
                    <a:tint val="75000"/>
                  </a:schemeClr>
                </a:solidFill>
              </a:defRPr>
            </a:lvl4pPr>
            <a:lvl5pPr marL="2085746" indent="0">
              <a:buNone/>
              <a:defRPr sz="1600">
                <a:solidFill>
                  <a:schemeClr val="tx1">
                    <a:tint val="75000"/>
                  </a:schemeClr>
                </a:solidFill>
              </a:defRPr>
            </a:lvl5pPr>
            <a:lvl6pPr marL="2607183" indent="0">
              <a:buNone/>
              <a:defRPr sz="1600">
                <a:solidFill>
                  <a:schemeClr val="tx1">
                    <a:tint val="75000"/>
                  </a:schemeClr>
                </a:solidFill>
              </a:defRPr>
            </a:lvl6pPr>
            <a:lvl7pPr marL="3128620" indent="0">
              <a:buNone/>
              <a:defRPr sz="1600">
                <a:solidFill>
                  <a:schemeClr val="tx1">
                    <a:tint val="75000"/>
                  </a:schemeClr>
                </a:solidFill>
              </a:defRPr>
            </a:lvl7pPr>
            <a:lvl8pPr marL="3650056" indent="0">
              <a:buNone/>
              <a:defRPr sz="1600">
                <a:solidFill>
                  <a:schemeClr val="tx1">
                    <a:tint val="75000"/>
                  </a:schemeClr>
                </a:solidFill>
              </a:defRPr>
            </a:lvl8pPr>
            <a:lvl9pPr marL="4171493"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p:cNvSpPr>
            <a:spLocks noGrp="1"/>
          </p:cNvSpPr>
          <p:nvPr>
            <p:ph type="dt" sz="half" idx="10"/>
          </p:nvPr>
        </p:nvSpPr>
        <p:spPr/>
        <p:txBody>
          <a:bodyPr/>
          <a:lstStyle>
            <a:lvl1pPr>
              <a:defRPr/>
            </a:lvl1pPr>
          </a:lstStyle>
          <a:p>
            <a:pPr>
              <a:defRPr/>
            </a:pPr>
            <a:fld id="{E5C710D8-8501-754F-B58A-64BF5BB74CC5}" type="datetime1">
              <a:rPr lang="it-IT" smtClean="0"/>
              <a:t>23/05/2019</a:t>
            </a:fld>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35B462E5-2AE4-7447-9804-E9AE23C79493}" type="slidenum">
              <a:rPr lang="it-IT"/>
              <a:pPr>
                <a:defRPr/>
              </a:pPr>
              <a:t>‹nº›</a:t>
            </a:fld>
            <a:endParaRPr lang="it-IT"/>
          </a:p>
        </p:txBody>
      </p:sp>
    </p:spTree>
    <p:extLst>
      <p:ext uri="{BB962C8B-B14F-4D97-AF65-F5344CB8AC3E}">
        <p14:creationId xmlns:p14="http://schemas.microsoft.com/office/powerpoint/2010/main" val="16709353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534432" y="1764666"/>
            <a:ext cx="4720815" cy="4991131"/>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5433391" y="1764666"/>
            <a:ext cx="4720815" cy="4991131"/>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3"/>
          <p:cNvSpPr>
            <a:spLocks noGrp="1"/>
          </p:cNvSpPr>
          <p:nvPr>
            <p:ph type="dt" sz="half" idx="10"/>
          </p:nvPr>
        </p:nvSpPr>
        <p:spPr/>
        <p:txBody>
          <a:bodyPr/>
          <a:lstStyle>
            <a:lvl1pPr>
              <a:defRPr/>
            </a:lvl1pPr>
          </a:lstStyle>
          <a:p>
            <a:pPr>
              <a:defRPr/>
            </a:pPr>
            <a:fld id="{907DF52C-9798-0346-86FE-8DA4C50B0A7C}" type="datetime1">
              <a:rPr lang="it-IT" smtClean="0"/>
              <a:t>23/05/2019</a:t>
            </a:fld>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6F8EE073-AD84-5045-96E1-67662467F1CF}" type="slidenum">
              <a:rPr lang="it-IT"/>
              <a:pPr>
                <a:defRPr/>
              </a:pPr>
              <a:t>‹nº›</a:t>
            </a:fld>
            <a:endParaRPr lang="it-IT"/>
          </a:p>
        </p:txBody>
      </p:sp>
    </p:spTree>
    <p:extLst>
      <p:ext uri="{BB962C8B-B14F-4D97-AF65-F5344CB8AC3E}">
        <p14:creationId xmlns:p14="http://schemas.microsoft.com/office/powerpoint/2010/main" val="6966968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stile</a:t>
            </a:r>
          </a:p>
        </p:txBody>
      </p:sp>
      <p:sp>
        <p:nvSpPr>
          <p:cNvPr id="3" name="Segnaposto testo 2"/>
          <p:cNvSpPr>
            <a:spLocks noGrp="1"/>
          </p:cNvSpPr>
          <p:nvPr>
            <p:ph type="body" idx="1"/>
          </p:nvPr>
        </p:nvSpPr>
        <p:spPr>
          <a:xfrm>
            <a:off x="534432" y="1692889"/>
            <a:ext cx="4722671" cy="705515"/>
          </a:xfrm>
        </p:spPr>
        <p:txBody>
          <a:bodyPr anchor="b"/>
          <a:lstStyle>
            <a:lvl1pPr marL="0" indent="0">
              <a:buNone/>
              <a:defRPr sz="2700" b="1"/>
            </a:lvl1pPr>
            <a:lvl2pPr marL="521437" indent="0">
              <a:buNone/>
              <a:defRPr sz="2300" b="1"/>
            </a:lvl2pPr>
            <a:lvl3pPr marL="1042873" indent="0">
              <a:buNone/>
              <a:defRPr sz="2100" b="1"/>
            </a:lvl3pPr>
            <a:lvl4pPr marL="1564310" indent="0">
              <a:buNone/>
              <a:defRPr sz="1800" b="1"/>
            </a:lvl4pPr>
            <a:lvl5pPr marL="2085746" indent="0">
              <a:buNone/>
              <a:defRPr sz="1800" b="1"/>
            </a:lvl5pPr>
            <a:lvl6pPr marL="2607183" indent="0">
              <a:buNone/>
              <a:defRPr sz="1800" b="1"/>
            </a:lvl6pPr>
            <a:lvl7pPr marL="3128620" indent="0">
              <a:buNone/>
              <a:defRPr sz="1800" b="1"/>
            </a:lvl7pPr>
            <a:lvl8pPr marL="3650056" indent="0">
              <a:buNone/>
              <a:defRPr sz="1800" b="1"/>
            </a:lvl8pPr>
            <a:lvl9pPr marL="4171493" indent="0">
              <a:buNone/>
              <a:defRPr sz="1800" b="1"/>
            </a:lvl9pPr>
          </a:lstStyle>
          <a:p>
            <a:pPr lvl="0"/>
            <a:r>
              <a:rPr lang="it-IT"/>
              <a:t>Fare clic per modificare gli stili del testo dello schema</a:t>
            </a:r>
          </a:p>
        </p:txBody>
      </p:sp>
      <p:sp>
        <p:nvSpPr>
          <p:cNvPr id="4" name="Segnaposto contenuto 3"/>
          <p:cNvSpPr>
            <a:spLocks noGrp="1"/>
          </p:cNvSpPr>
          <p:nvPr>
            <p:ph sz="half" idx="2"/>
          </p:nvPr>
        </p:nvSpPr>
        <p:spPr>
          <a:xfrm>
            <a:off x="534432" y="2398404"/>
            <a:ext cx="4722671" cy="4357393"/>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5429680" y="1692889"/>
            <a:ext cx="4724526" cy="705515"/>
          </a:xfrm>
        </p:spPr>
        <p:txBody>
          <a:bodyPr anchor="b"/>
          <a:lstStyle>
            <a:lvl1pPr marL="0" indent="0">
              <a:buNone/>
              <a:defRPr sz="2700" b="1"/>
            </a:lvl1pPr>
            <a:lvl2pPr marL="521437" indent="0">
              <a:buNone/>
              <a:defRPr sz="2300" b="1"/>
            </a:lvl2pPr>
            <a:lvl3pPr marL="1042873" indent="0">
              <a:buNone/>
              <a:defRPr sz="2100" b="1"/>
            </a:lvl3pPr>
            <a:lvl4pPr marL="1564310" indent="0">
              <a:buNone/>
              <a:defRPr sz="1800" b="1"/>
            </a:lvl4pPr>
            <a:lvl5pPr marL="2085746" indent="0">
              <a:buNone/>
              <a:defRPr sz="1800" b="1"/>
            </a:lvl5pPr>
            <a:lvl6pPr marL="2607183" indent="0">
              <a:buNone/>
              <a:defRPr sz="1800" b="1"/>
            </a:lvl6pPr>
            <a:lvl7pPr marL="3128620" indent="0">
              <a:buNone/>
              <a:defRPr sz="1800" b="1"/>
            </a:lvl7pPr>
            <a:lvl8pPr marL="3650056" indent="0">
              <a:buNone/>
              <a:defRPr sz="1800" b="1"/>
            </a:lvl8pPr>
            <a:lvl9pPr marL="4171493" indent="0">
              <a:buNone/>
              <a:defRPr sz="1800" b="1"/>
            </a:lvl9pPr>
          </a:lstStyle>
          <a:p>
            <a:pPr lvl="0"/>
            <a:r>
              <a:rPr lang="it-IT"/>
              <a:t>Fare clic per modificare gli stili del testo dello schema</a:t>
            </a:r>
          </a:p>
        </p:txBody>
      </p:sp>
      <p:sp>
        <p:nvSpPr>
          <p:cNvPr id="6" name="Segnaposto contenuto 5"/>
          <p:cNvSpPr>
            <a:spLocks noGrp="1"/>
          </p:cNvSpPr>
          <p:nvPr>
            <p:ph sz="quarter" idx="4"/>
          </p:nvPr>
        </p:nvSpPr>
        <p:spPr>
          <a:xfrm>
            <a:off x="5429680" y="2398404"/>
            <a:ext cx="4724526" cy="4357393"/>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3"/>
          <p:cNvSpPr>
            <a:spLocks noGrp="1"/>
          </p:cNvSpPr>
          <p:nvPr>
            <p:ph type="dt" sz="half" idx="10"/>
          </p:nvPr>
        </p:nvSpPr>
        <p:spPr/>
        <p:txBody>
          <a:bodyPr/>
          <a:lstStyle>
            <a:lvl1pPr>
              <a:defRPr/>
            </a:lvl1pPr>
          </a:lstStyle>
          <a:p>
            <a:pPr>
              <a:defRPr/>
            </a:pPr>
            <a:fld id="{101E0C3D-664D-4646-99C9-6A0B49935808}" type="datetime1">
              <a:rPr lang="it-IT" smtClean="0"/>
              <a:t>23/05/2019</a:t>
            </a:fld>
            <a:endParaRPr lang="it-IT"/>
          </a:p>
        </p:txBody>
      </p:sp>
      <p:sp>
        <p:nvSpPr>
          <p:cNvPr id="8" name="Segnaposto piè di pagina 4"/>
          <p:cNvSpPr>
            <a:spLocks noGrp="1"/>
          </p:cNvSpPr>
          <p:nvPr>
            <p:ph type="ftr" sz="quarter" idx="11"/>
          </p:nvPr>
        </p:nvSpPr>
        <p:spPr/>
        <p:txBody>
          <a:bodyPr/>
          <a:lstStyle>
            <a:lvl1pPr>
              <a:defRPr/>
            </a:lvl1pPr>
          </a:lstStyle>
          <a:p>
            <a:pPr>
              <a:defRPr/>
            </a:pPr>
            <a:endParaRPr lang="it-IT"/>
          </a:p>
        </p:txBody>
      </p:sp>
      <p:sp>
        <p:nvSpPr>
          <p:cNvPr id="9" name="Segnaposto numero diapositiva 5"/>
          <p:cNvSpPr>
            <a:spLocks noGrp="1"/>
          </p:cNvSpPr>
          <p:nvPr>
            <p:ph type="sldNum" sz="quarter" idx="12"/>
          </p:nvPr>
        </p:nvSpPr>
        <p:spPr/>
        <p:txBody>
          <a:bodyPr/>
          <a:lstStyle>
            <a:lvl1pPr>
              <a:defRPr/>
            </a:lvl1pPr>
          </a:lstStyle>
          <a:p>
            <a:pPr>
              <a:defRPr/>
            </a:pPr>
            <a:fld id="{98EB8771-51E9-B245-8A3F-447505506478}" type="slidenum">
              <a:rPr lang="it-IT"/>
              <a:pPr>
                <a:defRPr/>
              </a:pPr>
              <a:t>‹nº›</a:t>
            </a:fld>
            <a:endParaRPr lang="it-IT"/>
          </a:p>
        </p:txBody>
      </p:sp>
    </p:spTree>
    <p:extLst>
      <p:ext uri="{BB962C8B-B14F-4D97-AF65-F5344CB8AC3E}">
        <p14:creationId xmlns:p14="http://schemas.microsoft.com/office/powerpoint/2010/main" val="2868249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3"/>
          <p:cNvSpPr>
            <a:spLocks noGrp="1"/>
          </p:cNvSpPr>
          <p:nvPr>
            <p:ph type="dt" sz="half" idx="10"/>
          </p:nvPr>
        </p:nvSpPr>
        <p:spPr/>
        <p:txBody>
          <a:bodyPr/>
          <a:lstStyle>
            <a:lvl1pPr>
              <a:defRPr/>
            </a:lvl1pPr>
          </a:lstStyle>
          <a:p>
            <a:pPr>
              <a:defRPr/>
            </a:pPr>
            <a:fld id="{E01DC25B-88E7-DF44-8D8D-8322D403BFE7}" type="datetime1">
              <a:rPr lang="it-IT" smtClean="0"/>
              <a:t>23/05/2019</a:t>
            </a:fld>
            <a:endParaRPr lang="it-IT"/>
          </a:p>
        </p:txBody>
      </p:sp>
      <p:sp>
        <p:nvSpPr>
          <p:cNvPr id="4" name="Segnaposto piè di pagina 4"/>
          <p:cNvSpPr>
            <a:spLocks noGrp="1"/>
          </p:cNvSpPr>
          <p:nvPr>
            <p:ph type="ftr" sz="quarter" idx="11"/>
          </p:nvPr>
        </p:nvSpPr>
        <p:spPr/>
        <p:txBody>
          <a:bodyPr/>
          <a:lstStyle>
            <a:lvl1pPr>
              <a:defRPr/>
            </a:lvl1pPr>
          </a:lstStyle>
          <a:p>
            <a:pPr>
              <a:defRPr/>
            </a:pPr>
            <a:endParaRPr lang="it-IT"/>
          </a:p>
        </p:txBody>
      </p:sp>
      <p:sp>
        <p:nvSpPr>
          <p:cNvPr id="5" name="Segnaposto numero diapositiva 5"/>
          <p:cNvSpPr>
            <a:spLocks noGrp="1"/>
          </p:cNvSpPr>
          <p:nvPr>
            <p:ph type="sldNum" sz="quarter" idx="12"/>
          </p:nvPr>
        </p:nvSpPr>
        <p:spPr/>
        <p:txBody>
          <a:bodyPr/>
          <a:lstStyle>
            <a:lvl1pPr>
              <a:defRPr/>
            </a:lvl1pPr>
          </a:lstStyle>
          <a:p>
            <a:pPr>
              <a:defRPr/>
            </a:pPr>
            <a:fld id="{C1E084D9-C714-7645-B740-7999AECFF464}" type="slidenum">
              <a:rPr lang="it-IT"/>
              <a:pPr>
                <a:defRPr/>
              </a:pPr>
              <a:t>‹nº›</a:t>
            </a:fld>
            <a:endParaRPr lang="it-IT"/>
          </a:p>
        </p:txBody>
      </p:sp>
    </p:spTree>
    <p:extLst>
      <p:ext uri="{BB962C8B-B14F-4D97-AF65-F5344CB8AC3E}">
        <p14:creationId xmlns:p14="http://schemas.microsoft.com/office/powerpoint/2010/main" val="33804734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3"/>
          <p:cNvSpPr>
            <a:spLocks noGrp="1"/>
          </p:cNvSpPr>
          <p:nvPr>
            <p:ph type="dt" sz="half" idx="10"/>
          </p:nvPr>
        </p:nvSpPr>
        <p:spPr/>
        <p:txBody>
          <a:bodyPr/>
          <a:lstStyle>
            <a:lvl1pPr>
              <a:defRPr/>
            </a:lvl1pPr>
          </a:lstStyle>
          <a:p>
            <a:pPr>
              <a:defRPr/>
            </a:pPr>
            <a:fld id="{985F361E-CE18-AD46-9933-5806379A0F74}" type="datetime1">
              <a:rPr lang="it-IT" smtClean="0"/>
              <a:t>23/05/2019</a:t>
            </a:fld>
            <a:endParaRPr lang="it-IT"/>
          </a:p>
        </p:txBody>
      </p:sp>
      <p:sp>
        <p:nvSpPr>
          <p:cNvPr id="3" name="Segnaposto piè di pagina 4"/>
          <p:cNvSpPr>
            <a:spLocks noGrp="1"/>
          </p:cNvSpPr>
          <p:nvPr>
            <p:ph type="ftr" sz="quarter" idx="11"/>
          </p:nvPr>
        </p:nvSpPr>
        <p:spPr/>
        <p:txBody>
          <a:bodyPr/>
          <a:lstStyle>
            <a:lvl1pPr>
              <a:defRPr/>
            </a:lvl1pPr>
          </a:lstStyle>
          <a:p>
            <a:pPr>
              <a:defRPr/>
            </a:pPr>
            <a:endParaRPr lang="it-IT"/>
          </a:p>
        </p:txBody>
      </p:sp>
      <p:sp>
        <p:nvSpPr>
          <p:cNvPr id="4" name="Segnaposto numero diapositiva 5"/>
          <p:cNvSpPr>
            <a:spLocks noGrp="1"/>
          </p:cNvSpPr>
          <p:nvPr>
            <p:ph type="sldNum" sz="quarter" idx="12"/>
          </p:nvPr>
        </p:nvSpPr>
        <p:spPr/>
        <p:txBody>
          <a:bodyPr/>
          <a:lstStyle>
            <a:lvl1pPr>
              <a:defRPr/>
            </a:lvl1pPr>
          </a:lstStyle>
          <a:p>
            <a:pPr>
              <a:defRPr/>
            </a:pPr>
            <a:fld id="{E4567530-2720-364B-AA23-6537C00D536E}" type="slidenum">
              <a:rPr lang="it-IT"/>
              <a:pPr>
                <a:defRPr/>
              </a:pPr>
              <a:t>‹nº›</a:t>
            </a:fld>
            <a:endParaRPr lang="it-IT"/>
          </a:p>
        </p:txBody>
      </p:sp>
    </p:spTree>
    <p:extLst>
      <p:ext uri="{BB962C8B-B14F-4D97-AF65-F5344CB8AC3E}">
        <p14:creationId xmlns:p14="http://schemas.microsoft.com/office/powerpoint/2010/main" val="4458303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534433" y="301113"/>
            <a:ext cx="3516488" cy="1281483"/>
          </a:xfrm>
        </p:spPr>
        <p:txBody>
          <a:bodyPr anchor="b"/>
          <a:lstStyle>
            <a:lvl1pPr algn="l">
              <a:defRPr sz="2300" b="1"/>
            </a:lvl1pPr>
          </a:lstStyle>
          <a:p>
            <a:r>
              <a:rPr lang="it-IT"/>
              <a:t>Fare clic per modificare stile</a:t>
            </a:r>
          </a:p>
        </p:txBody>
      </p:sp>
      <p:sp>
        <p:nvSpPr>
          <p:cNvPr id="3" name="Segnaposto contenuto 2"/>
          <p:cNvSpPr>
            <a:spLocks noGrp="1"/>
          </p:cNvSpPr>
          <p:nvPr>
            <p:ph idx="1"/>
          </p:nvPr>
        </p:nvSpPr>
        <p:spPr>
          <a:xfrm>
            <a:off x="4178960" y="301114"/>
            <a:ext cx="5975246" cy="6454683"/>
          </a:xfrm>
        </p:spPr>
        <p:txBody>
          <a:bodyPr/>
          <a:lstStyle>
            <a:lvl1pPr>
              <a:defRPr sz="36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534433" y="1582597"/>
            <a:ext cx="3516488" cy="5173200"/>
          </a:xfrm>
        </p:spPr>
        <p:txBody>
          <a:bodyPr/>
          <a:lstStyle>
            <a:lvl1pPr marL="0" indent="0">
              <a:buNone/>
              <a:defRPr sz="1600"/>
            </a:lvl1pPr>
            <a:lvl2pPr marL="521437" indent="0">
              <a:buNone/>
              <a:defRPr sz="1400"/>
            </a:lvl2pPr>
            <a:lvl3pPr marL="1042873" indent="0">
              <a:buNone/>
              <a:defRPr sz="1100"/>
            </a:lvl3pPr>
            <a:lvl4pPr marL="1564310" indent="0">
              <a:buNone/>
              <a:defRPr sz="1000"/>
            </a:lvl4pPr>
            <a:lvl5pPr marL="2085746" indent="0">
              <a:buNone/>
              <a:defRPr sz="1000"/>
            </a:lvl5pPr>
            <a:lvl6pPr marL="2607183" indent="0">
              <a:buNone/>
              <a:defRPr sz="1000"/>
            </a:lvl6pPr>
            <a:lvl7pPr marL="3128620" indent="0">
              <a:buNone/>
              <a:defRPr sz="1000"/>
            </a:lvl7pPr>
            <a:lvl8pPr marL="3650056" indent="0">
              <a:buNone/>
              <a:defRPr sz="1000"/>
            </a:lvl8pPr>
            <a:lvl9pPr marL="4171493" indent="0">
              <a:buNone/>
              <a:defRPr sz="1000"/>
            </a:lvl9pPr>
          </a:lstStyle>
          <a:p>
            <a:pPr lvl="0"/>
            <a:r>
              <a:rPr lang="it-IT"/>
              <a:t>Fare clic per modificare gli stili del testo dello schema</a:t>
            </a:r>
          </a:p>
        </p:txBody>
      </p:sp>
      <p:sp>
        <p:nvSpPr>
          <p:cNvPr id="5" name="Segnaposto data 3"/>
          <p:cNvSpPr>
            <a:spLocks noGrp="1"/>
          </p:cNvSpPr>
          <p:nvPr>
            <p:ph type="dt" sz="half" idx="10"/>
          </p:nvPr>
        </p:nvSpPr>
        <p:spPr/>
        <p:txBody>
          <a:bodyPr/>
          <a:lstStyle>
            <a:lvl1pPr>
              <a:defRPr/>
            </a:lvl1pPr>
          </a:lstStyle>
          <a:p>
            <a:pPr>
              <a:defRPr/>
            </a:pPr>
            <a:fld id="{CF81B7A2-DA9D-DE49-98BA-550B6EF44728}" type="datetime1">
              <a:rPr lang="it-IT" smtClean="0"/>
              <a:t>23/05/2019</a:t>
            </a:fld>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C4B15A96-CE41-9345-A31A-80F391F0D81E}" type="slidenum">
              <a:rPr lang="it-IT"/>
              <a:pPr>
                <a:defRPr/>
              </a:pPr>
              <a:t>‹nº›</a:t>
            </a:fld>
            <a:endParaRPr lang="it-IT"/>
          </a:p>
        </p:txBody>
      </p:sp>
    </p:spTree>
    <p:extLst>
      <p:ext uri="{BB962C8B-B14F-4D97-AF65-F5344CB8AC3E}">
        <p14:creationId xmlns:p14="http://schemas.microsoft.com/office/powerpoint/2010/main" val="22190332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095048" y="5293995"/>
            <a:ext cx="6413183" cy="624986"/>
          </a:xfrm>
        </p:spPr>
        <p:txBody>
          <a:bodyPr anchor="b"/>
          <a:lstStyle>
            <a:lvl1pPr algn="l">
              <a:defRPr sz="2300" b="1"/>
            </a:lvl1pPr>
          </a:lstStyle>
          <a:p>
            <a:r>
              <a:rPr lang="it-IT"/>
              <a:t>Fare clic per modificare stile</a:t>
            </a:r>
          </a:p>
        </p:txBody>
      </p:sp>
      <p:sp>
        <p:nvSpPr>
          <p:cNvPr id="3" name="Segnaposto immagine 2"/>
          <p:cNvSpPr>
            <a:spLocks noGrp="1"/>
          </p:cNvSpPr>
          <p:nvPr>
            <p:ph type="pic" idx="1"/>
          </p:nvPr>
        </p:nvSpPr>
        <p:spPr>
          <a:xfrm>
            <a:off x="2095048" y="675755"/>
            <a:ext cx="6413183" cy="4537710"/>
          </a:xfrm>
        </p:spPr>
        <p:txBody>
          <a:bodyPr rtlCol="0">
            <a:normAutofit/>
          </a:bodyPr>
          <a:lstStyle>
            <a:lvl1pPr marL="0" indent="0">
              <a:buNone/>
              <a:defRPr sz="3600"/>
            </a:lvl1pPr>
            <a:lvl2pPr marL="521437" indent="0">
              <a:buNone/>
              <a:defRPr sz="3200"/>
            </a:lvl2pPr>
            <a:lvl3pPr marL="1042873" indent="0">
              <a:buNone/>
              <a:defRPr sz="2700"/>
            </a:lvl3pPr>
            <a:lvl4pPr marL="1564310" indent="0">
              <a:buNone/>
              <a:defRPr sz="2300"/>
            </a:lvl4pPr>
            <a:lvl5pPr marL="2085746" indent="0">
              <a:buNone/>
              <a:defRPr sz="2300"/>
            </a:lvl5pPr>
            <a:lvl6pPr marL="2607183" indent="0">
              <a:buNone/>
              <a:defRPr sz="2300"/>
            </a:lvl6pPr>
            <a:lvl7pPr marL="3128620" indent="0">
              <a:buNone/>
              <a:defRPr sz="2300"/>
            </a:lvl7pPr>
            <a:lvl8pPr marL="3650056" indent="0">
              <a:buNone/>
              <a:defRPr sz="2300"/>
            </a:lvl8pPr>
            <a:lvl9pPr marL="4171493" indent="0">
              <a:buNone/>
              <a:defRPr sz="2300"/>
            </a:lvl9pPr>
          </a:lstStyle>
          <a:p>
            <a:pPr lvl="0"/>
            <a:endParaRPr lang="it-IT" noProof="0"/>
          </a:p>
        </p:txBody>
      </p:sp>
      <p:sp>
        <p:nvSpPr>
          <p:cNvPr id="4" name="Segnaposto testo 3"/>
          <p:cNvSpPr>
            <a:spLocks noGrp="1"/>
          </p:cNvSpPr>
          <p:nvPr>
            <p:ph type="body" sz="half" idx="2"/>
          </p:nvPr>
        </p:nvSpPr>
        <p:spPr>
          <a:xfrm>
            <a:off x="2095048" y="5918981"/>
            <a:ext cx="6413183" cy="887584"/>
          </a:xfrm>
        </p:spPr>
        <p:txBody>
          <a:bodyPr/>
          <a:lstStyle>
            <a:lvl1pPr marL="0" indent="0">
              <a:buNone/>
              <a:defRPr sz="1600"/>
            </a:lvl1pPr>
            <a:lvl2pPr marL="521437" indent="0">
              <a:buNone/>
              <a:defRPr sz="1400"/>
            </a:lvl2pPr>
            <a:lvl3pPr marL="1042873" indent="0">
              <a:buNone/>
              <a:defRPr sz="1100"/>
            </a:lvl3pPr>
            <a:lvl4pPr marL="1564310" indent="0">
              <a:buNone/>
              <a:defRPr sz="1000"/>
            </a:lvl4pPr>
            <a:lvl5pPr marL="2085746" indent="0">
              <a:buNone/>
              <a:defRPr sz="1000"/>
            </a:lvl5pPr>
            <a:lvl6pPr marL="2607183" indent="0">
              <a:buNone/>
              <a:defRPr sz="1000"/>
            </a:lvl6pPr>
            <a:lvl7pPr marL="3128620" indent="0">
              <a:buNone/>
              <a:defRPr sz="1000"/>
            </a:lvl7pPr>
            <a:lvl8pPr marL="3650056" indent="0">
              <a:buNone/>
              <a:defRPr sz="1000"/>
            </a:lvl8pPr>
            <a:lvl9pPr marL="4171493" indent="0">
              <a:buNone/>
              <a:defRPr sz="1000"/>
            </a:lvl9pPr>
          </a:lstStyle>
          <a:p>
            <a:pPr lvl="0"/>
            <a:r>
              <a:rPr lang="it-IT"/>
              <a:t>Fare clic per modificare gli stili del testo dello schema</a:t>
            </a:r>
          </a:p>
        </p:txBody>
      </p:sp>
      <p:sp>
        <p:nvSpPr>
          <p:cNvPr id="5" name="Segnaposto data 3"/>
          <p:cNvSpPr>
            <a:spLocks noGrp="1"/>
          </p:cNvSpPr>
          <p:nvPr>
            <p:ph type="dt" sz="half" idx="10"/>
          </p:nvPr>
        </p:nvSpPr>
        <p:spPr/>
        <p:txBody>
          <a:bodyPr/>
          <a:lstStyle>
            <a:lvl1pPr>
              <a:defRPr/>
            </a:lvl1pPr>
          </a:lstStyle>
          <a:p>
            <a:pPr>
              <a:defRPr/>
            </a:pPr>
            <a:fld id="{CBBB20F0-D094-5041-9548-E594F0C9B523}" type="datetime1">
              <a:rPr lang="it-IT" smtClean="0"/>
              <a:t>23/05/2019</a:t>
            </a:fld>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DF272F68-CD58-B344-8C1A-620C9EB81ED3}" type="slidenum">
              <a:rPr lang="it-IT"/>
              <a:pPr>
                <a:defRPr/>
              </a:pPr>
              <a:t>‹nº›</a:t>
            </a:fld>
            <a:endParaRPr lang="it-IT"/>
          </a:p>
        </p:txBody>
      </p:sp>
    </p:spTree>
    <p:extLst>
      <p:ext uri="{BB962C8B-B14F-4D97-AF65-F5344CB8AC3E}">
        <p14:creationId xmlns:p14="http://schemas.microsoft.com/office/powerpoint/2010/main" val="41620383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2.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534988" y="303213"/>
            <a:ext cx="9618662" cy="1260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04287" tIns="52144" rIns="104287" bIns="52144" numCol="1" anchor="ctr" anchorCtr="0" compatLnSpc="1">
            <a:prstTxWarp prst="textNoShape">
              <a:avLst/>
            </a:prstTxWarp>
          </a:bodyPr>
          <a:lstStyle/>
          <a:p>
            <a:pPr lvl="0"/>
            <a:r>
              <a:rPr lang="it-IT"/>
              <a:t>Fare clic per modificare stile</a:t>
            </a:r>
          </a:p>
        </p:txBody>
      </p:sp>
      <p:sp>
        <p:nvSpPr>
          <p:cNvPr id="1027" name="Segnaposto testo 2"/>
          <p:cNvSpPr>
            <a:spLocks noGrp="1"/>
          </p:cNvSpPr>
          <p:nvPr>
            <p:ph type="body" idx="1"/>
          </p:nvPr>
        </p:nvSpPr>
        <p:spPr bwMode="auto">
          <a:xfrm>
            <a:off x="534988" y="1765300"/>
            <a:ext cx="9618662" cy="4991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04287" tIns="52144" rIns="104287" bIns="52144" numCol="1" anchor="t" anchorCtr="0" compatLnSpc="1">
            <a:prstTxWarp prst="textNoShape">
              <a:avLst/>
            </a:prstTxWarp>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534988" y="7010400"/>
            <a:ext cx="2493962" cy="401638"/>
          </a:xfrm>
          <a:prstGeom prst="rect">
            <a:avLst/>
          </a:prstGeom>
        </p:spPr>
        <p:txBody>
          <a:bodyPr vert="horz" lIns="104287" tIns="52144" rIns="104287" bIns="52144" rtlCol="0" anchor="ctr"/>
          <a:lstStyle>
            <a:lvl1pPr algn="l" defTabSz="521437" fontAlgn="auto">
              <a:spcBef>
                <a:spcPts val="0"/>
              </a:spcBef>
              <a:spcAft>
                <a:spcPts val="0"/>
              </a:spcAft>
              <a:defRPr sz="1400" smtClean="0">
                <a:solidFill>
                  <a:schemeClr val="tx1">
                    <a:tint val="75000"/>
                  </a:schemeClr>
                </a:solidFill>
                <a:latin typeface="+mn-lt"/>
                <a:ea typeface="+mn-ea"/>
                <a:cs typeface="+mn-cs"/>
              </a:defRPr>
            </a:lvl1pPr>
          </a:lstStyle>
          <a:p>
            <a:pPr>
              <a:defRPr/>
            </a:pPr>
            <a:fld id="{AD84765A-50DF-1E4A-AF32-9610E506C8AA}" type="datetime1">
              <a:rPr lang="it-IT" smtClean="0"/>
              <a:t>23/05/2019</a:t>
            </a:fld>
            <a:endParaRPr lang="it-IT"/>
          </a:p>
        </p:txBody>
      </p:sp>
      <p:sp>
        <p:nvSpPr>
          <p:cNvPr id="5" name="Segnaposto piè di pagina 4"/>
          <p:cNvSpPr>
            <a:spLocks noGrp="1"/>
          </p:cNvSpPr>
          <p:nvPr>
            <p:ph type="ftr" sz="quarter" idx="3"/>
          </p:nvPr>
        </p:nvSpPr>
        <p:spPr>
          <a:xfrm>
            <a:off x="3651250" y="7010400"/>
            <a:ext cx="3386138" cy="401638"/>
          </a:xfrm>
          <a:prstGeom prst="rect">
            <a:avLst/>
          </a:prstGeom>
        </p:spPr>
        <p:txBody>
          <a:bodyPr vert="horz" lIns="104287" tIns="52144" rIns="104287" bIns="52144" rtlCol="0" anchor="ctr"/>
          <a:lstStyle>
            <a:lvl1pPr algn="ctr" defTabSz="521437" fontAlgn="auto">
              <a:spcBef>
                <a:spcPts val="0"/>
              </a:spcBef>
              <a:spcAft>
                <a:spcPts val="0"/>
              </a:spcAft>
              <a:defRPr sz="1400">
                <a:solidFill>
                  <a:schemeClr val="tx1">
                    <a:tint val="75000"/>
                  </a:schemeClr>
                </a:solidFill>
                <a:latin typeface="+mn-lt"/>
                <a:ea typeface="+mn-ea"/>
                <a:cs typeface="+mn-cs"/>
              </a:defRPr>
            </a:lvl1pPr>
          </a:lstStyle>
          <a:p>
            <a:pPr>
              <a:defRPr/>
            </a:pPr>
            <a:endParaRPr lang="it-IT"/>
          </a:p>
        </p:txBody>
      </p:sp>
      <p:sp>
        <p:nvSpPr>
          <p:cNvPr id="6" name="Segnaposto numero diapositiva 5"/>
          <p:cNvSpPr>
            <a:spLocks noGrp="1"/>
          </p:cNvSpPr>
          <p:nvPr>
            <p:ph type="sldNum" sz="quarter" idx="4"/>
          </p:nvPr>
        </p:nvSpPr>
        <p:spPr>
          <a:xfrm>
            <a:off x="7659688" y="7010400"/>
            <a:ext cx="2493962" cy="401638"/>
          </a:xfrm>
          <a:prstGeom prst="rect">
            <a:avLst/>
          </a:prstGeom>
        </p:spPr>
        <p:txBody>
          <a:bodyPr vert="horz" lIns="104287" tIns="52144" rIns="104287" bIns="52144" rtlCol="0" anchor="ctr"/>
          <a:lstStyle>
            <a:lvl1pPr algn="r" defTabSz="521437" fontAlgn="auto">
              <a:spcBef>
                <a:spcPts val="0"/>
              </a:spcBef>
              <a:spcAft>
                <a:spcPts val="0"/>
              </a:spcAft>
              <a:defRPr sz="1400" smtClean="0">
                <a:solidFill>
                  <a:schemeClr val="tx1">
                    <a:tint val="75000"/>
                  </a:schemeClr>
                </a:solidFill>
                <a:latin typeface="+mn-lt"/>
                <a:ea typeface="+mn-ea"/>
                <a:cs typeface="+mn-cs"/>
              </a:defRPr>
            </a:lvl1pPr>
          </a:lstStyle>
          <a:p>
            <a:pPr>
              <a:defRPr/>
            </a:pPr>
            <a:fld id="{3076B646-043C-DC45-A9E2-01694F106DB8}" type="slidenum">
              <a:rPr lang="it-IT"/>
              <a:pPr>
                <a:defRPr/>
              </a:pPr>
              <a:t>‹nº›</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78" r:id="rId13"/>
  </p:sldLayoutIdLst>
  <p:hf sldNum="0" hdr="0" ftr="0" dt="0"/>
  <p:txStyles>
    <p:titleStyle>
      <a:lvl1pPr algn="ctr" defTabSz="520700" rtl="0" fontAlgn="base">
        <a:spcBef>
          <a:spcPct val="0"/>
        </a:spcBef>
        <a:spcAft>
          <a:spcPct val="0"/>
        </a:spcAft>
        <a:defRPr sz="5000" kern="1200">
          <a:solidFill>
            <a:schemeClr val="tx1"/>
          </a:solidFill>
          <a:latin typeface="+mj-lt"/>
          <a:ea typeface="ＭＳ Ｐゴシック" charset="0"/>
          <a:cs typeface="ＭＳ Ｐゴシック" charset="0"/>
        </a:defRPr>
      </a:lvl1pPr>
      <a:lvl2pPr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2pPr>
      <a:lvl3pPr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3pPr>
      <a:lvl4pPr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4pPr>
      <a:lvl5pPr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5pPr>
      <a:lvl6pPr marL="457200"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6pPr>
      <a:lvl7pPr marL="914400"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7pPr>
      <a:lvl8pPr marL="1371600"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8pPr>
      <a:lvl9pPr marL="1828800" algn="ctr" defTabSz="520700" rtl="0" fontAlgn="base">
        <a:spcBef>
          <a:spcPct val="0"/>
        </a:spcBef>
        <a:spcAft>
          <a:spcPct val="0"/>
        </a:spcAft>
        <a:defRPr sz="5000">
          <a:solidFill>
            <a:schemeClr val="tx1"/>
          </a:solidFill>
          <a:latin typeface="Calibri" charset="0"/>
          <a:ea typeface="ＭＳ Ｐゴシック" charset="0"/>
          <a:cs typeface="ＭＳ Ｐゴシック" charset="0"/>
        </a:defRPr>
      </a:lvl9pPr>
    </p:titleStyle>
    <p:bodyStyle>
      <a:lvl1pPr marL="390525" indent="-390525" algn="l" defTabSz="520700" rtl="0" fontAlgn="base">
        <a:spcBef>
          <a:spcPct val="20000"/>
        </a:spcBef>
        <a:spcAft>
          <a:spcPct val="0"/>
        </a:spcAft>
        <a:buFont typeface="Arial" charset="0"/>
        <a:buChar char="•"/>
        <a:defRPr sz="3600" kern="1200">
          <a:solidFill>
            <a:schemeClr val="tx1"/>
          </a:solidFill>
          <a:latin typeface="+mn-lt"/>
          <a:ea typeface="ＭＳ Ｐゴシック" charset="0"/>
          <a:cs typeface="ＭＳ Ｐゴシック" charset="0"/>
        </a:defRPr>
      </a:lvl1pPr>
      <a:lvl2pPr marL="846138" indent="-325438" algn="l" defTabSz="520700" rtl="0" fontAlgn="base">
        <a:spcBef>
          <a:spcPct val="20000"/>
        </a:spcBef>
        <a:spcAft>
          <a:spcPct val="0"/>
        </a:spcAft>
        <a:buFont typeface="Arial" charset="0"/>
        <a:buChar char="–"/>
        <a:defRPr sz="3200" kern="1200">
          <a:solidFill>
            <a:schemeClr val="tx1"/>
          </a:solidFill>
          <a:latin typeface="+mn-lt"/>
          <a:ea typeface="ＭＳ Ｐゴシック" charset="0"/>
          <a:cs typeface="+mn-cs"/>
        </a:defRPr>
      </a:lvl2pPr>
      <a:lvl3pPr marL="1303338" indent="-260350" algn="l" defTabSz="520700" rtl="0" fontAlgn="base">
        <a:spcBef>
          <a:spcPct val="20000"/>
        </a:spcBef>
        <a:spcAft>
          <a:spcPct val="0"/>
        </a:spcAft>
        <a:buFont typeface="Arial" charset="0"/>
        <a:buChar char="•"/>
        <a:defRPr sz="2700" kern="1200">
          <a:solidFill>
            <a:schemeClr val="tx1"/>
          </a:solidFill>
          <a:latin typeface="+mn-lt"/>
          <a:ea typeface="ＭＳ Ｐゴシック" charset="0"/>
          <a:cs typeface="+mn-cs"/>
        </a:defRPr>
      </a:lvl3pPr>
      <a:lvl4pPr marL="1824038" indent="-260350" algn="l" defTabSz="520700" rtl="0" fontAlgn="base">
        <a:spcBef>
          <a:spcPct val="20000"/>
        </a:spcBef>
        <a:spcAft>
          <a:spcPct val="0"/>
        </a:spcAft>
        <a:buFont typeface="Arial" charset="0"/>
        <a:buChar char="–"/>
        <a:defRPr sz="2300" kern="1200">
          <a:solidFill>
            <a:schemeClr val="tx1"/>
          </a:solidFill>
          <a:latin typeface="+mn-lt"/>
          <a:ea typeface="ＭＳ Ｐゴシック" charset="0"/>
          <a:cs typeface="+mn-cs"/>
        </a:defRPr>
      </a:lvl4pPr>
      <a:lvl5pPr marL="2346325" indent="-260350" algn="l" defTabSz="520700" rtl="0" fontAlgn="base">
        <a:spcBef>
          <a:spcPct val="20000"/>
        </a:spcBef>
        <a:spcAft>
          <a:spcPct val="0"/>
        </a:spcAft>
        <a:buFont typeface="Arial" charset="0"/>
        <a:buChar char="»"/>
        <a:defRPr sz="2300" kern="1200">
          <a:solidFill>
            <a:schemeClr val="tx1"/>
          </a:solidFill>
          <a:latin typeface="+mn-lt"/>
          <a:ea typeface="ＭＳ Ｐゴシック" charset="0"/>
          <a:cs typeface="+mn-cs"/>
        </a:defRPr>
      </a:lvl5pPr>
      <a:lvl6pPr marL="2867901" indent="-260718" algn="l" defTabSz="521437" rtl="0" eaLnBrk="1" latinLnBrk="0" hangingPunct="1">
        <a:spcBef>
          <a:spcPct val="20000"/>
        </a:spcBef>
        <a:buFont typeface="Arial"/>
        <a:buChar char="•"/>
        <a:defRPr sz="2300" kern="1200">
          <a:solidFill>
            <a:schemeClr val="tx1"/>
          </a:solidFill>
          <a:latin typeface="+mn-lt"/>
          <a:ea typeface="+mn-ea"/>
          <a:cs typeface="+mn-cs"/>
        </a:defRPr>
      </a:lvl6pPr>
      <a:lvl7pPr marL="3389338" indent="-260718" algn="l" defTabSz="521437" rtl="0" eaLnBrk="1" latinLnBrk="0" hangingPunct="1">
        <a:spcBef>
          <a:spcPct val="20000"/>
        </a:spcBef>
        <a:buFont typeface="Arial"/>
        <a:buChar char="•"/>
        <a:defRPr sz="2300" kern="1200">
          <a:solidFill>
            <a:schemeClr val="tx1"/>
          </a:solidFill>
          <a:latin typeface="+mn-lt"/>
          <a:ea typeface="+mn-ea"/>
          <a:cs typeface="+mn-cs"/>
        </a:defRPr>
      </a:lvl7pPr>
      <a:lvl8pPr marL="3910775" indent="-260718" algn="l" defTabSz="521437" rtl="0" eaLnBrk="1" latinLnBrk="0" hangingPunct="1">
        <a:spcBef>
          <a:spcPct val="20000"/>
        </a:spcBef>
        <a:buFont typeface="Arial"/>
        <a:buChar char="•"/>
        <a:defRPr sz="2300" kern="1200">
          <a:solidFill>
            <a:schemeClr val="tx1"/>
          </a:solidFill>
          <a:latin typeface="+mn-lt"/>
          <a:ea typeface="+mn-ea"/>
          <a:cs typeface="+mn-cs"/>
        </a:defRPr>
      </a:lvl8pPr>
      <a:lvl9pPr marL="4432211" indent="-260718" algn="l" defTabSz="521437" rtl="0" eaLnBrk="1" latinLnBrk="0" hangingPunct="1">
        <a:spcBef>
          <a:spcPct val="20000"/>
        </a:spcBef>
        <a:buFont typeface="Arial"/>
        <a:buChar char="•"/>
        <a:defRPr sz="2300" kern="1200">
          <a:solidFill>
            <a:schemeClr val="tx1"/>
          </a:solidFill>
          <a:latin typeface="+mn-lt"/>
          <a:ea typeface="+mn-ea"/>
          <a:cs typeface="+mn-cs"/>
        </a:defRPr>
      </a:lvl9pPr>
    </p:bodyStyle>
    <p:otherStyle>
      <a:defPPr>
        <a:defRPr lang="it-IT"/>
      </a:defPPr>
      <a:lvl1pPr marL="0" algn="l" defTabSz="521437" rtl="0" eaLnBrk="1" latinLnBrk="0" hangingPunct="1">
        <a:defRPr sz="2100" kern="1200">
          <a:solidFill>
            <a:schemeClr val="tx1"/>
          </a:solidFill>
          <a:latin typeface="+mn-lt"/>
          <a:ea typeface="+mn-ea"/>
          <a:cs typeface="+mn-cs"/>
        </a:defRPr>
      </a:lvl1pPr>
      <a:lvl2pPr marL="521437" algn="l" defTabSz="521437" rtl="0" eaLnBrk="1" latinLnBrk="0" hangingPunct="1">
        <a:defRPr sz="2100" kern="1200">
          <a:solidFill>
            <a:schemeClr val="tx1"/>
          </a:solidFill>
          <a:latin typeface="+mn-lt"/>
          <a:ea typeface="+mn-ea"/>
          <a:cs typeface="+mn-cs"/>
        </a:defRPr>
      </a:lvl2pPr>
      <a:lvl3pPr marL="1042873" algn="l" defTabSz="521437" rtl="0" eaLnBrk="1" latinLnBrk="0" hangingPunct="1">
        <a:defRPr sz="2100" kern="1200">
          <a:solidFill>
            <a:schemeClr val="tx1"/>
          </a:solidFill>
          <a:latin typeface="+mn-lt"/>
          <a:ea typeface="+mn-ea"/>
          <a:cs typeface="+mn-cs"/>
        </a:defRPr>
      </a:lvl3pPr>
      <a:lvl4pPr marL="1564310" algn="l" defTabSz="521437" rtl="0" eaLnBrk="1" latinLnBrk="0" hangingPunct="1">
        <a:defRPr sz="2100" kern="1200">
          <a:solidFill>
            <a:schemeClr val="tx1"/>
          </a:solidFill>
          <a:latin typeface="+mn-lt"/>
          <a:ea typeface="+mn-ea"/>
          <a:cs typeface="+mn-cs"/>
        </a:defRPr>
      </a:lvl4pPr>
      <a:lvl5pPr marL="2085746" algn="l" defTabSz="521437" rtl="0" eaLnBrk="1" latinLnBrk="0" hangingPunct="1">
        <a:defRPr sz="2100" kern="1200">
          <a:solidFill>
            <a:schemeClr val="tx1"/>
          </a:solidFill>
          <a:latin typeface="+mn-lt"/>
          <a:ea typeface="+mn-ea"/>
          <a:cs typeface="+mn-cs"/>
        </a:defRPr>
      </a:lvl5pPr>
      <a:lvl6pPr marL="2607183" algn="l" defTabSz="521437" rtl="0" eaLnBrk="1" latinLnBrk="0" hangingPunct="1">
        <a:defRPr sz="2100" kern="1200">
          <a:solidFill>
            <a:schemeClr val="tx1"/>
          </a:solidFill>
          <a:latin typeface="+mn-lt"/>
          <a:ea typeface="+mn-ea"/>
          <a:cs typeface="+mn-cs"/>
        </a:defRPr>
      </a:lvl6pPr>
      <a:lvl7pPr marL="3128620" algn="l" defTabSz="521437" rtl="0" eaLnBrk="1" latinLnBrk="0" hangingPunct="1">
        <a:defRPr sz="2100" kern="1200">
          <a:solidFill>
            <a:schemeClr val="tx1"/>
          </a:solidFill>
          <a:latin typeface="+mn-lt"/>
          <a:ea typeface="+mn-ea"/>
          <a:cs typeface="+mn-cs"/>
        </a:defRPr>
      </a:lvl7pPr>
      <a:lvl8pPr marL="3650056" algn="l" defTabSz="521437" rtl="0" eaLnBrk="1" latinLnBrk="0" hangingPunct="1">
        <a:defRPr sz="2100" kern="1200">
          <a:solidFill>
            <a:schemeClr val="tx1"/>
          </a:solidFill>
          <a:latin typeface="+mn-lt"/>
          <a:ea typeface="+mn-ea"/>
          <a:cs typeface="+mn-cs"/>
        </a:defRPr>
      </a:lvl8pPr>
      <a:lvl9pPr marL="4171493" algn="l" defTabSz="521437"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534432" y="302864"/>
            <a:ext cx="9619774" cy="1260475"/>
          </a:xfrm>
          <a:prstGeom prst="rect">
            <a:avLst/>
          </a:prstGeom>
        </p:spPr>
        <p:txBody>
          <a:bodyPr vert="horz" lIns="91438" tIns="45719" rIns="91438" bIns="45719" rtlCol="0" anchor="ctr">
            <a:normAutofit/>
          </a:bodyPr>
          <a:lstStyle/>
          <a:p>
            <a:r>
              <a:rPr lang="it-IT"/>
              <a:t>Fare clic per modificare lo stile del titolo</a:t>
            </a:r>
          </a:p>
        </p:txBody>
      </p:sp>
      <p:sp>
        <p:nvSpPr>
          <p:cNvPr id="3" name="Segnaposto testo 2"/>
          <p:cNvSpPr>
            <a:spLocks noGrp="1"/>
          </p:cNvSpPr>
          <p:nvPr>
            <p:ph type="body" idx="1"/>
          </p:nvPr>
        </p:nvSpPr>
        <p:spPr>
          <a:xfrm>
            <a:off x="534432" y="1764672"/>
            <a:ext cx="9619774" cy="4991131"/>
          </a:xfrm>
          <a:prstGeom prst="rect">
            <a:avLst/>
          </a:prstGeom>
        </p:spPr>
        <p:txBody>
          <a:bodyPr vert="horz" lIns="91438" tIns="45719" rIns="91438" bIns="45719"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534432" y="7009660"/>
            <a:ext cx="2494016" cy="402652"/>
          </a:xfrm>
          <a:prstGeom prst="rect">
            <a:avLst/>
          </a:prstGeom>
        </p:spPr>
        <p:txBody>
          <a:bodyPr vert="horz" lIns="91438" tIns="45719" rIns="91438" bIns="45719" rtlCol="0" anchor="ctr"/>
          <a:lstStyle>
            <a:lvl1pPr algn="l">
              <a:defRPr sz="789">
                <a:solidFill>
                  <a:schemeClr val="tx1">
                    <a:tint val="75000"/>
                  </a:schemeClr>
                </a:solidFill>
              </a:defRPr>
            </a:lvl1pPr>
          </a:lstStyle>
          <a:p>
            <a:fld id="{B7BF42EB-536A-49F6-B706-5C87B4E76B7B}" type="datetimeFigureOut">
              <a:rPr lang="it-IT" smtClean="0">
                <a:solidFill>
                  <a:prstClr val="black">
                    <a:tint val="75000"/>
                  </a:prstClr>
                </a:solidFill>
              </a:rPr>
              <a:pPr/>
              <a:t>23/05/2019</a:t>
            </a:fld>
            <a:endParaRPr lang="it-IT">
              <a:solidFill>
                <a:prstClr val="black">
                  <a:tint val="75000"/>
                </a:prstClr>
              </a:solidFill>
            </a:endParaRPr>
          </a:p>
        </p:txBody>
      </p:sp>
      <p:sp>
        <p:nvSpPr>
          <p:cNvPr id="5" name="Segnaposto piè di pagina 4"/>
          <p:cNvSpPr>
            <a:spLocks noGrp="1"/>
          </p:cNvSpPr>
          <p:nvPr>
            <p:ph type="ftr" sz="quarter" idx="3"/>
          </p:nvPr>
        </p:nvSpPr>
        <p:spPr>
          <a:xfrm>
            <a:off x="3651952" y="7009660"/>
            <a:ext cx="3384735" cy="402652"/>
          </a:xfrm>
          <a:prstGeom prst="rect">
            <a:avLst/>
          </a:prstGeom>
        </p:spPr>
        <p:txBody>
          <a:bodyPr vert="horz" lIns="91438" tIns="45719" rIns="91438" bIns="45719" rtlCol="0" anchor="ctr"/>
          <a:lstStyle>
            <a:lvl1pPr algn="ctr">
              <a:defRPr sz="789">
                <a:solidFill>
                  <a:schemeClr val="tx1">
                    <a:tint val="75000"/>
                  </a:schemeClr>
                </a:solidFill>
              </a:defRPr>
            </a:lvl1pPr>
          </a:lstStyle>
          <a:p>
            <a:endParaRPr lang="it-IT">
              <a:solidFill>
                <a:prstClr val="black">
                  <a:tint val="75000"/>
                </a:prstClr>
              </a:solidFill>
            </a:endParaRPr>
          </a:p>
        </p:txBody>
      </p:sp>
      <p:sp>
        <p:nvSpPr>
          <p:cNvPr id="6" name="Segnaposto numero diapositiva 5"/>
          <p:cNvSpPr>
            <a:spLocks noGrp="1"/>
          </p:cNvSpPr>
          <p:nvPr>
            <p:ph type="sldNum" sz="quarter" idx="4"/>
          </p:nvPr>
        </p:nvSpPr>
        <p:spPr>
          <a:xfrm>
            <a:off x="7660190" y="7009660"/>
            <a:ext cx="2494016" cy="402652"/>
          </a:xfrm>
          <a:prstGeom prst="rect">
            <a:avLst/>
          </a:prstGeom>
        </p:spPr>
        <p:txBody>
          <a:bodyPr vert="horz" lIns="91438" tIns="45719" rIns="91438" bIns="45719" rtlCol="0" anchor="ctr"/>
          <a:lstStyle>
            <a:lvl1pPr algn="r">
              <a:defRPr sz="789">
                <a:solidFill>
                  <a:schemeClr val="tx1">
                    <a:tint val="75000"/>
                  </a:schemeClr>
                </a:solidFill>
              </a:defRPr>
            </a:lvl1pPr>
          </a:lstStyle>
          <a:p>
            <a:fld id="{6853998A-9279-4632-9F5C-FFE7169E263A}" type="slidenum">
              <a:rPr lang="it-IT" smtClean="0">
                <a:solidFill>
                  <a:prstClr val="black">
                    <a:tint val="75000"/>
                  </a:prstClr>
                </a:solidFill>
              </a:rPr>
              <a:pPr/>
              <a:t>‹nº›</a:t>
            </a:fld>
            <a:endParaRPr lang="it-IT">
              <a:solidFill>
                <a:prstClr val="black">
                  <a:tint val="75000"/>
                </a:prstClr>
              </a:solidFill>
            </a:endParaRPr>
          </a:p>
        </p:txBody>
      </p:sp>
      <p:pic>
        <p:nvPicPr>
          <p:cNvPr id="7" name="Picture 18" descr="logo_valagro"/>
          <p:cNvPicPr>
            <a:picLocks noChangeAspect="1" noChangeArrowheads="1"/>
          </p:cNvPicPr>
          <p:nvPr userDrawn="1"/>
        </p:nvPicPr>
        <p:blipFill>
          <a:blip r:embed="rId18" cstate="print"/>
          <a:srcRect/>
          <a:stretch>
            <a:fillRect/>
          </a:stretch>
        </p:blipFill>
        <p:spPr bwMode="auto">
          <a:xfrm>
            <a:off x="330377" y="6792824"/>
            <a:ext cx="1494765" cy="529387"/>
          </a:xfrm>
          <a:prstGeom prst="rect">
            <a:avLst/>
          </a:prstGeom>
          <a:noFill/>
          <a:ln w="9525">
            <a:noFill/>
            <a:miter lim="800000"/>
            <a:headEnd/>
            <a:tailEnd/>
          </a:ln>
        </p:spPr>
      </p:pic>
    </p:spTree>
    <p:extLst>
      <p:ext uri="{BB962C8B-B14F-4D97-AF65-F5344CB8AC3E}">
        <p14:creationId xmlns:p14="http://schemas.microsoft.com/office/powerpoint/2010/main" val="29824654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Lst>
  <p:txStyles>
    <p:titleStyle>
      <a:lvl1pPr algn="ctr" defTabSz="601226" rtl="0" eaLnBrk="1" latinLnBrk="0" hangingPunct="1">
        <a:spcBef>
          <a:spcPct val="0"/>
        </a:spcBef>
        <a:buNone/>
        <a:defRPr sz="2893" kern="1200">
          <a:solidFill>
            <a:schemeClr val="tx1"/>
          </a:solidFill>
          <a:latin typeface="+mj-lt"/>
          <a:ea typeface="+mj-ea"/>
          <a:cs typeface="+mj-cs"/>
        </a:defRPr>
      </a:lvl1pPr>
    </p:titleStyle>
    <p:bodyStyle>
      <a:lvl1pPr marL="225459" indent="-225459" algn="l" defTabSz="601226" rtl="0" eaLnBrk="1" latinLnBrk="0" hangingPunct="1">
        <a:spcBef>
          <a:spcPct val="20000"/>
        </a:spcBef>
        <a:buFont typeface="Arial" pitchFamily="34" charset="0"/>
        <a:buChar char="•"/>
        <a:defRPr sz="2104" kern="1200">
          <a:solidFill>
            <a:schemeClr val="tx1"/>
          </a:solidFill>
          <a:latin typeface="+mn-lt"/>
          <a:ea typeface="+mn-ea"/>
          <a:cs typeface="+mn-cs"/>
        </a:defRPr>
      </a:lvl1pPr>
      <a:lvl2pPr marL="488496" indent="-187884" algn="l" defTabSz="601226" rtl="0" eaLnBrk="1" latinLnBrk="0" hangingPunct="1">
        <a:spcBef>
          <a:spcPct val="20000"/>
        </a:spcBef>
        <a:buFont typeface="Arial" pitchFamily="34" charset="0"/>
        <a:buChar char="–"/>
        <a:defRPr sz="1841" kern="1200">
          <a:solidFill>
            <a:schemeClr val="tx1"/>
          </a:solidFill>
          <a:latin typeface="+mn-lt"/>
          <a:ea typeface="+mn-ea"/>
          <a:cs typeface="+mn-cs"/>
        </a:defRPr>
      </a:lvl2pPr>
      <a:lvl3pPr marL="751532" indent="-150307" algn="l" defTabSz="601226" rtl="0" eaLnBrk="1" latinLnBrk="0" hangingPunct="1">
        <a:spcBef>
          <a:spcPct val="20000"/>
        </a:spcBef>
        <a:buFont typeface="Arial" pitchFamily="34" charset="0"/>
        <a:buChar char="•"/>
        <a:defRPr sz="1578" kern="1200">
          <a:solidFill>
            <a:schemeClr val="tx1"/>
          </a:solidFill>
          <a:latin typeface="+mn-lt"/>
          <a:ea typeface="+mn-ea"/>
          <a:cs typeface="+mn-cs"/>
        </a:defRPr>
      </a:lvl3pPr>
      <a:lvl4pPr marL="1052145"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4pPr>
      <a:lvl5pPr marL="1352759"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5pPr>
      <a:lvl6pPr marL="1653371"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6pPr>
      <a:lvl7pPr marL="1953985"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7pPr>
      <a:lvl8pPr marL="2254597"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8pPr>
      <a:lvl9pPr marL="2555210"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9pPr>
    </p:bodyStyle>
    <p:otherStyle>
      <a:defPPr>
        <a:defRPr lang="it-IT"/>
      </a:defPPr>
      <a:lvl1pPr marL="0" algn="l" defTabSz="601226" rtl="0" eaLnBrk="1" latinLnBrk="0" hangingPunct="1">
        <a:defRPr sz="1249" kern="1200">
          <a:solidFill>
            <a:schemeClr val="tx1"/>
          </a:solidFill>
          <a:latin typeface="+mn-lt"/>
          <a:ea typeface="+mn-ea"/>
          <a:cs typeface="+mn-cs"/>
        </a:defRPr>
      </a:lvl1pPr>
      <a:lvl2pPr marL="300613" algn="l" defTabSz="601226" rtl="0" eaLnBrk="1" latinLnBrk="0" hangingPunct="1">
        <a:defRPr sz="1249" kern="1200">
          <a:solidFill>
            <a:schemeClr val="tx1"/>
          </a:solidFill>
          <a:latin typeface="+mn-lt"/>
          <a:ea typeface="+mn-ea"/>
          <a:cs typeface="+mn-cs"/>
        </a:defRPr>
      </a:lvl2pPr>
      <a:lvl3pPr marL="601226" algn="l" defTabSz="601226" rtl="0" eaLnBrk="1" latinLnBrk="0" hangingPunct="1">
        <a:defRPr sz="1249" kern="1200">
          <a:solidFill>
            <a:schemeClr val="tx1"/>
          </a:solidFill>
          <a:latin typeface="+mn-lt"/>
          <a:ea typeface="+mn-ea"/>
          <a:cs typeface="+mn-cs"/>
        </a:defRPr>
      </a:lvl3pPr>
      <a:lvl4pPr marL="901839" algn="l" defTabSz="601226" rtl="0" eaLnBrk="1" latinLnBrk="0" hangingPunct="1">
        <a:defRPr sz="1249" kern="1200">
          <a:solidFill>
            <a:schemeClr val="tx1"/>
          </a:solidFill>
          <a:latin typeface="+mn-lt"/>
          <a:ea typeface="+mn-ea"/>
          <a:cs typeface="+mn-cs"/>
        </a:defRPr>
      </a:lvl4pPr>
      <a:lvl5pPr marL="1202452" algn="l" defTabSz="601226" rtl="0" eaLnBrk="1" latinLnBrk="0" hangingPunct="1">
        <a:defRPr sz="1249" kern="1200">
          <a:solidFill>
            <a:schemeClr val="tx1"/>
          </a:solidFill>
          <a:latin typeface="+mn-lt"/>
          <a:ea typeface="+mn-ea"/>
          <a:cs typeface="+mn-cs"/>
        </a:defRPr>
      </a:lvl5pPr>
      <a:lvl6pPr marL="1503064" algn="l" defTabSz="601226" rtl="0" eaLnBrk="1" latinLnBrk="0" hangingPunct="1">
        <a:defRPr sz="1249" kern="1200">
          <a:solidFill>
            <a:schemeClr val="tx1"/>
          </a:solidFill>
          <a:latin typeface="+mn-lt"/>
          <a:ea typeface="+mn-ea"/>
          <a:cs typeface="+mn-cs"/>
        </a:defRPr>
      </a:lvl6pPr>
      <a:lvl7pPr marL="1803677" algn="l" defTabSz="601226" rtl="0" eaLnBrk="1" latinLnBrk="0" hangingPunct="1">
        <a:defRPr sz="1249" kern="1200">
          <a:solidFill>
            <a:schemeClr val="tx1"/>
          </a:solidFill>
          <a:latin typeface="+mn-lt"/>
          <a:ea typeface="+mn-ea"/>
          <a:cs typeface="+mn-cs"/>
        </a:defRPr>
      </a:lvl7pPr>
      <a:lvl8pPr marL="2104290" algn="l" defTabSz="601226" rtl="0" eaLnBrk="1" latinLnBrk="0" hangingPunct="1">
        <a:defRPr sz="1249" kern="1200">
          <a:solidFill>
            <a:schemeClr val="tx1"/>
          </a:solidFill>
          <a:latin typeface="+mn-lt"/>
          <a:ea typeface="+mn-ea"/>
          <a:cs typeface="+mn-cs"/>
        </a:defRPr>
      </a:lvl8pPr>
      <a:lvl9pPr marL="2404904" algn="l" defTabSz="601226" rtl="0" eaLnBrk="1" latinLnBrk="0" hangingPunct="1">
        <a:defRPr sz="12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6.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12.xml"/><Relationship Id="rId5" Type="http://schemas.openxmlformats.org/officeDocument/2006/relationships/image" Target="../media/image37.jpg"/><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12.xml"/><Relationship Id="rId5" Type="http://schemas.openxmlformats.org/officeDocument/2006/relationships/image" Target="../media/image36.png"/><Relationship Id="rId4" Type="http://schemas.openxmlformats.org/officeDocument/2006/relationships/chart" Target="../charts/chart1.xml"/></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36.png"/><Relationship Id="rId4" Type="http://schemas.openxmlformats.org/officeDocument/2006/relationships/chart" Target="../charts/chart2.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38.jpeg"/></Relationships>
</file>

<file path=ppt/slides/_rels/slide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image" Target="../media/image39.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25.xml"/></Relationships>
</file>

<file path=ppt/slides/_rels/slide3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6.png"/><Relationship Id="rId21" Type="http://schemas.openxmlformats.org/officeDocument/2006/relationships/image" Target="../media/image58.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jpeg"/><Relationship Id="rId2" Type="http://schemas.openxmlformats.org/officeDocument/2006/relationships/notesSlide" Target="../notesSlides/notesSlide27.xml"/><Relationship Id="rId16" Type="http://schemas.openxmlformats.org/officeDocument/2006/relationships/image" Target="../media/image53.png"/><Relationship Id="rId20" Type="http://schemas.openxmlformats.org/officeDocument/2006/relationships/image" Target="../media/image57.jpeg"/><Relationship Id="rId1" Type="http://schemas.openxmlformats.org/officeDocument/2006/relationships/slideLayout" Target="../slideLayouts/slideLayout12.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jpe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jpeg"/></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60.jpeg"/></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7.JP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7.xml"/><Relationship Id="rId4" Type="http://schemas.openxmlformats.org/officeDocument/2006/relationships/image" Target="../media/image7.JPG"/></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Layout" Target="../slideLayouts/slideLayout1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43737" y="1942305"/>
            <a:ext cx="7231644" cy="5245646"/>
          </a:xfrm>
          <a:prstGeom prst="rect">
            <a:avLst/>
          </a:prstGeom>
        </p:spPr>
      </p:pic>
      <p:sp>
        <p:nvSpPr>
          <p:cNvPr id="2" name="CaixaDeTexto 1">
            <a:extLst>
              <a:ext uri="{FF2B5EF4-FFF2-40B4-BE49-F238E27FC236}">
                <a16:creationId xmlns:a16="http://schemas.microsoft.com/office/drawing/2014/main" id="{D109841B-C5B5-4011-A0C6-DB59200800E1}"/>
              </a:ext>
            </a:extLst>
          </p:cNvPr>
          <p:cNvSpPr txBox="1"/>
          <p:nvPr/>
        </p:nvSpPr>
        <p:spPr>
          <a:xfrm>
            <a:off x="1000919" y="5193997"/>
            <a:ext cx="8686800" cy="1200329"/>
          </a:xfrm>
          <a:prstGeom prst="rect">
            <a:avLst/>
          </a:prstGeom>
          <a:noFill/>
        </p:spPr>
        <p:txBody>
          <a:bodyPr wrap="square" rtlCol="0">
            <a:spAutoFit/>
          </a:bodyPr>
          <a:lstStyle/>
          <a:p>
            <a:pPr algn="ctr"/>
            <a:r>
              <a:rPr lang="pt-BR" sz="2400" dirty="0" err="1"/>
              <a:t>Valagro</a:t>
            </a:r>
            <a:r>
              <a:rPr lang="pt-BR" sz="2400" dirty="0"/>
              <a:t> </a:t>
            </a:r>
            <a:r>
              <a:rPr lang="pt-BR" sz="2400" i="1" dirty="0"/>
              <a:t>For Future </a:t>
            </a:r>
            <a:r>
              <a:rPr lang="pt-BR" sz="2400" i="1" dirty="0" err="1"/>
              <a:t>Farming</a:t>
            </a:r>
            <a:endParaRPr lang="pt-BR" sz="2400" i="1" dirty="0"/>
          </a:p>
          <a:p>
            <a:pPr algn="ctr"/>
            <a:r>
              <a:rPr lang="pt-BR" sz="2400" b="1" dirty="0"/>
              <a:t>Guarapuava – Paraná</a:t>
            </a:r>
          </a:p>
          <a:p>
            <a:pPr algn="ctr"/>
            <a:r>
              <a:rPr lang="pt-BR" sz="2400" dirty="0"/>
              <a:t>23-05-2019</a:t>
            </a:r>
          </a:p>
        </p:txBody>
      </p:sp>
    </p:spTree>
    <p:extLst>
      <p:ext uri="{BB962C8B-B14F-4D97-AF65-F5344CB8AC3E}">
        <p14:creationId xmlns:p14="http://schemas.microsoft.com/office/powerpoint/2010/main" val="3335544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rotWithShape="1">
          <a:blip r:embed="rId3" cstate="screen">
            <a:extLst>
              <a:ext uri="{28A0092B-C50C-407E-A947-70E740481C1C}">
                <a14:useLocalDpi xmlns:a14="http://schemas.microsoft.com/office/drawing/2010/main"/>
              </a:ext>
            </a:extLst>
          </a:blip>
          <a:srcRect r="29209"/>
          <a:stretch/>
        </p:blipFill>
        <p:spPr>
          <a:xfrm>
            <a:off x="-12169" y="5082"/>
            <a:ext cx="7575210" cy="7564994"/>
          </a:xfrm>
          <a:prstGeom prst="rect">
            <a:avLst/>
          </a:prstGeom>
        </p:spPr>
      </p:pic>
      <p:sp>
        <p:nvSpPr>
          <p:cNvPr id="3" name="Rettangolo 2"/>
          <p:cNvSpPr/>
          <p:nvPr/>
        </p:nvSpPr>
        <p:spPr>
          <a:xfrm>
            <a:off x="409376" y="3646539"/>
            <a:ext cx="1412388" cy="461665"/>
          </a:xfrm>
          <a:prstGeom prst="rect">
            <a:avLst/>
          </a:prstGeom>
        </p:spPr>
        <p:txBody>
          <a:bodyPr wrap="square">
            <a:spAutoFit/>
          </a:bodyPr>
          <a:lstStyle/>
          <a:p>
            <a:pPr algn="ctr"/>
            <a:r>
              <a:rPr lang="en-US" sz="2400" b="1" dirty="0">
                <a:solidFill>
                  <a:schemeClr val="bg1"/>
                </a:solidFill>
                <a:latin typeface="Arial"/>
                <a:cs typeface="Arial"/>
              </a:rPr>
              <a:t>MAIS</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5" name="Rettangolo arrotondato 4"/>
          <p:cNvSpPr/>
          <p:nvPr/>
        </p:nvSpPr>
        <p:spPr>
          <a:xfrm>
            <a:off x="4173699" y="3582172"/>
            <a:ext cx="2593338" cy="669169"/>
          </a:xfrm>
          <a:prstGeom prst="roundRect">
            <a:avLst/>
          </a:prstGeom>
          <a:solidFill>
            <a:srgbClr val="375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lnSpc>
                <a:spcPct val="80000"/>
              </a:lnSpc>
            </a:pPr>
            <a:r>
              <a:rPr lang="en-US" sz="1800" dirty="0">
                <a:solidFill>
                  <a:schemeClr val="bg1"/>
                </a:solidFill>
                <a:latin typeface="Arial"/>
                <a:ea typeface="ＭＳ Ｐゴシック" charset="0"/>
                <a:cs typeface="Arial"/>
              </a:rPr>
              <a:t>NÃO</a:t>
            </a:r>
          </a:p>
          <a:p>
            <a:pPr lvl="0" algn="ctr">
              <a:lnSpc>
                <a:spcPct val="80000"/>
              </a:lnSpc>
            </a:pPr>
            <a:r>
              <a:rPr lang="en-US" sz="1800" b="1" dirty="0">
                <a:solidFill>
                  <a:schemeClr val="bg1"/>
                </a:solidFill>
                <a:latin typeface="Arial"/>
                <a:ea typeface="ＭＳ Ｐゴシック" charset="0"/>
                <a:cs typeface="Arial"/>
              </a:rPr>
              <a:t>GERA BENEFICIOS </a:t>
            </a:r>
          </a:p>
          <a:p>
            <a:pPr lvl="0" algn="ctr">
              <a:lnSpc>
                <a:spcPct val="80000"/>
              </a:lnSpc>
            </a:pPr>
            <a:r>
              <a:rPr lang="en-US" sz="1800" dirty="0">
                <a:solidFill>
                  <a:schemeClr val="bg1"/>
                </a:solidFill>
                <a:latin typeface="Arial"/>
                <a:ea typeface="ＭＳ Ｐゴシック" charset="0"/>
                <a:cs typeface="Arial"/>
              </a:rPr>
              <a:t>SE TEMOS</a:t>
            </a:r>
          </a:p>
        </p:txBody>
      </p:sp>
      <p:sp>
        <p:nvSpPr>
          <p:cNvPr id="15" name="Rettangolo 14"/>
          <p:cNvSpPr/>
          <p:nvPr/>
        </p:nvSpPr>
        <p:spPr>
          <a:xfrm>
            <a:off x="303759" y="6964608"/>
            <a:ext cx="885097" cy="220573"/>
          </a:xfrm>
          <a:prstGeom prst="rect">
            <a:avLst/>
          </a:prstGeom>
        </p:spPr>
        <p:txBody>
          <a:bodyPr wrap="square">
            <a:spAutoFit/>
          </a:bodyPr>
          <a:lstStyle/>
          <a:p>
            <a:pPr>
              <a:lnSpc>
                <a:spcPct val="80000"/>
              </a:lnSpc>
            </a:pPr>
            <a:r>
              <a:rPr lang="it-IT" sz="1000" dirty="0">
                <a:solidFill>
                  <a:srgbClr val="375B49"/>
                </a:solidFill>
                <a:latin typeface="Arial" pitchFamily="34" charset="0"/>
                <a:cs typeface="Arial" pitchFamily="34" charset="0"/>
              </a:rPr>
              <a:t>8</a:t>
            </a:r>
            <a:endParaRPr lang="en-US" sz="1000" dirty="0">
              <a:solidFill>
                <a:srgbClr val="375B49"/>
              </a:solidFill>
              <a:latin typeface="Arial" pitchFamily="34" charset="0"/>
              <a:cs typeface="Arial" pitchFamily="34" charset="0"/>
            </a:endParaRPr>
          </a:p>
        </p:txBody>
      </p:sp>
      <p:pic>
        <p:nvPicPr>
          <p:cNvPr id="28" name="Immagine 18">
            <a:extLst>
              <a:ext uri="{FF2B5EF4-FFF2-40B4-BE49-F238E27FC236}">
                <a16:creationId xmlns:a16="http://schemas.microsoft.com/office/drawing/2014/main" id="{2B49106A-BE7D-44C9-923E-A718CF1A704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1173" b="9773"/>
          <a:stretch/>
        </p:blipFill>
        <p:spPr>
          <a:xfrm>
            <a:off x="7603958" y="5082"/>
            <a:ext cx="3084679" cy="6825610"/>
          </a:xfrm>
          <a:prstGeom prst="rect">
            <a:avLst/>
          </a:prstGeom>
        </p:spPr>
      </p:pic>
      <p:sp>
        <p:nvSpPr>
          <p:cNvPr id="29" name="Ovale 3">
            <a:extLst>
              <a:ext uri="{FF2B5EF4-FFF2-40B4-BE49-F238E27FC236}">
                <a16:creationId xmlns:a16="http://schemas.microsoft.com/office/drawing/2014/main" id="{C334530F-ABAC-438C-B8D2-D4C6CA55D7D5}"/>
              </a:ext>
            </a:extLst>
          </p:cNvPr>
          <p:cNvSpPr/>
          <p:nvPr/>
        </p:nvSpPr>
        <p:spPr>
          <a:xfrm>
            <a:off x="8462245" y="1450559"/>
            <a:ext cx="2104472" cy="895019"/>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solidFill>
                  <a:schemeClr val="tx1"/>
                </a:solidFill>
                <a:latin typeface="Arial"/>
                <a:cs typeface="Arial"/>
              </a:rPr>
              <a:t>RESISTENCIA</a:t>
            </a:r>
            <a:endParaRPr lang="it-IT" sz="1400" dirty="0">
              <a:solidFill>
                <a:schemeClr val="tx1"/>
              </a:solidFill>
            </a:endParaRPr>
          </a:p>
        </p:txBody>
      </p:sp>
      <p:sp>
        <p:nvSpPr>
          <p:cNvPr id="30" name="Ovale 22">
            <a:extLst>
              <a:ext uri="{FF2B5EF4-FFF2-40B4-BE49-F238E27FC236}">
                <a16:creationId xmlns:a16="http://schemas.microsoft.com/office/drawing/2014/main" id="{446FE406-C1E2-4A2C-B333-13D1D409F266}"/>
              </a:ext>
            </a:extLst>
          </p:cNvPr>
          <p:cNvSpPr/>
          <p:nvPr/>
        </p:nvSpPr>
        <p:spPr>
          <a:xfrm>
            <a:off x="8584165" y="2597903"/>
            <a:ext cx="1861046" cy="895019"/>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cs-CZ" sz="1400" dirty="0">
                <a:solidFill>
                  <a:schemeClr val="tx1"/>
                </a:solidFill>
                <a:latin typeface="Arial"/>
                <a:cs typeface="Arial"/>
              </a:rPr>
              <a:t>EXCESS</a:t>
            </a:r>
            <a:r>
              <a:rPr lang="pt-BR" sz="1400" dirty="0">
                <a:solidFill>
                  <a:schemeClr val="tx1"/>
                </a:solidFill>
                <a:latin typeface="Arial"/>
                <a:cs typeface="Arial"/>
              </a:rPr>
              <a:t>O</a:t>
            </a:r>
            <a:endParaRPr lang="cs-CZ" sz="1400" dirty="0">
              <a:solidFill>
                <a:schemeClr val="tx1"/>
              </a:solidFill>
              <a:latin typeface="Arial"/>
              <a:cs typeface="Arial"/>
            </a:endParaRPr>
          </a:p>
        </p:txBody>
      </p:sp>
      <p:sp>
        <p:nvSpPr>
          <p:cNvPr id="31" name="Ovale 23">
            <a:extLst>
              <a:ext uri="{FF2B5EF4-FFF2-40B4-BE49-F238E27FC236}">
                <a16:creationId xmlns:a16="http://schemas.microsoft.com/office/drawing/2014/main" id="{FCED94D0-9EF8-4694-8714-6D75FAC0759B}"/>
              </a:ext>
            </a:extLst>
          </p:cNvPr>
          <p:cNvSpPr/>
          <p:nvPr/>
        </p:nvSpPr>
        <p:spPr>
          <a:xfrm>
            <a:off x="8584165" y="3704514"/>
            <a:ext cx="1861046" cy="895019"/>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400" dirty="0">
                <a:solidFill>
                  <a:schemeClr val="tx1"/>
                </a:solidFill>
                <a:latin typeface="Arial"/>
                <a:cs typeface="Arial"/>
              </a:rPr>
              <a:t>DEFICIENCIA </a:t>
            </a:r>
          </a:p>
        </p:txBody>
      </p:sp>
      <p:sp>
        <p:nvSpPr>
          <p:cNvPr id="32" name="Ovale 24">
            <a:extLst>
              <a:ext uri="{FF2B5EF4-FFF2-40B4-BE49-F238E27FC236}">
                <a16:creationId xmlns:a16="http://schemas.microsoft.com/office/drawing/2014/main" id="{2B2BB575-E86B-4625-8A23-F1134124C823}"/>
              </a:ext>
            </a:extLst>
          </p:cNvPr>
          <p:cNvSpPr/>
          <p:nvPr/>
        </p:nvSpPr>
        <p:spPr>
          <a:xfrm>
            <a:off x="8471003" y="4827083"/>
            <a:ext cx="2095714" cy="895019"/>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dirty="0">
                <a:solidFill>
                  <a:schemeClr val="tx1"/>
                </a:solidFill>
                <a:latin typeface="Arial"/>
                <a:cs typeface="Arial"/>
              </a:rPr>
              <a:t>DESBALANÇO</a:t>
            </a:r>
            <a:endParaRPr lang="it-IT" sz="1200" dirty="0">
              <a:solidFill>
                <a:schemeClr val="tx1"/>
              </a:solidFill>
              <a:latin typeface="Arial"/>
              <a:cs typeface="Arial"/>
            </a:endParaRPr>
          </a:p>
        </p:txBody>
      </p:sp>
      <p:sp>
        <p:nvSpPr>
          <p:cNvPr id="33" name="Ovale 25">
            <a:extLst>
              <a:ext uri="{FF2B5EF4-FFF2-40B4-BE49-F238E27FC236}">
                <a16:creationId xmlns:a16="http://schemas.microsoft.com/office/drawing/2014/main" id="{50573E03-BD64-4EBD-915D-F9B5A2F62015}"/>
              </a:ext>
            </a:extLst>
          </p:cNvPr>
          <p:cNvSpPr/>
          <p:nvPr/>
        </p:nvSpPr>
        <p:spPr>
          <a:xfrm>
            <a:off x="8584165" y="6157132"/>
            <a:ext cx="1861046" cy="673560"/>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pPr>
            <a:r>
              <a:rPr lang="pt-BR" sz="1400" dirty="0">
                <a:solidFill>
                  <a:schemeClr val="tx1"/>
                </a:solidFill>
                <a:latin typeface="Arial"/>
                <a:cs typeface="Arial"/>
              </a:rPr>
              <a:t>STRESS ABIÓTICO</a:t>
            </a:r>
            <a:endParaRPr lang="mr-IN" sz="1400" dirty="0">
              <a:solidFill>
                <a:schemeClr val="tx1"/>
              </a:solidFill>
              <a:latin typeface="Arial"/>
              <a:cs typeface="Arial"/>
            </a:endParaRPr>
          </a:p>
        </p:txBody>
      </p:sp>
      <p:sp>
        <p:nvSpPr>
          <p:cNvPr id="2" name="Rettangolo 1"/>
          <p:cNvSpPr/>
          <p:nvPr/>
        </p:nvSpPr>
        <p:spPr>
          <a:xfrm>
            <a:off x="279204" y="179991"/>
            <a:ext cx="10016041" cy="553998"/>
          </a:xfrm>
          <a:prstGeom prst="rect">
            <a:avLst/>
          </a:prstGeom>
        </p:spPr>
        <p:txBody>
          <a:bodyPr wrap="square">
            <a:spAutoFit/>
          </a:bodyPr>
          <a:lstStyle/>
          <a:p>
            <a:r>
              <a:rPr lang="en-US" sz="3000" b="1" cap="all" dirty="0">
                <a:ln w="19050">
                  <a:noFill/>
                </a:ln>
                <a:solidFill>
                  <a:srgbClr val="163D28"/>
                </a:solidFill>
                <a:latin typeface="Arial" pitchFamily="34" charset="0"/>
                <a:cs typeface="Arial" pitchFamily="34" charset="0"/>
              </a:rPr>
              <a:t>CLARAS LIMITAÇÕES </a:t>
            </a:r>
            <a:r>
              <a:rPr lang="en-US" sz="2400" cap="all" dirty="0">
                <a:ln w="19050">
                  <a:noFill/>
                </a:ln>
                <a:solidFill>
                  <a:srgbClr val="163D28"/>
                </a:solidFill>
                <a:latin typeface="Arial" pitchFamily="34" charset="0"/>
                <a:cs typeface="Arial" pitchFamily="34" charset="0"/>
              </a:rPr>
              <a:t> A SOLUÇÃO CONVENCIONAL</a:t>
            </a:r>
            <a:endParaRPr lang="it-IT" sz="1000" dirty="0">
              <a:ln w="19050">
                <a:noFill/>
              </a:ln>
              <a:solidFill>
                <a:schemeClr val="tx1">
                  <a:lumMod val="65000"/>
                  <a:lumOff val="35000"/>
                </a:schemeClr>
              </a:solidFill>
              <a:latin typeface="Arial" pitchFamily="34" charset="0"/>
              <a:cs typeface="Arial" pitchFamily="34" charset="0"/>
            </a:endParaRPr>
          </a:p>
        </p:txBody>
      </p:sp>
    </p:spTree>
    <p:extLst>
      <p:ext uri="{BB962C8B-B14F-4D97-AF65-F5344CB8AC3E}">
        <p14:creationId xmlns:p14="http://schemas.microsoft.com/office/powerpoint/2010/main" val="694233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9" grpId="0"/>
      <p:bldP spid="30" grpId="0"/>
      <p:bldP spid="31" grpId="0"/>
      <p:bldP spid="32" grpId="0"/>
      <p:bldP spid="3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70" y="-16864"/>
            <a:ext cx="10700807" cy="7564994"/>
          </a:xfrm>
          <a:prstGeom prst="rect">
            <a:avLst/>
          </a:prstGeom>
        </p:spPr>
      </p:pic>
      <p:sp>
        <p:nvSpPr>
          <p:cNvPr id="2" name="Rettangolo 1"/>
          <p:cNvSpPr/>
          <p:nvPr/>
        </p:nvSpPr>
        <p:spPr>
          <a:xfrm>
            <a:off x="279204" y="179991"/>
            <a:ext cx="10016041" cy="553998"/>
          </a:xfrm>
          <a:prstGeom prst="rect">
            <a:avLst/>
          </a:prstGeom>
        </p:spPr>
        <p:txBody>
          <a:bodyPr wrap="square">
            <a:spAutoFit/>
          </a:bodyPr>
          <a:lstStyle/>
          <a:p>
            <a:r>
              <a:rPr lang="en-US" sz="3000" b="1" cap="all" dirty="0">
                <a:ln w="19050">
                  <a:noFill/>
                </a:ln>
                <a:solidFill>
                  <a:srgbClr val="163D28"/>
                </a:solidFill>
                <a:latin typeface="Arial" pitchFamily="34" charset="0"/>
                <a:cs typeface="Arial" pitchFamily="34" charset="0"/>
              </a:rPr>
              <a:t>CONTRIBUIÇÃO DO MANEJO INTEGRADO</a:t>
            </a:r>
            <a:endParaRPr lang="it-IT" sz="1000" dirty="0">
              <a:ln w="19050">
                <a:noFill/>
              </a:ln>
              <a:solidFill>
                <a:schemeClr val="tx1">
                  <a:lumMod val="65000"/>
                  <a:lumOff val="35000"/>
                </a:schemeClr>
              </a:solidFill>
              <a:latin typeface="Arial" pitchFamily="34" charset="0"/>
              <a:cs typeface="Arial" pitchFamily="34" charset="0"/>
            </a:endParaRP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4" name="Rettangolo 13"/>
          <p:cNvSpPr/>
          <p:nvPr/>
        </p:nvSpPr>
        <p:spPr>
          <a:xfrm>
            <a:off x="6798099" y="4915552"/>
            <a:ext cx="1141402" cy="200055"/>
          </a:xfrm>
          <a:prstGeom prst="rect">
            <a:avLst/>
          </a:prstGeom>
        </p:spPr>
        <p:txBody>
          <a:bodyPr wrap="square">
            <a:spAutoFit/>
          </a:bodyPr>
          <a:lstStyle/>
          <a:p>
            <a:pPr lvl="0" algn="ctr"/>
            <a:r>
              <a:rPr lang="es-ES_tradnl" sz="700" dirty="0">
                <a:solidFill>
                  <a:srgbClr val="163D28"/>
                </a:solidFill>
                <a:latin typeface="Arial"/>
                <a:cs typeface="Arial"/>
              </a:rPr>
              <a:t>BIOSTIMULANTS</a:t>
            </a:r>
            <a:endParaRPr lang="it-IT" sz="700" dirty="0">
              <a:solidFill>
                <a:srgbClr val="7F7F7F"/>
              </a:solidFill>
              <a:latin typeface="Calibri"/>
              <a:ea typeface="+mn-ea"/>
              <a:cs typeface="+mn-cs"/>
            </a:endParaRPr>
          </a:p>
        </p:txBody>
      </p:sp>
      <p:sp>
        <p:nvSpPr>
          <p:cNvPr id="15" name="CasellaDiTesto 14"/>
          <p:cNvSpPr txBox="1"/>
          <p:nvPr/>
        </p:nvSpPr>
        <p:spPr>
          <a:xfrm>
            <a:off x="173315" y="6207981"/>
            <a:ext cx="2664512" cy="387798"/>
          </a:xfrm>
          <a:prstGeom prst="rect">
            <a:avLst/>
          </a:prstGeom>
          <a:noFill/>
        </p:spPr>
        <p:txBody>
          <a:bodyPr wrap="none" rtlCol="0">
            <a:spAutoFit/>
          </a:bodyPr>
          <a:lstStyle/>
          <a:p>
            <a:pPr algn="ctr">
              <a:lnSpc>
                <a:spcPct val="80000"/>
              </a:lnSpc>
            </a:pPr>
            <a:r>
              <a:rPr lang="it-IT" sz="1200" b="1" dirty="0">
                <a:solidFill>
                  <a:srgbClr val="375B49"/>
                </a:solidFill>
                <a:latin typeface="Arial" pitchFamily="34" charset="0"/>
                <a:cs typeface="Arial" pitchFamily="34" charset="0"/>
              </a:rPr>
              <a:t>PRODUTIVIDADE</a:t>
            </a:r>
          </a:p>
          <a:p>
            <a:pPr algn="ctr">
              <a:lnSpc>
                <a:spcPct val="80000"/>
              </a:lnSpc>
            </a:pPr>
            <a:r>
              <a:rPr lang="it-IT" sz="1200" b="1" dirty="0">
                <a:solidFill>
                  <a:srgbClr val="375B49"/>
                </a:solidFill>
                <a:latin typeface="Arial" pitchFamily="34" charset="0"/>
                <a:cs typeface="Arial" pitchFamily="34" charset="0"/>
              </a:rPr>
              <a:t> SEM INSUMOS CONVENCIONAIS</a:t>
            </a:r>
          </a:p>
        </p:txBody>
      </p:sp>
      <p:sp>
        <p:nvSpPr>
          <p:cNvPr id="16" name="CasellaDiTesto 15"/>
          <p:cNvSpPr txBox="1"/>
          <p:nvPr/>
        </p:nvSpPr>
        <p:spPr>
          <a:xfrm>
            <a:off x="4010607" y="6207981"/>
            <a:ext cx="2690160" cy="387798"/>
          </a:xfrm>
          <a:prstGeom prst="rect">
            <a:avLst/>
          </a:prstGeom>
          <a:noFill/>
        </p:spPr>
        <p:txBody>
          <a:bodyPr wrap="none" rtlCol="0">
            <a:spAutoFit/>
          </a:bodyPr>
          <a:lstStyle/>
          <a:p>
            <a:pPr algn="ctr">
              <a:lnSpc>
                <a:spcPct val="80000"/>
              </a:lnSpc>
            </a:pPr>
            <a:r>
              <a:rPr lang="it-IT" sz="1200" b="1" dirty="0">
                <a:solidFill>
                  <a:srgbClr val="375B49"/>
                </a:solidFill>
                <a:latin typeface="Arial" pitchFamily="34" charset="0"/>
                <a:cs typeface="Arial" pitchFamily="34" charset="0"/>
              </a:rPr>
              <a:t>PRODUTIVIDADE</a:t>
            </a:r>
          </a:p>
          <a:p>
            <a:pPr algn="ctr">
              <a:lnSpc>
                <a:spcPct val="80000"/>
              </a:lnSpc>
            </a:pPr>
            <a:r>
              <a:rPr lang="it-IT" sz="1200" b="1" dirty="0">
                <a:solidFill>
                  <a:srgbClr val="375B49"/>
                </a:solidFill>
                <a:latin typeface="Arial" pitchFamily="34" charset="0"/>
                <a:cs typeface="Arial" pitchFamily="34" charset="0"/>
              </a:rPr>
              <a:t> COM INSUMOS CONVENCIONAIS</a:t>
            </a:r>
          </a:p>
        </p:txBody>
      </p:sp>
      <p:sp>
        <p:nvSpPr>
          <p:cNvPr id="20" name="CasellaDiTesto 19"/>
          <p:cNvSpPr txBox="1"/>
          <p:nvPr/>
        </p:nvSpPr>
        <p:spPr>
          <a:xfrm>
            <a:off x="8506512" y="6207981"/>
            <a:ext cx="1457450" cy="387798"/>
          </a:xfrm>
          <a:prstGeom prst="rect">
            <a:avLst/>
          </a:prstGeom>
          <a:noFill/>
        </p:spPr>
        <p:txBody>
          <a:bodyPr wrap="none" rtlCol="0">
            <a:spAutoFit/>
          </a:bodyPr>
          <a:lstStyle/>
          <a:p>
            <a:pPr algn="ctr">
              <a:lnSpc>
                <a:spcPct val="80000"/>
              </a:lnSpc>
            </a:pPr>
            <a:r>
              <a:rPr lang="it-IT" sz="1200" b="1" dirty="0">
                <a:solidFill>
                  <a:srgbClr val="375B49"/>
                </a:solidFill>
                <a:latin typeface="Arial" pitchFamily="34" charset="0"/>
                <a:cs typeface="Arial" pitchFamily="34" charset="0"/>
              </a:rPr>
              <a:t>PRODUTIVIDADE</a:t>
            </a:r>
          </a:p>
          <a:p>
            <a:pPr algn="ctr">
              <a:lnSpc>
                <a:spcPct val="80000"/>
              </a:lnSpc>
            </a:pPr>
            <a:r>
              <a:rPr lang="it-IT" sz="1200" b="1" dirty="0">
                <a:solidFill>
                  <a:srgbClr val="375B49"/>
                </a:solidFill>
                <a:latin typeface="Arial" pitchFamily="34" charset="0"/>
                <a:cs typeface="Arial" pitchFamily="34" charset="0"/>
              </a:rPr>
              <a:t> POTENCIAL</a:t>
            </a:r>
          </a:p>
        </p:txBody>
      </p:sp>
      <p:sp>
        <p:nvSpPr>
          <p:cNvPr id="21" name="CasellaDiTesto 20"/>
          <p:cNvSpPr txBox="1"/>
          <p:nvPr/>
        </p:nvSpPr>
        <p:spPr>
          <a:xfrm>
            <a:off x="2085544" y="4236798"/>
            <a:ext cx="2316660" cy="246221"/>
          </a:xfrm>
          <a:prstGeom prst="rect">
            <a:avLst/>
          </a:prstGeom>
          <a:noFill/>
        </p:spPr>
        <p:txBody>
          <a:bodyPr wrap="none" rtlCol="0">
            <a:spAutoFit/>
          </a:bodyPr>
          <a:lstStyle/>
          <a:p>
            <a:pPr algn="ctr"/>
            <a:r>
              <a:rPr lang="it-IT" sz="1000" b="1" dirty="0">
                <a:solidFill>
                  <a:srgbClr val="375B49"/>
                </a:solidFill>
                <a:latin typeface="Arial" pitchFamily="34" charset="0"/>
                <a:cs typeface="Arial" pitchFamily="34" charset="0"/>
              </a:rPr>
              <a:t>AGRICULTURA CONVENCIONAL </a:t>
            </a:r>
          </a:p>
        </p:txBody>
      </p:sp>
      <p:sp>
        <p:nvSpPr>
          <p:cNvPr id="22" name="CasellaDiTesto 21"/>
          <p:cNvSpPr txBox="1"/>
          <p:nvPr/>
        </p:nvSpPr>
        <p:spPr>
          <a:xfrm>
            <a:off x="7080649" y="3456905"/>
            <a:ext cx="1537601" cy="246221"/>
          </a:xfrm>
          <a:prstGeom prst="rect">
            <a:avLst/>
          </a:prstGeom>
          <a:noFill/>
        </p:spPr>
        <p:txBody>
          <a:bodyPr wrap="none" rtlCol="0">
            <a:spAutoFit/>
          </a:bodyPr>
          <a:lstStyle/>
          <a:p>
            <a:pPr algn="ctr"/>
            <a:r>
              <a:rPr lang="it-IT" sz="1000" b="1" dirty="0">
                <a:solidFill>
                  <a:srgbClr val="375B49"/>
                </a:solidFill>
                <a:latin typeface="Arial" pitchFamily="34" charset="0"/>
                <a:cs typeface="Arial" pitchFamily="34" charset="0"/>
              </a:rPr>
              <a:t>MANEJO INTEGRADO</a:t>
            </a:r>
          </a:p>
        </p:txBody>
      </p:sp>
      <p:sp>
        <p:nvSpPr>
          <p:cNvPr id="27" name="Rettangolo 26"/>
          <p:cNvSpPr/>
          <p:nvPr/>
        </p:nvSpPr>
        <p:spPr>
          <a:xfrm>
            <a:off x="6773329" y="5800330"/>
            <a:ext cx="1141402" cy="200055"/>
          </a:xfrm>
          <a:prstGeom prst="rect">
            <a:avLst/>
          </a:prstGeom>
        </p:spPr>
        <p:txBody>
          <a:bodyPr wrap="square">
            <a:spAutoFit/>
          </a:bodyPr>
          <a:lstStyle/>
          <a:p>
            <a:pPr lvl="0" algn="ctr"/>
            <a:r>
              <a:rPr lang="es-ES_tradnl" sz="700" dirty="0">
                <a:solidFill>
                  <a:srgbClr val="163D28"/>
                </a:solidFill>
                <a:latin typeface="Arial"/>
                <a:cs typeface="Arial"/>
              </a:rPr>
              <a:t>MICRONUTRIENTS</a:t>
            </a:r>
            <a:endParaRPr lang="it-IT" sz="700" dirty="0">
              <a:solidFill>
                <a:srgbClr val="7F7F7F"/>
              </a:solidFill>
              <a:latin typeface="Calibri"/>
              <a:ea typeface="+mn-ea"/>
              <a:cs typeface="+mn-cs"/>
            </a:endParaRPr>
          </a:p>
        </p:txBody>
      </p:sp>
      <p:sp>
        <p:nvSpPr>
          <p:cNvPr id="28" name="Rettangolo 27"/>
          <p:cNvSpPr/>
          <p:nvPr/>
        </p:nvSpPr>
        <p:spPr>
          <a:xfrm>
            <a:off x="7619238" y="5762654"/>
            <a:ext cx="1141402" cy="384977"/>
          </a:xfrm>
          <a:prstGeom prst="rect">
            <a:avLst/>
          </a:prstGeom>
        </p:spPr>
        <p:txBody>
          <a:bodyPr wrap="square">
            <a:spAutoFit/>
          </a:bodyPr>
          <a:lstStyle/>
          <a:p>
            <a:pPr algn="ctr">
              <a:lnSpc>
                <a:spcPct val="90000"/>
              </a:lnSpc>
            </a:pPr>
            <a:r>
              <a:rPr lang="es-ES_tradnl" sz="700" dirty="0">
                <a:solidFill>
                  <a:srgbClr val="163D28"/>
                </a:solidFill>
                <a:latin typeface="Arial"/>
                <a:cs typeface="Arial"/>
              </a:rPr>
              <a:t>WATER SOLUBLE NUTRIENTS</a:t>
            </a:r>
          </a:p>
          <a:p>
            <a:pPr lvl="0" algn="ctr"/>
            <a:endParaRPr lang="it-IT" sz="700" dirty="0">
              <a:solidFill>
                <a:srgbClr val="7F7F7F"/>
              </a:solidFill>
              <a:latin typeface="Calibri"/>
              <a:ea typeface="+mn-ea"/>
              <a:cs typeface="+mn-cs"/>
            </a:endParaRPr>
          </a:p>
        </p:txBody>
      </p:sp>
      <p:sp>
        <p:nvSpPr>
          <p:cNvPr id="29" name="Rettangolo 28"/>
          <p:cNvSpPr/>
          <p:nvPr/>
        </p:nvSpPr>
        <p:spPr>
          <a:xfrm>
            <a:off x="7596779" y="4912644"/>
            <a:ext cx="1141402" cy="200055"/>
          </a:xfrm>
          <a:prstGeom prst="rect">
            <a:avLst/>
          </a:prstGeom>
        </p:spPr>
        <p:txBody>
          <a:bodyPr wrap="square">
            <a:spAutoFit/>
          </a:bodyPr>
          <a:lstStyle/>
          <a:p>
            <a:pPr lvl="0" algn="ctr"/>
            <a:r>
              <a:rPr lang="es-ES_tradnl" sz="700" dirty="0">
                <a:solidFill>
                  <a:srgbClr val="163D28"/>
                </a:solidFill>
                <a:latin typeface="Arial"/>
                <a:cs typeface="Arial"/>
              </a:rPr>
              <a:t>BIOCONTROL</a:t>
            </a:r>
            <a:endParaRPr lang="it-IT" sz="700" dirty="0">
              <a:solidFill>
                <a:srgbClr val="7F7F7F"/>
              </a:solidFill>
              <a:latin typeface="Calibri"/>
              <a:ea typeface="+mn-ea"/>
              <a:cs typeface="+mn-cs"/>
            </a:endParaRPr>
          </a:p>
        </p:txBody>
      </p:sp>
      <p:sp>
        <p:nvSpPr>
          <p:cNvPr id="23" name="Rettangolo 22"/>
          <p:cNvSpPr/>
          <p:nvPr/>
        </p:nvSpPr>
        <p:spPr>
          <a:xfrm>
            <a:off x="303759" y="6964608"/>
            <a:ext cx="885097" cy="220573"/>
          </a:xfrm>
          <a:prstGeom prst="rect">
            <a:avLst/>
          </a:prstGeom>
        </p:spPr>
        <p:txBody>
          <a:bodyPr wrap="square">
            <a:spAutoFit/>
          </a:bodyPr>
          <a:lstStyle/>
          <a:p>
            <a:pPr>
              <a:lnSpc>
                <a:spcPct val="80000"/>
              </a:lnSpc>
            </a:pPr>
            <a:r>
              <a:rPr lang="it-IT" sz="1000" dirty="0">
                <a:solidFill>
                  <a:srgbClr val="375B49"/>
                </a:solidFill>
                <a:latin typeface="Arial" pitchFamily="34" charset="0"/>
                <a:cs typeface="Arial" pitchFamily="34" charset="0"/>
              </a:rPr>
              <a:t>9</a:t>
            </a:r>
            <a:endParaRPr lang="en-US" sz="1000" dirty="0">
              <a:solidFill>
                <a:srgbClr val="375B49"/>
              </a:solidFill>
              <a:latin typeface="Arial" pitchFamily="34" charset="0"/>
              <a:cs typeface="Arial" pitchFamily="34" charset="0"/>
            </a:endParaRPr>
          </a:p>
        </p:txBody>
      </p:sp>
      <p:sp>
        <p:nvSpPr>
          <p:cNvPr id="4" name="TextBox 3">
            <a:extLst>
              <a:ext uri="{FF2B5EF4-FFF2-40B4-BE49-F238E27FC236}">
                <a16:creationId xmlns:a16="http://schemas.microsoft.com/office/drawing/2014/main" id="{7F8BB8AF-93B6-4AE0-96E7-F16DA7D8A369}"/>
              </a:ext>
            </a:extLst>
          </p:cNvPr>
          <p:cNvSpPr txBox="1"/>
          <p:nvPr/>
        </p:nvSpPr>
        <p:spPr>
          <a:xfrm>
            <a:off x="1115704" y="6867145"/>
            <a:ext cx="3672287" cy="307777"/>
          </a:xfrm>
          <a:prstGeom prst="rect">
            <a:avLst/>
          </a:prstGeom>
          <a:noFill/>
        </p:spPr>
        <p:txBody>
          <a:bodyPr wrap="none" rtlCol="0">
            <a:spAutoFit/>
          </a:bodyPr>
          <a:lstStyle/>
          <a:p>
            <a:r>
              <a:rPr lang="en-US" sz="1400" dirty="0"/>
              <a:t> UBS Expert conference on </a:t>
            </a:r>
            <a:r>
              <a:rPr lang="en-US" sz="1400" dirty="0" err="1"/>
              <a:t>Bioagriculture</a:t>
            </a:r>
            <a:r>
              <a:rPr lang="en-US" sz="1400" dirty="0"/>
              <a:t>, 2014 </a:t>
            </a:r>
          </a:p>
        </p:txBody>
      </p:sp>
      <p:sp>
        <p:nvSpPr>
          <p:cNvPr id="5" name="Retângulo: Cantos Arredondados 4">
            <a:extLst>
              <a:ext uri="{FF2B5EF4-FFF2-40B4-BE49-F238E27FC236}">
                <a16:creationId xmlns:a16="http://schemas.microsoft.com/office/drawing/2014/main" id="{56EE3842-0298-4B1F-A7C0-EDEC5B419067}"/>
              </a:ext>
            </a:extLst>
          </p:cNvPr>
          <p:cNvSpPr/>
          <p:nvPr/>
        </p:nvSpPr>
        <p:spPr>
          <a:xfrm>
            <a:off x="5855368" y="1684420"/>
            <a:ext cx="2882814" cy="4372069"/>
          </a:xfrm>
          <a:prstGeom prst="roundRect">
            <a:avLst/>
          </a:prstGeom>
          <a:noFill/>
          <a:ln w="28575">
            <a:solidFill>
              <a:srgbClr val="C00000"/>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6" name="Seta: para Baixo 5">
            <a:extLst>
              <a:ext uri="{FF2B5EF4-FFF2-40B4-BE49-F238E27FC236}">
                <a16:creationId xmlns:a16="http://schemas.microsoft.com/office/drawing/2014/main" id="{ED0C9ACD-4A26-450E-B4C8-EFBC269746E4}"/>
              </a:ext>
            </a:extLst>
          </p:cNvPr>
          <p:cNvSpPr/>
          <p:nvPr/>
        </p:nvSpPr>
        <p:spPr>
          <a:xfrm>
            <a:off x="6880408" y="905820"/>
            <a:ext cx="927243" cy="950431"/>
          </a:xfrm>
          <a:prstGeom prst="downArrow">
            <a:avLst/>
          </a:prstGeom>
          <a:solidFill>
            <a:srgbClr val="C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337332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upo 4">
            <a:extLst>
              <a:ext uri="{FF2B5EF4-FFF2-40B4-BE49-F238E27FC236}">
                <a16:creationId xmlns:a16="http://schemas.microsoft.com/office/drawing/2014/main" id="{F057B657-076B-42FB-8664-6487A5485F56}"/>
              </a:ext>
            </a:extLst>
          </p:cNvPr>
          <p:cNvGrpSpPr/>
          <p:nvPr/>
        </p:nvGrpSpPr>
        <p:grpSpPr>
          <a:xfrm>
            <a:off x="-4064" y="-3345"/>
            <a:ext cx="10692702" cy="7564991"/>
            <a:chOff x="-4064" y="-3345"/>
            <a:chExt cx="10692702" cy="7564991"/>
          </a:xfrm>
        </p:grpSpPr>
        <p:pic>
          <p:nvPicPr>
            <p:cNvPr id="31" name="Immagine 8">
              <a:extLst>
                <a:ext uri="{FF2B5EF4-FFF2-40B4-BE49-F238E27FC236}">
                  <a16:creationId xmlns:a16="http://schemas.microsoft.com/office/drawing/2014/main" id="{851FF2E3-346D-472A-9017-2DEFB4409C9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64" y="-3345"/>
              <a:ext cx="10692702" cy="7564991"/>
            </a:xfrm>
            <a:prstGeom prst="rect">
              <a:avLst/>
            </a:prstGeom>
          </p:spPr>
        </p:pic>
        <p:grpSp>
          <p:nvGrpSpPr>
            <p:cNvPr id="32" name="Grupo 3">
              <a:extLst>
                <a:ext uri="{FF2B5EF4-FFF2-40B4-BE49-F238E27FC236}">
                  <a16:creationId xmlns:a16="http://schemas.microsoft.com/office/drawing/2014/main" id="{9AFAA40D-7A20-4732-883E-9B8F6B145DCC}"/>
                </a:ext>
              </a:extLst>
            </p:cNvPr>
            <p:cNvGrpSpPr/>
            <p:nvPr/>
          </p:nvGrpSpPr>
          <p:grpSpPr>
            <a:xfrm>
              <a:off x="1024758" y="1697229"/>
              <a:ext cx="9270487" cy="5699410"/>
              <a:chOff x="1024758" y="1697229"/>
              <a:chExt cx="9270487" cy="5699410"/>
            </a:xfrm>
          </p:grpSpPr>
          <p:sp>
            <p:nvSpPr>
              <p:cNvPr id="33" name="CasellaDiTesto 9">
                <a:extLst>
                  <a:ext uri="{FF2B5EF4-FFF2-40B4-BE49-F238E27FC236}">
                    <a16:creationId xmlns:a16="http://schemas.microsoft.com/office/drawing/2014/main" id="{8088332E-DEEF-445D-9162-EF77C4DC71EC}"/>
                  </a:ext>
                </a:extLst>
              </p:cNvPr>
              <p:cNvSpPr txBox="1"/>
              <p:nvPr/>
            </p:nvSpPr>
            <p:spPr>
              <a:xfrm>
                <a:off x="4351542" y="2518164"/>
                <a:ext cx="708848" cy="437043"/>
              </a:xfrm>
              <a:prstGeom prst="rect">
                <a:avLst/>
              </a:prstGeom>
              <a:noFill/>
            </p:spPr>
            <p:txBody>
              <a:bodyPr wrap="none" rtlCol="0">
                <a:spAutoFit/>
              </a:bodyPr>
              <a:lstStyle/>
              <a:p>
                <a:pPr algn="ctr">
                  <a:lnSpc>
                    <a:spcPct val="80000"/>
                  </a:lnSpc>
                </a:pPr>
                <a:r>
                  <a:rPr lang="it-IT" sz="1400" b="1" spc="-150" dirty="0">
                    <a:solidFill>
                      <a:schemeClr val="bg1"/>
                    </a:solidFill>
                    <a:latin typeface="Arial" pitchFamily="34" charset="0"/>
                    <a:cs typeface="Arial" pitchFamily="34" charset="0"/>
                  </a:rPr>
                  <a:t>PLANT</a:t>
                </a:r>
              </a:p>
              <a:p>
                <a:pPr algn="ctr">
                  <a:lnSpc>
                    <a:spcPct val="80000"/>
                  </a:lnSpc>
                </a:pPr>
                <a:r>
                  <a:rPr lang="it-IT" sz="1400" b="1" spc="-150" dirty="0">
                    <a:solidFill>
                      <a:schemeClr val="bg1"/>
                    </a:solidFill>
                    <a:latin typeface="Arial" pitchFamily="34" charset="0"/>
                    <a:cs typeface="Arial" pitchFamily="34" charset="0"/>
                  </a:rPr>
                  <a:t>NEEDS</a:t>
                </a:r>
              </a:p>
            </p:txBody>
          </p:sp>
          <p:sp>
            <p:nvSpPr>
              <p:cNvPr id="34" name="CasellaDiTesto 10">
                <a:extLst>
                  <a:ext uri="{FF2B5EF4-FFF2-40B4-BE49-F238E27FC236}">
                    <a16:creationId xmlns:a16="http://schemas.microsoft.com/office/drawing/2014/main" id="{AF80AD19-3460-4C82-A686-5200DDF818ED}"/>
                  </a:ext>
                </a:extLst>
              </p:cNvPr>
              <p:cNvSpPr txBox="1"/>
              <p:nvPr/>
            </p:nvSpPr>
            <p:spPr>
              <a:xfrm>
                <a:off x="5161670" y="4219320"/>
                <a:ext cx="708848" cy="437043"/>
              </a:xfrm>
              <a:prstGeom prst="rect">
                <a:avLst/>
              </a:prstGeom>
              <a:noFill/>
            </p:spPr>
            <p:txBody>
              <a:bodyPr wrap="none" rtlCol="0">
                <a:spAutoFit/>
              </a:bodyPr>
              <a:lstStyle/>
              <a:p>
                <a:pPr algn="ctr">
                  <a:lnSpc>
                    <a:spcPct val="80000"/>
                  </a:lnSpc>
                </a:pPr>
                <a:r>
                  <a:rPr lang="it-IT" sz="1400" b="1" spc="-150" dirty="0">
                    <a:solidFill>
                      <a:schemeClr val="bg1"/>
                    </a:solidFill>
                    <a:latin typeface="Arial" pitchFamily="34" charset="0"/>
                    <a:cs typeface="Arial" pitchFamily="34" charset="0"/>
                  </a:rPr>
                  <a:t>SOIL</a:t>
                </a:r>
              </a:p>
              <a:p>
                <a:pPr algn="ctr">
                  <a:lnSpc>
                    <a:spcPct val="80000"/>
                  </a:lnSpc>
                </a:pPr>
                <a:r>
                  <a:rPr lang="it-IT" sz="1400" b="1" spc="-150" dirty="0">
                    <a:solidFill>
                      <a:schemeClr val="bg1"/>
                    </a:solidFill>
                    <a:latin typeface="Arial" pitchFamily="34" charset="0"/>
                    <a:cs typeface="Arial" pitchFamily="34" charset="0"/>
                  </a:rPr>
                  <a:t>NEEDS</a:t>
                </a:r>
              </a:p>
            </p:txBody>
          </p:sp>
          <p:sp>
            <p:nvSpPr>
              <p:cNvPr id="35" name="CasellaDiTesto 11">
                <a:extLst>
                  <a:ext uri="{FF2B5EF4-FFF2-40B4-BE49-F238E27FC236}">
                    <a16:creationId xmlns:a16="http://schemas.microsoft.com/office/drawing/2014/main" id="{F0CE8D22-FD5B-4833-A5B1-B1EA4A2C2A21}"/>
                  </a:ext>
                </a:extLst>
              </p:cNvPr>
              <p:cNvSpPr txBox="1"/>
              <p:nvPr/>
            </p:nvSpPr>
            <p:spPr>
              <a:xfrm>
                <a:off x="3401169" y="2599493"/>
                <a:ext cx="974436" cy="387798"/>
              </a:xfrm>
              <a:prstGeom prst="rect">
                <a:avLst/>
              </a:prstGeom>
              <a:noFill/>
            </p:spPr>
            <p:txBody>
              <a:bodyPr wrap="square" rtlCol="0">
                <a:spAutoFit/>
              </a:bodyPr>
              <a:lstStyle/>
              <a:p>
                <a:pPr algn="ctr">
                  <a:lnSpc>
                    <a:spcPct val="80000"/>
                  </a:lnSpc>
                </a:pPr>
                <a:r>
                  <a:rPr lang="it-IT" sz="1200" b="1" spc="-150" dirty="0">
                    <a:solidFill>
                      <a:schemeClr val="bg1"/>
                    </a:solidFill>
                    <a:latin typeface="Arial" pitchFamily="34" charset="0"/>
                    <a:cs typeface="Arial" pitchFamily="34" charset="0"/>
                  </a:rPr>
                  <a:t>MICRO</a:t>
                </a:r>
              </a:p>
              <a:p>
                <a:pPr algn="ctr">
                  <a:lnSpc>
                    <a:spcPct val="80000"/>
                  </a:lnSpc>
                </a:pPr>
                <a:r>
                  <a:rPr lang="it-IT" sz="1200" b="1" spc="-150" dirty="0">
                    <a:solidFill>
                      <a:schemeClr val="bg1"/>
                    </a:solidFill>
                    <a:latin typeface="Arial" pitchFamily="34" charset="0"/>
                    <a:cs typeface="Arial" pitchFamily="34" charset="0"/>
                  </a:rPr>
                  <a:t>NUTRIENTS</a:t>
                </a:r>
              </a:p>
            </p:txBody>
          </p:sp>
          <p:sp>
            <p:nvSpPr>
              <p:cNvPr id="36" name="CasellaDiTesto 13">
                <a:extLst>
                  <a:ext uri="{FF2B5EF4-FFF2-40B4-BE49-F238E27FC236}">
                    <a16:creationId xmlns:a16="http://schemas.microsoft.com/office/drawing/2014/main" id="{4594BEBF-E50F-4C59-A9B8-F2A784D15B31}"/>
                  </a:ext>
                </a:extLst>
              </p:cNvPr>
              <p:cNvSpPr txBox="1"/>
              <p:nvPr/>
            </p:nvSpPr>
            <p:spPr>
              <a:xfrm>
                <a:off x="5831547" y="2134272"/>
                <a:ext cx="974436" cy="387798"/>
              </a:xfrm>
              <a:prstGeom prst="rect">
                <a:avLst/>
              </a:prstGeom>
              <a:noFill/>
            </p:spPr>
            <p:txBody>
              <a:bodyPr wrap="square" rtlCol="0">
                <a:spAutoFit/>
              </a:bodyPr>
              <a:lstStyle/>
              <a:p>
                <a:pPr algn="ctr">
                  <a:lnSpc>
                    <a:spcPct val="80000"/>
                  </a:lnSpc>
                </a:pPr>
                <a:r>
                  <a:rPr lang="it-IT" sz="1200" b="1" spc="-150" dirty="0">
                    <a:solidFill>
                      <a:schemeClr val="bg1"/>
                    </a:solidFill>
                    <a:latin typeface="Arial" pitchFamily="34" charset="0"/>
                    <a:cs typeface="Arial" pitchFamily="34" charset="0"/>
                  </a:rPr>
                  <a:t>BIO</a:t>
                </a:r>
              </a:p>
              <a:p>
                <a:pPr algn="ctr">
                  <a:lnSpc>
                    <a:spcPct val="80000"/>
                  </a:lnSpc>
                </a:pPr>
                <a:r>
                  <a:rPr lang="it-IT" sz="1200" b="1" spc="-150" dirty="0">
                    <a:solidFill>
                      <a:schemeClr val="bg1"/>
                    </a:solidFill>
                    <a:latin typeface="Arial" pitchFamily="34" charset="0"/>
                    <a:cs typeface="Arial" pitchFamily="34" charset="0"/>
                  </a:rPr>
                  <a:t>CONTROL</a:t>
                </a:r>
              </a:p>
            </p:txBody>
          </p:sp>
          <p:sp>
            <p:nvSpPr>
              <p:cNvPr id="37" name="CasellaDiTesto 14">
                <a:extLst>
                  <a:ext uri="{FF2B5EF4-FFF2-40B4-BE49-F238E27FC236}">
                    <a16:creationId xmlns:a16="http://schemas.microsoft.com/office/drawing/2014/main" id="{B15465AA-1935-4D55-994F-30CF858EB0D7}"/>
                  </a:ext>
                </a:extLst>
              </p:cNvPr>
              <p:cNvSpPr txBox="1"/>
              <p:nvPr/>
            </p:nvSpPr>
            <p:spPr>
              <a:xfrm>
                <a:off x="3301027" y="4057505"/>
                <a:ext cx="1042494" cy="387798"/>
              </a:xfrm>
              <a:prstGeom prst="rect">
                <a:avLst/>
              </a:prstGeom>
              <a:noFill/>
            </p:spPr>
            <p:txBody>
              <a:bodyPr wrap="square" rtlCol="0">
                <a:spAutoFit/>
              </a:bodyPr>
              <a:lstStyle/>
              <a:p>
                <a:pPr algn="ctr">
                  <a:lnSpc>
                    <a:spcPct val="80000"/>
                  </a:lnSpc>
                </a:pPr>
                <a:r>
                  <a:rPr lang="it-IT" sz="1200" b="1" spc="-150" dirty="0">
                    <a:solidFill>
                      <a:schemeClr val="bg1"/>
                    </a:solidFill>
                    <a:latin typeface="Arial" pitchFamily="34" charset="0"/>
                    <a:cs typeface="Arial" pitchFamily="34" charset="0"/>
                  </a:rPr>
                  <a:t>BIO</a:t>
                </a:r>
              </a:p>
              <a:p>
                <a:pPr algn="ctr">
                  <a:lnSpc>
                    <a:spcPct val="80000"/>
                  </a:lnSpc>
                </a:pPr>
                <a:r>
                  <a:rPr lang="it-IT" sz="1200" b="1" spc="-150" dirty="0">
                    <a:solidFill>
                      <a:schemeClr val="bg1"/>
                    </a:solidFill>
                    <a:latin typeface="Arial" pitchFamily="34" charset="0"/>
                    <a:cs typeface="Arial" pitchFamily="34" charset="0"/>
                  </a:rPr>
                  <a:t>STIMULANTS</a:t>
                </a:r>
              </a:p>
            </p:txBody>
          </p:sp>
          <p:sp>
            <p:nvSpPr>
              <p:cNvPr id="38" name="CasellaDiTesto 15">
                <a:extLst>
                  <a:ext uri="{FF2B5EF4-FFF2-40B4-BE49-F238E27FC236}">
                    <a16:creationId xmlns:a16="http://schemas.microsoft.com/office/drawing/2014/main" id="{68C2D016-D497-45E6-9DC7-300D37A8C08B}"/>
                  </a:ext>
                </a:extLst>
              </p:cNvPr>
              <p:cNvSpPr txBox="1"/>
              <p:nvPr/>
            </p:nvSpPr>
            <p:spPr>
              <a:xfrm>
                <a:off x="4335742" y="5068741"/>
                <a:ext cx="1042494" cy="387798"/>
              </a:xfrm>
              <a:prstGeom prst="rect">
                <a:avLst/>
              </a:prstGeom>
              <a:noFill/>
            </p:spPr>
            <p:txBody>
              <a:bodyPr wrap="square" rtlCol="0">
                <a:spAutoFit/>
              </a:bodyPr>
              <a:lstStyle/>
              <a:p>
                <a:pPr algn="ctr">
                  <a:lnSpc>
                    <a:spcPct val="80000"/>
                  </a:lnSpc>
                </a:pPr>
                <a:r>
                  <a:rPr lang="it-IT" sz="1200" b="1" spc="-150" dirty="0">
                    <a:solidFill>
                      <a:schemeClr val="bg1"/>
                    </a:solidFill>
                    <a:latin typeface="Arial" pitchFamily="34" charset="0"/>
                    <a:cs typeface="Arial" pitchFamily="34" charset="0"/>
                  </a:rPr>
                  <a:t>BIO</a:t>
                </a:r>
              </a:p>
              <a:p>
                <a:pPr algn="ctr">
                  <a:lnSpc>
                    <a:spcPct val="80000"/>
                  </a:lnSpc>
                </a:pPr>
                <a:r>
                  <a:rPr lang="it-IT" sz="1200" b="1" spc="-150" dirty="0">
                    <a:solidFill>
                      <a:schemeClr val="bg1"/>
                    </a:solidFill>
                    <a:latin typeface="Arial" pitchFamily="34" charset="0"/>
                    <a:cs typeface="Arial" pitchFamily="34" charset="0"/>
                  </a:rPr>
                  <a:t>FERTILIZERS</a:t>
                </a:r>
              </a:p>
            </p:txBody>
          </p:sp>
          <p:sp>
            <p:nvSpPr>
              <p:cNvPr id="39" name="CasellaDiTesto 19">
                <a:extLst>
                  <a:ext uri="{FF2B5EF4-FFF2-40B4-BE49-F238E27FC236}">
                    <a16:creationId xmlns:a16="http://schemas.microsoft.com/office/drawing/2014/main" id="{94BDEC93-D838-4C56-B287-7F97236F6C79}"/>
                  </a:ext>
                </a:extLst>
              </p:cNvPr>
              <p:cNvSpPr txBox="1"/>
              <p:nvPr/>
            </p:nvSpPr>
            <p:spPr>
              <a:xfrm>
                <a:off x="1213945" y="1697229"/>
                <a:ext cx="1803187" cy="437043"/>
              </a:xfrm>
              <a:prstGeom prst="rect">
                <a:avLst/>
              </a:prstGeom>
              <a:noFill/>
            </p:spPr>
            <p:txBody>
              <a:bodyPr wrap="square" rtlCol="0">
                <a:spAutoFit/>
              </a:bodyPr>
              <a:lstStyle/>
              <a:p>
                <a:pPr algn="r">
                  <a:lnSpc>
                    <a:spcPct val="80000"/>
                  </a:lnSpc>
                </a:pPr>
                <a:r>
                  <a:rPr lang="it-IT" sz="1400" dirty="0">
                    <a:latin typeface="Arial" pitchFamily="34" charset="0"/>
                    <a:cs typeface="Arial" pitchFamily="34" charset="0"/>
                  </a:rPr>
                  <a:t>DEFICIÊNCIAS / DESEQUILIBRIOS</a:t>
                </a:r>
              </a:p>
            </p:txBody>
          </p:sp>
          <p:sp>
            <p:nvSpPr>
              <p:cNvPr id="40" name="CasellaDiTesto 20">
                <a:extLst>
                  <a:ext uri="{FF2B5EF4-FFF2-40B4-BE49-F238E27FC236}">
                    <a16:creationId xmlns:a16="http://schemas.microsoft.com/office/drawing/2014/main" id="{3EC445A5-4376-4E32-BEEB-DF5D9518BC71}"/>
                  </a:ext>
                </a:extLst>
              </p:cNvPr>
              <p:cNvSpPr txBox="1"/>
              <p:nvPr/>
            </p:nvSpPr>
            <p:spPr>
              <a:xfrm>
                <a:off x="1024758" y="3230921"/>
                <a:ext cx="1351417" cy="437043"/>
              </a:xfrm>
              <a:prstGeom prst="rect">
                <a:avLst/>
              </a:prstGeom>
              <a:noFill/>
            </p:spPr>
            <p:txBody>
              <a:bodyPr wrap="square" rtlCol="0">
                <a:spAutoFit/>
              </a:bodyPr>
              <a:lstStyle/>
              <a:p>
                <a:pPr algn="r">
                  <a:lnSpc>
                    <a:spcPct val="80000"/>
                  </a:lnSpc>
                </a:pPr>
                <a:r>
                  <a:rPr lang="it-IT" sz="1400" dirty="0">
                    <a:latin typeface="Arial" pitchFamily="34" charset="0"/>
                    <a:cs typeface="Arial" pitchFamily="34" charset="0"/>
                  </a:rPr>
                  <a:t>DESAFIOS CLIMÁTICOS</a:t>
                </a:r>
              </a:p>
            </p:txBody>
          </p:sp>
          <p:sp>
            <p:nvSpPr>
              <p:cNvPr id="41" name="CasellaDiTesto 21">
                <a:extLst>
                  <a:ext uri="{FF2B5EF4-FFF2-40B4-BE49-F238E27FC236}">
                    <a16:creationId xmlns:a16="http://schemas.microsoft.com/office/drawing/2014/main" id="{196028D1-C9D2-4EB9-94DE-A4AA6684408E}"/>
                  </a:ext>
                </a:extLst>
              </p:cNvPr>
              <p:cNvSpPr txBox="1"/>
              <p:nvPr/>
            </p:nvSpPr>
            <p:spPr>
              <a:xfrm>
                <a:off x="1837169" y="5007450"/>
                <a:ext cx="1218851" cy="387798"/>
              </a:xfrm>
              <a:prstGeom prst="rect">
                <a:avLst/>
              </a:prstGeom>
              <a:noFill/>
            </p:spPr>
            <p:txBody>
              <a:bodyPr wrap="square" rtlCol="0">
                <a:spAutoFit/>
              </a:bodyPr>
              <a:lstStyle/>
              <a:p>
                <a:pPr algn="r">
                  <a:lnSpc>
                    <a:spcPct val="80000"/>
                  </a:lnSpc>
                </a:pPr>
                <a:r>
                  <a:rPr lang="it-IT" sz="1200" dirty="0">
                    <a:latin typeface="Arial" pitchFamily="34" charset="0"/>
                    <a:cs typeface="Arial" pitchFamily="34" charset="0"/>
                  </a:rPr>
                  <a:t>ERVAS DANINHAS </a:t>
                </a:r>
              </a:p>
            </p:txBody>
          </p:sp>
          <p:sp>
            <p:nvSpPr>
              <p:cNvPr id="42" name="CasellaDiTesto 22">
                <a:extLst>
                  <a:ext uri="{FF2B5EF4-FFF2-40B4-BE49-F238E27FC236}">
                    <a16:creationId xmlns:a16="http://schemas.microsoft.com/office/drawing/2014/main" id="{8800F000-4696-4271-B938-671731ACD518}"/>
                  </a:ext>
                </a:extLst>
              </p:cNvPr>
              <p:cNvSpPr txBox="1"/>
              <p:nvPr/>
            </p:nvSpPr>
            <p:spPr>
              <a:xfrm>
                <a:off x="7592108" y="5015206"/>
                <a:ext cx="1507610" cy="437043"/>
              </a:xfrm>
              <a:prstGeom prst="rect">
                <a:avLst/>
              </a:prstGeom>
              <a:noFill/>
            </p:spPr>
            <p:txBody>
              <a:bodyPr wrap="square" rtlCol="0">
                <a:spAutoFit/>
              </a:bodyPr>
              <a:lstStyle/>
              <a:p>
                <a:pPr>
                  <a:lnSpc>
                    <a:spcPct val="80000"/>
                  </a:lnSpc>
                </a:pPr>
                <a:r>
                  <a:rPr lang="it-IT" sz="1400" dirty="0">
                    <a:latin typeface="Arial" pitchFamily="34" charset="0"/>
                    <a:cs typeface="Arial" pitchFamily="34" charset="0"/>
                  </a:rPr>
                  <a:t>DEGRADAÇÃO DO SOLO</a:t>
                </a:r>
              </a:p>
            </p:txBody>
          </p:sp>
          <p:sp>
            <p:nvSpPr>
              <p:cNvPr id="43" name="CasellaDiTesto 23">
                <a:extLst>
                  <a:ext uri="{FF2B5EF4-FFF2-40B4-BE49-F238E27FC236}">
                    <a16:creationId xmlns:a16="http://schemas.microsoft.com/office/drawing/2014/main" id="{33C0E6B4-46EA-4A96-9B70-3A9209A4AFC7}"/>
                  </a:ext>
                </a:extLst>
              </p:cNvPr>
              <p:cNvSpPr txBox="1"/>
              <p:nvPr/>
            </p:nvSpPr>
            <p:spPr>
              <a:xfrm>
                <a:off x="8086866" y="3225519"/>
                <a:ext cx="1507610" cy="437043"/>
              </a:xfrm>
              <a:prstGeom prst="rect">
                <a:avLst/>
              </a:prstGeom>
              <a:noFill/>
            </p:spPr>
            <p:txBody>
              <a:bodyPr wrap="square" rtlCol="0">
                <a:spAutoFit/>
              </a:bodyPr>
              <a:lstStyle/>
              <a:p>
                <a:pPr>
                  <a:lnSpc>
                    <a:spcPct val="80000"/>
                  </a:lnSpc>
                </a:pPr>
                <a:r>
                  <a:rPr lang="it-IT" sz="1400" dirty="0">
                    <a:latin typeface="Arial" pitchFamily="34" charset="0"/>
                    <a:cs typeface="Arial" pitchFamily="34" charset="0"/>
                  </a:rPr>
                  <a:t>MANEJO DE DOENÇAS</a:t>
                </a:r>
              </a:p>
            </p:txBody>
          </p:sp>
          <p:sp>
            <p:nvSpPr>
              <p:cNvPr id="44" name="CasellaDiTesto 24">
                <a:extLst>
                  <a:ext uri="{FF2B5EF4-FFF2-40B4-BE49-F238E27FC236}">
                    <a16:creationId xmlns:a16="http://schemas.microsoft.com/office/drawing/2014/main" id="{86A80D2A-8538-4C28-94CC-F18862B09056}"/>
                  </a:ext>
                </a:extLst>
              </p:cNvPr>
              <p:cNvSpPr txBox="1"/>
              <p:nvPr/>
            </p:nvSpPr>
            <p:spPr>
              <a:xfrm>
                <a:off x="7529890" y="1724847"/>
                <a:ext cx="1507610" cy="437043"/>
              </a:xfrm>
              <a:prstGeom prst="rect">
                <a:avLst/>
              </a:prstGeom>
              <a:noFill/>
            </p:spPr>
            <p:txBody>
              <a:bodyPr wrap="square" rtlCol="0">
                <a:spAutoFit/>
              </a:bodyPr>
              <a:lstStyle/>
              <a:p>
                <a:pPr>
                  <a:lnSpc>
                    <a:spcPct val="80000"/>
                  </a:lnSpc>
                </a:pPr>
                <a:r>
                  <a:rPr lang="it-IT" sz="1400" dirty="0">
                    <a:latin typeface="Arial" pitchFamily="34" charset="0"/>
                    <a:cs typeface="Arial" pitchFamily="34" charset="0"/>
                  </a:rPr>
                  <a:t>MANEJO DE PRAGAS </a:t>
                </a:r>
              </a:p>
            </p:txBody>
          </p:sp>
          <p:sp>
            <p:nvSpPr>
              <p:cNvPr id="45" name="CasellaDiTesto 25">
                <a:extLst>
                  <a:ext uri="{FF2B5EF4-FFF2-40B4-BE49-F238E27FC236}">
                    <a16:creationId xmlns:a16="http://schemas.microsoft.com/office/drawing/2014/main" id="{0C6CCE39-38B7-49E3-B104-1896376204E2}"/>
                  </a:ext>
                </a:extLst>
              </p:cNvPr>
              <p:cNvSpPr txBox="1"/>
              <p:nvPr/>
            </p:nvSpPr>
            <p:spPr>
              <a:xfrm>
                <a:off x="6477471" y="3391353"/>
                <a:ext cx="974436" cy="387798"/>
              </a:xfrm>
              <a:prstGeom prst="rect">
                <a:avLst/>
              </a:prstGeom>
              <a:noFill/>
            </p:spPr>
            <p:txBody>
              <a:bodyPr wrap="square" rtlCol="0">
                <a:spAutoFit/>
              </a:bodyPr>
              <a:lstStyle/>
              <a:p>
                <a:pPr algn="ctr">
                  <a:lnSpc>
                    <a:spcPct val="80000"/>
                  </a:lnSpc>
                </a:pPr>
                <a:r>
                  <a:rPr lang="it-IT" sz="2400" b="1" spc="-150" dirty="0">
                    <a:solidFill>
                      <a:schemeClr val="bg1"/>
                    </a:solidFill>
                    <a:latin typeface="Arial" pitchFamily="34" charset="0"/>
                    <a:cs typeface="Arial" pitchFamily="34" charset="0"/>
                  </a:rPr>
                  <a:t>SEED</a:t>
                </a:r>
              </a:p>
            </p:txBody>
          </p:sp>
          <p:sp>
            <p:nvSpPr>
              <p:cNvPr id="46" name="CasellaDiTesto 26">
                <a:extLst>
                  <a:ext uri="{FF2B5EF4-FFF2-40B4-BE49-F238E27FC236}">
                    <a16:creationId xmlns:a16="http://schemas.microsoft.com/office/drawing/2014/main" id="{F0B6750E-285A-403F-8D3B-ACB984B87917}"/>
                  </a:ext>
                </a:extLst>
              </p:cNvPr>
              <p:cNvSpPr txBox="1"/>
              <p:nvPr/>
            </p:nvSpPr>
            <p:spPr>
              <a:xfrm>
                <a:off x="4576481" y="1755058"/>
                <a:ext cx="974436" cy="387798"/>
              </a:xfrm>
              <a:prstGeom prst="rect">
                <a:avLst/>
              </a:prstGeom>
              <a:noFill/>
            </p:spPr>
            <p:txBody>
              <a:bodyPr wrap="square" rtlCol="0">
                <a:spAutoFit/>
              </a:bodyPr>
              <a:lstStyle/>
              <a:p>
                <a:pPr algn="ctr">
                  <a:lnSpc>
                    <a:spcPct val="80000"/>
                  </a:lnSpc>
                </a:pPr>
                <a:r>
                  <a:rPr lang="it-IT" sz="2400" b="1" spc="-150" dirty="0">
                    <a:solidFill>
                      <a:schemeClr val="bg1"/>
                    </a:solidFill>
                    <a:latin typeface="Arial" pitchFamily="34" charset="0"/>
                    <a:cs typeface="Arial" pitchFamily="34" charset="0"/>
                  </a:rPr>
                  <a:t>PPP</a:t>
                </a:r>
              </a:p>
            </p:txBody>
          </p:sp>
          <p:sp>
            <p:nvSpPr>
              <p:cNvPr id="47" name="CasellaDiTesto 27">
                <a:extLst>
                  <a:ext uri="{FF2B5EF4-FFF2-40B4-BE49-F238E27FC236}">
                    <a16:creationId xmlns:a16="http://schemas.microsoft.com/office/drawing/2014/main" id="{674CD67A-C065-49C3-92AD-EB70AE235C8A}"/>
                  </a:ext>
                </a:extLst>
              </p:cNvPr>
              <p:cNvSpPr txBox="1"/>
              <p:nvPr/>
            </p:nvSpPr>
            <p:spPr>
              <a:xfrm>
                <a:off x="5895065" y="4738889"/>
                <a:ext cx="974436" cy="387798"/>
              </a:xfrm>
              <a:prstGeom prst="rect">
                <a:avLst/>
              </a:prstGeom>
              <a:noFill/>
            </p:spPr>
            <p:txBody>
              <a:bodyPr wrap="square" rtlCol="0">
                <a:spAutoFit/>
              </a:bodyPr>
              <a:lstStyle/>
              <a:p>
                <a:pPr algn="ctr">
                  <a:lnSpc>
                    <a:spcPct val="80000"/>
                  </a:lnSpc>
                </a:pPr>
                <a:r>
                  <a:rPr lang="it-IT" sz="2400" b="1" spc="-150" dirty="0">
                    <a:solidFill>
                      <a:schemeClr val="bg1"/>
                    </a:solidFill>
                    <a:latin typeface="Arial" pitchFamily="34" charset="0"/>
                    <a:cs typeface="Arial" pitchFamily="34" charset="0"/>
                  </a:rPr>
                  <a:t>NPK+</a:t>
                </a:r>
              </a:p>
            </p:txBody>
          </p:sp>
          <p:pic>
            <p:nvPicPr>
              <p:cNvPr id="48" name="Immagine 12">
                <a:extLst>
                  <a:ext uri="{FF2B5EF4-FFF2-40B4-BE49-F238E27FC236}">
                    <a16:creationId xmlns:a16="http://schemas.microsoft.com/office/drawing/2014/main" id="{1F861487-3B4A-427D-848A-33C86C97EF6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49" name="Rettangolo 16">
                <a:extLst>
                  <a:ext uri="{FF2B5EF4-FFF2-40B4-BE49-F238E27FC236}">
                    <a16:creationId xmlns:a16="http://schemas.microsoft.com/office/drawing/2014/main" id="{0D53D1E5-F537-4641-A543-58C7F0C0EB4B}"/>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50" name="Connettore 1 17">
                <a:extLst>
                  <a:ext uri="{FF2B5EF4-FFF2-40B4-BE49-F238E27FC236}">
                    <a16:creationId xmlns:a16="http://schemas.microsoft.com/office/drawing/2014/main" id="{F6AD24BA-8F5C-452D-98BA-BA588BFA33DB}"/>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grpSp>
      </p:grpSp>
      <p:sp>
        <p:nvSpPr>
          <p:cNvPr id="2" name="Rettangolo 1"/>
          <p:cNvSpPr/>
          <p:nvPr/>
        </p:nvSpPr>
        <p:spPr>
          <a:xfrm>
            <a:off x="279204" y="179991"/>
            <a:ext cx="10016041" cy="553998"/>
          </a:xfrm>
          <a:prstGeom prst="rect">
            <a:avLst/>
          </a:prstGeom>
        </p:spPr>
        <p:txBody>
          <a:bodyPr wrap="square">
            <a:spAutoFit/>
          </a:bodyPr>
          <a:lstStyle/>
          <a:p>
            <a:r>
              <a:rPr lang="fi-FI" sz="3000" b="1" cap="all" dirty="0">
                <a:ln w="19050">
                  <a:noFill/>
                </a:ln>
                <a:solidFill>
                  <a:srgbClr val="163D28"/>
                </a:solidFill>
                <a:latin typeface="Arial" pitchFamily="34" charset="0"/>
                <a:cs typeface="Arial" pitchFamily="34" charset="0"/>
              </a:rPr>
              <a:t>MUDANÇA ATUAL</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9" name="Rettangolo 1">
            <a:extLst>
              <a:ext uri="{FF2B5EF4-FFF2-40B4-BE49-F238E27FC236}">
                <a16:creationId xmlns:a16="http://schemas.microsoft.com/office/drawing/2014/main" id="{D3708E0C-DBBC-4C22-BA89-F6B3BE5F62B6}"/>
              </a:ext>
            </a:extLst>
          </p:cNvPr>
          <p:cNvSpPr/>
          <p:nvPr/>
        </p:nvSpPr>
        <p:spPr>
          <a:xfrm>
            <a:off x="279204" y="179991"/>
            <a:ext cx="10016041" cy="553998"/>
          </a:xfrm>
          <a:prstGeom prst="rect">
            <a:avLst/>
          </a:prstGeom>
        </p:spPr>
        <p:txBody>
          <a:bodyPr wrap="square">
            <a:spAutoFit/>
          </a:bodyPr>
          <a:lstStyle/>
          <a:p>
            <a:r>
              <a:rPr lang="fi-FI" sz="3000" b="1" cap="all" dirty="0">
                <a:ln w="19050">
                  <a:noFill/>
                </a:ln>
                <a:solidFill>
                  <a:srgbClr val="163D28"/>
                </a:solidFill>
                <a:latin typeface="Arial" pitchFamily="34" charset="0"/>
                <a:cs typeface="Arial" pitchFamily="34" charset="0"/>
              </a:rPr>
              <a:t>MUDANÇA ATUAL</a:t>
            </a:r>
          </a:p>
        </p:txBody>
      </p:sp>
    </p:spTree>
    <p:extLst>
      <p:ext uri="{BB962C8B-B14F-4D97-AF65-F5344CB8AC3E}">
        <p14:creationId xmlns:p14="http://schemas.microsoft.com/office/powerpoint/2010/main" val="17897593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magine 13">
            <a:extLst>
              <a:ext uri="{FF2B5EF4-FFF2-40B4-BE49-F238E27FC236}">
                <a16:creationId xmlns:a16="http://schemas.microsoft.com/office/drawing/2014/main" id="{14ADC4E9-5D8C-4F5B-89F3-7A86D17962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18" y="5082"/>
            <a:ext cx="10692701" cy="7564990"/>
          </a:xfrm>
          <a:prstGeom prst="rect">
            <a:avLst/>
          </a:prstGeom>
        </p:spPr>
      </p:pic>
      <p:pic>
        <p:nvPicPr>
          <p:cNvPr id="15" name="Immagine 14">
            <a:extLst>
              <a:ext uri="{FF2B5EF4-FFF2-40B4-BE49-F238E27FC236}">
                <a16:creationId xmlns:a16="http://schemas.microsoft.com/office/drawing/2014/main" id="{F609BB32-3FEE-4A2C-B5E1-17B61A9B986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6" name="Rettangolo 15">
            <a:extLst>
              <a:ext uri="{FF2B5EF4-FFF2-40B4-BE49-F238E27FC236}">
                <a16:creationId xmlns:a16="http://schemas.microsoft.com/office/drawing/2014/main" id="{47466A1E-0FBB-497B-97FA-2B4C49E1E8C4}"/>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20" name="Connettore 1 17">
            <a:extLst>
              <a:ext uri="{FF2B5EF4-FFF2-40B4-BE49-F238E27FC236}">
                <a16:creationId xmlns:a16="http://schemas.microsoft.com/office/drawing/2014/main" id="{A454C596-9A8B-40F8-9B0F-75A7A02AFAD7}"/>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1" name="CasellaDiTesto 20">
            <a:extLst>
              <a:ext uri="{FF2B5EF4-FFF2-40B4-BE49-F238E27FC236}">
                <a16:creationId xmlns:a16="http://schemas.microsoft.com/office/drawing/2014/main" id="{9A0D05F8-D562-4332-A660-1154D0152236}"/>
              </a:ext>
            </a:extLst>
          </p:cNvPr>
          <p:cNvSpPr txBox="1"/>
          <p:nvPr/>
        </p:nvSpPr>
        <p:spPr>
          <a:xfrm>
            <a:off x="1231222" y="4149617"/>
            <a:ext cx="1490280" cy="486287"/>
          </a:xfrm>
          <a:prstGeom prst="rect">
            <a:avLst/>
          </a:prstGeom>
          <a:noFill/>
        </p:spPr>
        <p:txBody>
          <a:bodyPr wrap="none" rtlCol="0">
            <a:spAutoFit/>
          </a:bodyPr>
          <a:lstStyle/>
          <a:p>
            <a:pPr algn="ctr">
              <a:lnSpc>
                <a:spcPct val="80000"/>
              </a:lnSpc>
            </a:pPr>
            <a:r>
              <a:rPr lang="en-US" sz="1600" b="1" dirty="0">
                <a:solidFill>
                  <a:srgbClr val="FFFFFF"/>
                </a:solidFill>
                <a:latin typeface="Arial" pitchFamily="34" charset="0"/>
                <a:cs typeface="Arial" pitchFamily="34" charset="0"/>
              </a:rPr>
              <a:t>AUMENTO</a:t>
            </a:r>
          </a:p>
          <a:p>
            <a:pPr algn="ctr">
              <a:lnSpc>
                <a:spcPct val="80000"/>
              </a:lnSpc>
            </a:pPr>
            <a:r>
              <a:rPr lang="en-US" sz="1600" b="1" dirty="0">
                <a:solidFill>
                  <a:srgbClr val="FFFFFF"/>
                </a:solidFill>
                <a:latin typeface="Arial" pitchFamily="34" charset="0"/>
                <a:cs typeface="Arial" pitchFamily="34" charset="0"/>
              </a:rPr>
              <a:t> DA ADOÇÃO</a:t>
            </a:r>
          </a:p>
        </p:txBody>
      </p:sp>
      <p:sp>
        <p:nvSpPr>
          <p:cNvPr id="22" name="CasellaDiTesto 21">
            <a:extLst>
              <a:ext uri="{FF2B5EF4-FFF2-40B4-BE49-F238E27FC236}">
                <a16:creationId xmlns:a16="http://schemas.microsoft.com/office/drawing/2014/main" id="{5D2745CC-A5BA-47BB-8E71-5181AA413EB6}"/>
              </a:ext>
            </a:extLst>
          </p:cNvPr>
          <p:cNvSpPr txBox="1"/>
          <p:nvPr/>
        </p:nvSpPr>
        <p:spPr>
          <a:xfrm>
            <a:off x="5194242" y="5792254"/>
            <a:ext cx="1999265" cy="830997"/>
          </a:xfrm>
          <a:prstGeom prst="rect">
            <a:avLst/>
          </a:prstGeom>
          <a:noFill/>
        </p:spPr>
        <p:txBody>
          <a:bodyPr wrap="none" rtlCol="0">
            <a:spAutoFit/>
          </a:bodyPr>
          <a:lstStyle/>
          <a:p>
            <a:pPr algn="ctr">
              <a:lnSpc>
                <a:spcPct val="80000"/>
              </a:lnSpc>
            </a:pPr>
            <a:r>
              <a:rPr lang="de-DE" sz="1500" b="1" dirty="0">
                <a:solidFill>
                  <a:schemeClr val="bg1"/>
                </a:solidFill>
                <a:latin typeface="Arial" pitchFamily="34" charset="0"/>
                <a:cs typeface="Arial" pitchFamily="34" charset="0"/>
              </a:rPr>
              <a:t>OTIMIZAÇÃO</a:t>
            </a:r>
          </a:p>
          <a:p>
            <a:pPr algn="ctr">
              <a:lnSpc>
                <a:spcPct val="80000"/>
              </a:lnSpc>
            </a:pPr>
            <a:r>
              <a:rPr lang="de-DE" sz="1500" b="1" dirty="0">
                <a:solidFill>
                  <a:schemeClr val="bg1"/>
                </a:solidFill>
                <a:latin typeface="Arial" pitchFamily="34" charset="0"/>
                <a:cs typeface="Arial" pitchFamily="34" charset="0"/>
              </a:rPr>
              <a:t> USO</a:t>
            </a:r>
          </a:p>
          <a:p>
            <a:pPr algn="ctr">
              <a:lnSpc>
                <a:spcPct val="80000"/>
              </a:lnSpc>
            </a:pPr>
            <a:r>
              <a:rPr lang="de-DE" sz="1500" b="1" dirty="0">
                <a:solidFill>
                  <a:schemeClr val="bg1"/>
                </a:solidFill>
                <a:latin typeface="Arial" pitchFamily="34" charset="0"/>
                <a:cs typeface="Arial" pitchFamily="34" charset="0"/>
              </a:rPr>
              <a:t> DE FERTLIZANTES</a:t>
            </a:r>
          </a:p>
          <a:p>
            <a:pPr algn="ctr">
              <a:lnSpc>
                <a:spcPct val="80000"/>
              </a:lnSpc>
            </a:pPr>
            <a:r>
              <a:rPr lang="de-DE" sz="1500" b="1" dirty="0">
                <a:solidFill>
                  <a:schemeClr val="bg1"/>
                </a:solidFill>
                <a:latin typeface="Arial" pitchFamily="34" charset="0"/>
                <a:cs typeface="Arial" pitchFamily="34" charset="0"/>
              </a:rPr>
              <a:t> MINERAIS</a:t>
            </a:r>
          </a:p>
        </p:txBody>
      </p:sp>
      <p:sp>
        <p:nvSpPr>
          <p:cNvPr id="23" name="CasellaDiTesto 22">
            <a:extLst>
              <a:ext uri="{FF2B5EF4-FFF2-40B4-BE49-F238E27FC236}">
                <a16:creationId xmlns:a16="http://schemas.microsoft.com/office/drawing/2014/main" id="{5412659B-2789-4A93-922D-0F97031803DA}"/>
              </a:ext>
            </a:extLst>
          </p:cNvPr>
          <p:cNvSpPr txBox="1"/>
          <p:nvPr/>
        </p:nvSpPr>
        <p:spPr>
          <a:xfrm>
            <a:off x="4829196" y="1152722"/>
            <a:ext cx="1539139" cy="781752"/>
          </a:xfrm>
          <a:prstGeom prst="rect">
            <a:avLst/>
          </a:prstGeom>
          <a:noFill/>
        </p:spPr>
        <p:txBody>
          <a:bodyPr wrap="none" rtlCol="0">
            <a:spAutoFit/>
          </a:bodyPr>
          <a:lstStyle/>
          <a:p>
            <a:pPr algn="ctr">
              <a:lnSpc>
                <a:spcPct val="80000"/>
              </a:lnSpc>
            </a:pPr>
            <a:r>
              <a:rPr lang="de-DE" sz="1400" b="1" dirty="0">
                <a:solidFill>
                  <a:schemeClr val="bg1"/>
                </a:solidFill>
                <a:latin typeface="Arial" pitchFamily="34" charset="0"/>
                <a:cs typeface="Arial" pitchFamily="34" charset="0"/>
              </a:rPr>
              <a:t>REDUÇÃO</a:t>
            </a:r>
          </a:p>
          <a:p>
            <a:pPr algn="ctr">
              <a:lnSpc>
                <a:spcPct val="80000"/>
              </a:lnSpc>
            </a:pPr>
            <a:r>
              <a:rPr lang="de-DE" sz="1400" b="1" dirty="0">
                <a:solidFill>
                  <a:schemeClr val="bg1"/>
                </a:solidFill>
                <a:latin typeface="Arial" pitchFamily="34" charset="0"/>
                <a:cs typeface="Arial" pitchFamily="34" charset="0"/>
              </a:rPr>
              <a:t> GRADUAL </a:t>
            </a:r>
          </a:p>
          <a:p>
            <a:pPr algn="ctr">
              <a:lnSpc>
                <a:spcPct val="80000"/>
              </a:lnSpc>
            </a:pPr>
            <a:r>
              <a:rPr lang="de-DE" sz="1400" b="1" dirty="0">
                <a:solidFill>
                  <a:schemeClr val="bg1"/>
                </a:solidFill>
                <a:latin typeface="Arial" pitchFamily="34" charset="0"/>
                <a:cs typeface="Arial" pitchFamily="34" charset="0"/>
              </a:rPr>
              <a:t> INTERVENÇÃO</a:t>
            </a:r>
          </a:p>
          <a:p>
            <a:pPr algn="ctr">
              <a:lnSpc>
                <a:spcPct val="80000"/>
              </a:lnSpc>
            </a:pPr>
            <a:r>
              <a:rPr lang="de-DE" sz="1400" b="1" dirty="0">
                <a:solidFill>
                  <a:schemeClr val="bg1"/>
                </a:solidFill>
                <a:latin typeface="Arial" pitchFamily="34" charset="0"/>
                <a:cs typeface="Arial" pitchFamily="34" charset="0"/>
              </a:rPr>
              <a:t> QUÍMICA</a:t>
            </a:r>
          </a:p>
        </p:txBody>
      </p:sp>
      <p:sp>
        <p:nvSpPr>
          <p:cNvPr id="25" name="CasellaDiTesto 24">
            <a:extLst>
              <a:ext uri="{FF2B5EF4-FFF2-40B4-BE49-F238E27FC236}">
                <a16:creationId xmlns:a16="http://schemas.microsoft.com/office/drawing/2014/main" id="{12D07932-B046-4E11-BE5F-956FE0BDF2A4}"/>
              </a:ext>
            </a:extLst>
          </p:cNvPr>
          <p:cNvSpPr txBox="1"/>
          <p:nvPr/>
        </p:nvSpPr>
        <p:spPr>
          <a:xfrm>
            <a:off x="4311436" y="2809383"/>
            <a:ext cx="708848" cy="437043"/>
          </a:xfrm>
          <a:prstGeom prst="rect">
            <a:avLst/>
          </a:prstGeom>
          <a:noFill/>
        </p:spPr>
        <p:txBody>
          <a:bodyPr wrap="none" rtlCol="0">
            <a:spAutoFit/>
          </a:bodyPr>
          <a:lstStyle/>
          <a:p>
            <a:pPr algn="ctr">
              <a:lnSpc>
                <a:spcPct val="80000"/>
              </a:lnSpc>
            </a:pPr>
            <a:r>
              <a:rPr lang="it-IT" sz="1400" b="1" spc="-150" dirty="0">
                <a:solidFill>
                  <a:schemeClr val="bg1"/>
                </a:solidFill>
                <a:latin typeface="Arial" pitchFamily="34" charset="0"/>
                <a:cs typeface="Arial" pitchFamily="34" charset="0"/>
              </a:rPr>
              <a:t>PLANT</a:t>
            </a:r>
          </a:p>
          <a:p>
            <a:pPr algn="ctr">
              <a:lnSpc>
                <a:spcPct val="80000"/>
              </a:lnSpc>
            </a:pPr>
            <a:r>
              <a:rPr lang="it-IT" sz="1400" b="1" spc="-150" dirty="0">
                <a:solidFill>
                  <a:schemeClr val="bg1"/>
                </a:solidFill>
                <a:latin typeface="Arial" pitchFamily="34" charset="0"/>
                <a:cs typeface="Arial" pitchFamily="34" charset="0"/>
              </a:rPr>
              <a:t>NEEDS</a:t>
            </a:r>
          </a:p>
        </p:txBody>
      </p:sp>
      <p:sp>
        <p:nvSpPr>
          <p:cNvPr id="26" name="CasellaDiTesto 25">
            <a:extLst>
              <a:ext uri="{FF2B5EF4-FFF2-40B4-BE49-F238E27FC236}">
                <a16:creationId xmlns:a16="http://schemas.microsoft.com/office/drawing/2014/main" id="{F65C832C-498B-4882-8D3E-AA2F14D1970D}"/>
              </a:ext>
            </a:extLst>
          </p:cNvPr>
          <p:cNvSpPr txBox="1"/>
          <p:nvPr/>
        </p:nvSpPr>
        <p:spPr>
          <a:xfrm>
            <a:off x="5498554" y="4140405"/>
            <a:ext cx="708848" cy="437043"/>
          </a:xfrm>
          <a:prstGeom prst="rect">
            <a:avLst/>
          </a:prstGeom>
          <a:noFill/>
        </p:spPr>
        <p:txBody>
          <a:bodyPr wrap="none" rtlCol="0">
            <a:spAutoFit/>
          </a:bodyPr>
          <a:lstStyle/>
          <a:p>
            <a:pPr algn="ctr">
              <a:lnSpc>
                <a:spcPct val="80000"/>
              </a:lnSpc>
            </a:pPr>
            <a:r>
              <a:rPr lang="it-IT" sz="1400" b="1" spc="-150" dirty="0">
                <a:solidFill>
                  <a:schemeClr val="bg1"/>
                </a:solidFill>
                <a:latin typeface="Arial" pitchFamily="34" charset="0"/>
                <a:cs typeface="Arial" pitchFamily="34" charset="0"/>
              </a:rPr>
              <a:t>SOIL</a:t>
            </a:r>
          </a:p>
          <a:p>
            <a:pPr algn="ctr">
              <a:lnSpc>
                <a:spcPct val="80000"/>
              </a:lnSpc>
            </a:pPr>
            <a:r>
              <a:rPr lang="it-IT" sz="1400" b="1" spc="-150" dirty="0">
                <a:solidFill>
                  <a:schemeClr val="bg1"/>
                </a:solidFill>
                <a:latin typeface="Arial" pitchFamily="34" charset="0"/>
                <a:cs typeface="Arial" pitchFamily="34" charset="0"/>
              </a:rPr>
              <a:t>NEEDS</a:t>
            </a:r>
          </a:p>
        </p:txBody>
      </p:sp>
      <p:sp>
        <p:nvSpPr>
          <p:cNvPr id="33" name="CasellaDiTesto 32">
            <a:extLst>
              <a:ext uri="{FF2B5EF4-FFF2-40B4-BE49-F238E27FC236}">
                <a16:creationId xmlns:a16="http://schemas.microsoft.com/office/drawing/2014/main" id="{28C54788-3537-49A4-83B3-04AEA78E8B1B}"/>
              </a:ext>
            </a:extLst>
          </p:cNvPr>
          <p:cNvSpPr txBox="1"/>
          <p:nvPr/>
        </p:nvSpPr>
        <p:spPr>
          <a:xfrm>
            <a:off x="3252900" y="2563185"/>
            <a:ext cx="1086489" cy="437043"/>
          </a:xfrm>
          <a:prstGeom prst="rect">
            <a:avLst/>
          </a:prstGeom>
          <a:noFill/>
        </p:spPr>
        <p:txBody>
          <a:bodyPr wrap="square" rtlCol="0">
            <a:spAutoFit/>
          </a:bodyPr>
          <a:lstStyle/>
          <a:p>
            <a:pPr algn="ctr">
              <a:lnSpc>
                <a:spcPct val="80000"/>
              </a:lnSpc>
            </a:pPr>
            <a:r>
              <a:rPr lang="it-IT" sz="1400" b="1" spc="-150" dirty="0">
                <a:solidFill>
                  <a:schemeClr val="bg1"/>
                </a:solidFill>
                <a:latin typeface="Arial" pitchFamily="34" charset="0"/>
                <a:cs typeface="Arial" pitchFamily="34" charset="0"/>
              </a:rPr>
              <a:t>MICRO</a:t>
            </a:r>
          </a:p>
          <a:p>
            <a:pPr algn="ctr">
              <a:lnSpc>
                <a:spcPct val="80000"/>
              </a:lnSpc>
            </a:pPr>
            <a:r>
              <a:rPr lang="it-IT" sz="1400" b="1" spc="-150" dirty="0">
                <a:solidFill>
                  <a:schemeClr val="bg1"/>
                </a:solidFill>
                <a:latin typeface="Arial" pitchFamily="34" charset="0"/>
                <a:cs typeface="Arial" pitchFamily="34" charset="0"/>
              </a:rPr>
              <a:t>NUTRIENTS</a:t>
            </a:r>
          </a:p>
        </p:txBody>
      </p:sp>
      <p:sp>
        <p:nvSpPr>
          <p:cNvPr id="34" name="CasellaDiTesto 33">
            <a:extLst>
              <a:ext uri="{FF2B5EF4-FFF2-40B4-BE49-F238E27FC236}">
                <a16:creationId xmlns:a16="http://schemas.microsoft.com/office/drawing/2014/main" id="{5D5C0B72-CB69-4EBF-B0B4-A9ADA549E41C}"/>
              </a:ext>
            </a:extLst>
          </p:cNvPr>
          <p:cNvSpPr txBox="1"/>
          <p:nvPr/>
        </p:nvSpPr>
        <p:spPr>
          <a:xfrm>
            <a:off x="5928014" y="2222822"/>
            <a:ext cx="974436" cy="437043"/>
          </a:xfrm>
          <a:prstGeom prst="rect">
            <a:avLst/>
          </a:prstGeom>
          <a:noFill/>
        </p:spPr>
        <p:txBody>
          <a:bodyPr wrap="square" rtlCol="0">
            <a:spAutoFit/>
          </a:bodyPr>
          <a:lstStyle/>
          <a:p>
            <a:pPr algn="ctr">
              <a:lnSpc>
                <a:spcPct val="80000"/>
              </a:lnSpc>
            </a:pPr>
            <a:r>
              <a:rPr lang="it-IT" sz="1400" b="1" spc="-150" dirty="0">
                <a:solidFill>
                  <a:schemeClr val="bg1"/>
                </a:solidFill>
                <a:latin typeface="Arial" pitchFamily="34" charset="0"/>
                <a:cs typeface="Arial" pitchFamily="34" charset="0"/>
              </a:rPr>
              <a:t>BIO</a:t>
            </a:r>
          </a:p>
          <a:p>
            <a:pPr algn="ctr">
              <a:lnSpc>
                <a:spcPct val="80000"/>
              </a:lnSpc>
            </a:pPr>
            <a:r>
              <a:rPr lang="it-IT" sz="1400" b="1" spc="-150" dirty="0">
                <a:solidFill>
                  <a:schemeClr val="bg1"/>
                </a:solidFill>
                <a:latin typeface="Arial" pitchFamily="34" charset="0"/>
                <a:cs typeface="Arial" pitchFamily="34" charset="0"/>
              </a:rPr>
              <a:t>CONTROL</a:t>
            </a:r>
          </a:p>
        </p:txBody>
      </p:sp>
      <p:sp>
        <p:nvSpPr>
          <p:cNvPr id="35" name="CasellaDiTesto 34">
            <a:extLst>
              <a:ext uri="{FF2B5EF4-FFF2-40B4-BE49-F238E27FC236}">
                <a16:creationId xmlns:a16="http://schemas.microsoft.com/office/drawing/2014/main" id="{D1FDD792-AFCE-4F9B-B79E-0BF4A35E4A03}"/>
              </a:ext>
            </a:extLst>
          </p:cNvPr>
          <p:cNvSpPr txBox="1"/>
          <p:nvPr/>
        </p:nvSpPr>
        <p:spPr>
          <a:xfrm>
            <a:off x="3100387" y="3995539"/>
            <a:ext cx="1314449" cy="437043"/>
          </a:xfrm>
          <a:prstGeom prst="rect">
            <a:avLst/>
          </a:prstGeom>
          <a:noFill/>
        </p:spPr>
        <p:txBody>
          <a:bodyPr wrap="square" rtlCol="0">
            <a:spAutoFit/>
          </a:bodyPr>
          <a:lstStyle/>
          <a:p>
            <a:pPr algn="ctr">
              <a:lnSpc>
                <a:spcPct val="80000"/>
              </a:lnSpc>
            </a:pPr>
            <a:r>
              <a:rPr lang="it-IT" sz="1400" b="1" spc="-150" dirty="0">
                <a:solidFill>
                  <a:schemeClr val="bg1"/>
                </a:solidFill>
                <a:latin typeface="Arial" pitchFamily="34" charset="0"/>
                <a:cs typeface="Arial" pitchFamily="34" charset="0"/>
              </a:rPr>
              <a:t>BIO</a:t>
            </a:r>
          </a:p>
          <a:p>
            <a:pPr algn="ctr">
              <a:lnSpc>
                <a:spcPct val="80000"/>
              </a:lnSpc>
            </a:pPr>
            <a:r>
              <a:rPr lang="it-IT" sz="1400" b="1" spc="-150" dirty="0">
                <a:solidFill>
                  <a:schemeClr val="bg1"/>
                </a:solidFill>
                <a:latin typeface="Arial" pitchFamily="34" charset="0"/>
                <a:cs typeface="Arial" pitchFamily="34" charset="0"/>
              </a:rPr>
              <a:t>STIMULANTS</a:t>
            </a:r>
          </a:p>
        </p:txBody>
      </p:sp>
      <p:sp>
        <p:nvSpPr>
          <p:cNvPr id="36" name="CasellaDiTesto 35">
            <a:extLst>
              <a:ext uri="{FF2B5EF4-FFF2-40B4-BE49-F238E27FC236}">
                <a16:creationId xmlns:a16="http://schemas.microsoft.com/office/drawing/2014/main" id="{43F21C05-4CEA-44F2-A594-394CCD197F48}"/>
              </a:ext>
            </a:extLst>
          </p:cNvPr>
          <p:cNvSpPr txBox="1"/>
          <p:nvPr/>
        </p:nvSpPr>
        <p:spPr>
          <a:xfrm>
            <a:off x="4260700" y="5068741"/>
            <a:ext cx="1214826" cy="387798"/>
          </a:xfrm>
          <a:prstGeom prst="rect">
            <a:avLst/>
          </a:prstGeom>
          <a:noFill/>
        </p:spPr>
        <p:txBody>
          <a:bodyPr wrap="square" rtlCol="0">
            <a:spAutoFit/>
          </a:bodyPr>
          <a:lstStyle/>
          <a:p>
            <a:pPr algn="ctr">
              <a:lnSpc>
                <a:spcPct val="80000"/>
              </a:lnSpc>
            </a:pPr>
            <a:r>
              <a:rPr lang="it-IT" sz="1200" b="1" dirty="0">
                <a:solidFill>
                  <a:schemeClr val="bg1"/>
                </a:solidFill>
                <a:latin typeface="Arial" pitchFamily="34" charset="0"/>
                <a:cs typeface="Arial" pitchFamily="34" charset="0"/>
              </a:rPr>
              <a:t>BIO</a:t>
            </a:r>
          </a:p>
          <a:p>
            <a:pPr algn="ctr">
              <a:lnSpc>
                <a:spcPct val="80000"/>
              </a:lnSpc>
            </a:pPr>
            <a:r>
              <a:rPr lang="it-IT" sz="1200" b="1" dirty="0">
                <a:solidFill>
                  <a:schemeClr val="bg1"/>
                </a:solidFill>
                <a:latin typeface="Arial" pitchFamily="34" charset="0"/>
                <a:cs typeface="Arial" pitchFamily="34" charset="0"/>
              </a:rPr>
              <a:t>FERTILIZERS</a:t>
            </a:r>
          </a:p>
        </p:txBody>
      </p:sp>
      <p:sp>
        <p:nvSpPr>
          <p:cNvPr id="37" name="CasellaDiTesto 36">
            <a:extLst>
              <a:ext uri="{FF2B5EF4-FFF2-40B4-BE49-F238E27FC236}">
                <a16:creationId xmlns:a16="http://schemas.microsoft.com/office/drawing/2014/main" id="{7A2159BF-CB97-4872-AB4A-9EA6A94EE3EA}"/>
              </a:ext>
            </a:extLst>
          </p:cNvPr>
          <p:cNvSpPr txBox="1"/>
          <p:nvPr/>
        </p:nvSpPr>
        <p:spPr>
          <a:xfrm>
            <a:off x="6185843" y="3359468"/>
            <a:ext cx="1591708" cy="437043"/>
          </a:xfrm>
          <a:prstGeom prst="rect">
            <a:avLst/>
          </a:prstGeom>
          <a:noFill/>
        </p:spPr>
        <p:txBody>
          <a:bodyPr wrap="square" rtlCol="0">
            <a:spAutoFit/>
          </a:bodyPr>
          <a:lstStyle/>
          <a:p>
            <a:pPr algn="ctr">
              <a:lnSpc>
                <a:spcPct val="80000"/>
              </a:lnSpc>
            </a:pPr>
            <a:r>
              <a:rPr lang="it-IT" sz="2800" b="1" spc="-150" dirty="0">
                <a:solidFill>
                  <a:schemeClr val="bg1"/>
                </a:solidFill>
                <a:latin typeface="Arial" pitchFamily="34" charset="0"/>
                <a:cs typeface="Arial" pitchFamily="34" charset="0"/>
              </a:rPr>
              <a:t>SEED</a:t>
            </a:r>
          </a:p>
        </p:txBody>
      </p:sp>
      <p:sp>
        <p:nvSpPr>
          <p:cNvPr id="38" name="CasellaDiTesto 37">
            <a:extLst>
              <a:ext uri="{FF2B5EF4-FFF2-40B4-BE49-F238E27FC236}">
                <a16:creationId xmlns:a16="http://schemas.microsoft.com/office/drawing/2014/main" id="{60903263-D353-4C62-9A0E-840C5035D458}"/>
              </a:ext>
            </a:extLst>
          </p:cNvPr>
          <p:cNvSpPr txBox="1"/>
          <p:nvPr/>
        </p:nvSpPr>
        <p:spPr>
          <a:xfrm>
            <a:off x="4127302" y="2320195"/>
            <a:ext cx="974436" cy="294119"/>
          </a:xfrm>
          <a:prstGeom prst="rect">
            <a:avLst/>
          </a:prstGeom>
          <a:noFill/>
        </p:spPr>
        <p:txBody>
          <a:bodyPr wrap="square" rtlCol="0">
            <a:spAutoFit/>
          </a:bodyPr>
          <a:lstStyle/>
          <a:p>
            <a:pPr algn="ctr">
              <a:lnSpc>
                <a:spcPct val="80000"/>
              </a:lnSpc>
            </a:pPr>
            <a:r>
              <a:rPr lang="it-IT" sz="1600" b="1" spc="-150" dirty="0">
                <a:solidFill>
                  <a:schemeClr val="bg1"/>
                </a:solidFill>
                <a:latin typeface="Arial" panose="020B0604020202020204" pitchFamily="34" charset="0"/>
                <a:cs typeface="Arial" panose="020B0604020202020204" pitchFamily="34" charset="0"/>
              </a:rPr>
              <a:t>PPP</a:t>
            </a:r>
          </a:p>
        </p:txBody>
      </p:sp>
      <p:sp>
        <p:nvSpPr>
          <p:cNvPr id="39" name="CasellaDiTesto 38">
            <a:extLst>
              <a:ext uri="{FF2B5EF4-FFF2-40B4-BE49-F238E27FC236}">
                <a16:creationId xmlns:a16="http://schemas.microsoft.com/office/drawing/2014/main" id="{4688011B-A480-4A9E-9470-2FC183C8745F}"/>
              </a:ext>
            </a:extLst>
          </p:cNvPr>
          <p:cNvSpPr txBox="1"/>
          <p:nvPr/>
        </p:nvSpPr>
        <p:spPr>
          <a:xfrm>
            <a:off x="5871002" y="4762952"/>
            <a:ext cx="974436" cy="292516"/>
          </a:xfrm>
          <a:prstGeom prst="rect">
            <a:avLst/>
          </a:prstGeom>
          <a:noFill/>
        </p:spPr>
        <p:txBody>
          <a:bodyPr wrap="square" rtlCol="0">
            <a:spAutoFit/>
          </a:bodyPr>
          <a:lstStyle/>
          <a:p>
            <a:pPr algn="ctr">
              <a:lnSpc>
                <a:spcPct val="80000"/>
              </a:lnSpc>
            </a:pPr>
            <a:r>
              <a:rPr lang="it-IT" sz="1600" b="1" spc="-150" dirty="0">
                <a:solidFill>
                  <a:schemeClr val="bg1"/>
                </a:solidFill>
                <a:latin typeface="Arial Black" panose="020B0604020202020204" pitchFamily="34" charset="0"/>
                <a:cs typeface="Arial Black" panose="020B0604020202020204" pitchFamily="34" charset="0"/>
              </a:rPr>
              <a:t>NPK</a:t>
            </a:r>
            <a:r>
              <a:rPr lang="it-IT" sz="1600" b="1" spc="-150" dirty="0">
                <a:solidFill>
                  <a:schemeClr val="bg1"/>
                </a:solidFill>
                <a:latin typeface="Arial" pitchFamily="34" charset="0"/>
                <a:cs typeface="Arial" pitchFamily="34" charset="0"/>
              </a:rPr>
              <a:t>+</a:t>
            </a:r>
          </a:p>
        </p:txBody>
      </p:sp>
      <p:sp>
        <p:nvSpPr>
          <p:cNvPr id="2" name="Rettangolo 1"/>
          <p:cNvSpPr/>
          <p:nvPr/>
        </p:nvSpPr>
        <p:spPr>
          <a:xfrm>
            <a:off x="279204" y="179991"/>
            <a:ext cx="10016041" cy="553998"/>
          </a:xfrm>
          <a:prstGeom prst="rect">
            <a:avLst/>
          </a:prstGeom>
        </p:spPr>
        <p:txBody>
          <a:bodyPr wrap="square">
            <a:spAutoFit/>
          </a:bodyPr>
          <a:lstStyle/>
          <a:p>
            <a:r>
              <a:rPr lang="fi-FI" sz="3000" b="1" cap="all" dirty="0">
                <a:ln w="19050">
                  <a:noFill/>
                </a:ln>
                <a:solidFill>
                  <a:srgbClr val="163D28"/>
                </a:solidFill>
                <a:latin typeface="Arial" pitchFamily="34" charset="0"/>
                <a:cs typeface="Arial" pitchFamily="34" charset="0"/>
              </a:rPr>
              <a:t>MUDANÇA ATUAL </a:t>
            </a:r>
            <a:r>
              <a:rPr lang="ro-RO" sz="3000" b="1" cap="all" dirty="0">
                <a:ln w="19050">
                  <a:noFill/>
                </a:ln>
                <a:solidFill>
                  <a:srgbClr val="163D28"/>
                </a:solidFill>
                <a:latin typeface="Arial" pitchFamily="34" charset="0"/>
                <a:cs typeface="Arial" pitchFamily="34" charset="0"/>
              </a:rPr>
              <a:t>| </a:t>
            </a:r>
            <a:r>
              <a:rPr lang="ro-RO" sz="2400" cap="all" dirty="0">
                <a:ln w="19050">
                  <a:noFill/>
                </a:ln>
                <a:solidFill>
                  <a:srgbClr val="163D28"/>
                </a:solidFill>
                <a:latin typeface="Arial" pitchFamily="34" charset="0"/>
                <a:cs typeface="Arial" pitchFamily="34" charset="0"/>
              </a:rPr>
              <a:t>IMPACT</a:t>
            </a:r>
            <a:r>
              <a:rPr lang="pt-BR" sz="2400" cap="all" dirty="0">
                <a:ln w="19050">
                  <a:noFill/>
                </a:ln>
                <a:solidFill>
                  <a:srgbClr val="163D28"/>
                </a:solidFill>
                <a:latin typeface="Arial" pitchFamily="34" charset="0"/>
                <a:cs typeface="Arial" pitchFamily="34" charset="0"/>
              </a:rPr>
              <a:t>O SOBRE A CADEIA</a:t>
            </a:r>
            <a:endParaRPr lang="fi-FI" sz="2400" cap="all" dirty="0">
              <a:ln w="19050">
                <a:noFill/>
              </a:ln>
              <a:solidFill>
                <a:srgbClr val="163D28"/>
              </a:solidFill>
              <a:latin typeface="Arial" pitchFamily="34" charset="0"/>
              <a:cs typeface="Arial" pitchFamily="34" charset="0"/>
            </a:endParaRPr>
          </a:p>
        </p:txBody>
      </p:sp>
      <p:pic>
        <p:nvPicPr>
          <p:cNvPr id="13" name="Immagin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41" name="CasellaDiTesto 24">
            <a:extLst>
              <a:ext uri="{FF2B5EF4-FFF2-40B4-BE49-F238E27FC236}">
                <a16:creationId xmlns:a16="http://schemas.microsoft.com/office/drawing/2014/main" id="{E4D7FAA4-E6AB-4FEF-A51F-22B3EF7AB457}"/>
              </a:ext>
            </a:extLst>
          </p:cNvPr>
          <p:cNvSpPr txBox="1"/>
          <p:nvPr/>
        </p:nvSpPr>
        <p:spPr>
          <a:xfrm>
            <a:off x="7497846" y="1724847"/>
            <a:ext cx="1507610" cy="437043"/>
          </a:xfrm>
          <a:prstGeom prst="rect">
            <a:avLst/>
          </a:prstGeom>
          <a:noFill/>
        </p:spPr>
        <p:txBody>
          <a:bodyPr wrap="square" rtlCol="0">
            <a:spAutoFit/>
          </a:bodyPr>
          <a:lstStyle/>
          <a:p>
            <a:pPr>
              <a:lnSpc>
                <a:spcPct val="80000"/>
              </a:lnSpc>
            </a:pPr>
            <a:r>
              <a:rPr lang="it-IT" sz="1400" dirty="0">
                <a:solidFill>
                  <a:schemeClr val="bg1">
                    <a:lumMod val="75000"/>
                  </a:schemeClr>
                </a:solidFill>
                <a:latin typeface="Arial" pitchFamily="34" charset="0"/>
                <a:cs typeface="Arial" pitchFamily="34" charset="0"/>
              </a:rPr>
              <a:t>MANEJO DE PRAGAS </a:t>
            </a:r>
          </a:p>
        </p:txBody>
      </p:sp>
      <p:sp>
        <p:nvSpPr>
          <p:cNvPr id="42" name="CasellaDiTesto 23">
            <a:extLst>
              <a:ext uri="{FF2B5EF4-FFF2-40B4-BE49-F238E27FC236}">
                <a16:creationId xmlns:a16="http://schemas.microsoft.com/office/drawing/2014/main" id="{612982F6-D29E-4778-821F-5E95E06D1E2E}"/>
              </a:ext>
            </a:extLst>
          </p:cNvPr>
          <p:cNvSpPr txBox="1"/>
          <p:nvPr/>
        </p:nvSpPr>
        <p:spPr>
          <a:xfrm>
            <a:off x="8086866" y="3225519"/>
            <a:ext cx="1507610" cy="437043"/>
          </a:xfrm>
          <a:prstGeom prst="rect">
            <a:avLst/>
          </a:prstGeom>
          <a:noFill/>
        </p:spPr>
        <p:txBody>
          <a:bodyPr wrap="square" rtlCol="0">
            <a:spAutoFit/>
          </a:bodyPr>
          <a:lstStyle/>
          <a:p>
            <a:pPr>
              <a:lnSpc>
                <a:spcPct val="80000"/>
              </a:lnSpc>
            </a:pPr>
            <a:r>
              <a:rPr lang="it-IT" sz="1400" dirty="0">
                <a:solidFill>
                  <a:schemeClr val="bg1">
                    <a:lumMod val="75000"/>
                  </a:schemeClr>
                </a:solidFill>
                <a:latin typeface="Arial" pitchFamily="34" charset="0"/>
                <a:cs typeface="Arial" pitchFamily="34" charset="0"/>
              </a:rPr>
              <a:t>MANEJO DE DOENÇAS</a:t>
            </a:r>
          </a:p>
        </p:txBody>
      </p:sp>
      <p:sp>
        <p:nvSpPr>
          <p:cNvPr id="43" name="CasellaDiTesto 22">
            <a:extLst>
              <a:ext uri="{FF2B5EF4-FFF2-40B4-BE49-F238E27FC236}">
                <a16:creationId xmlns:a16="http://schemas.microsoft.com/office/drawing/2014/main" id="{80CD87BE-D9C7-4FF2-8F5C-C0BC970D043E}"/>
              </a:ext>
            </a:extLst>
          </p:cNvPr>
          <p:cNvSpPr txBox="1"/>
          <p:nvPr/>
        </p:nvSpPr>
        <p:spPr>
          <a:xfrm>
            <a:off x="7592108" y="5015206"/>
            <a:ext cx="1507610" cy="437043"/>
          </a:xfrm>
          <a:prstGeom prst="rect">
            <a:avLst/>
          </a:prstGeom>
          <a:noFill/>
        </p:spPr>
        <p:txBody>
          <a:bodyPr wrap="square" rtlCol="0">
            <a:spAutoFit/>
          </a:bodyPr>
          <a:lstStyle/>
          <a:p>
            <a:pPr>
              <a:lnSpc>
                <a:spcPct val="80000"/>
              </a:lnSpc>
            </a:pPr>
            <a:r>
              <a:rPr lang="it-IT" sz="1400" dirty="0">
                <a:solidFill>
                  <a:schemeClr val="bg1">
                    <a:lumMod val="75000"/>
                  </a:schemeClr>
                </a:solidFill>
                <a:latin typeface="Arial" pitchFamily="34" charset="0"/>
                <a:cs typeface="Arial" pitchFamily="34" charset="0"/>
              </a:rPr>
              <a:t>DEGRADAÇÃO DO SOLO</a:t>
            </a:r>
          </a:p>
        </p:txBody>
      </p:sp>
      <p:sp>
        <p:nvSpPr>
          <p:cNvPr id="44" name="CasellaDiTesto 21">
            <a:extLst>
              <a:ext uri="{FF2B5EF4-FFF2-40B4-BE49-F238E27FC236}">
                <a16:creationId xmlns:a16="http://schemas.microsoft.com/office/drawing/2014/main" id="{E4722EFB-07E9-444F-89C3-83DC6DEE2298}"/>
              </a:ext>
            </a:extLst>
          </p:cNvPr>
          <p:cNvSpPr txBox="1"/>
          <p:nvPr/>
        </p:nvSpPr>
        <p:spPr>
          <a:xfrm>
            <a:off x="1837169" y="5007450"/>
            <a:ext cx="1218851" cy="437043"/>
          </a:xfrm>
          <a:prstGeom prst="rect">
            <a:avLst/>
          </a:prstGeom>
          <a:noFill/>
        </p:spPr>
        <p:txBody>
          <a:bodyPr wrap="square" rtlCol="0">
            <a:spAutoFit/>
          </a:bodyPr>
          <a:lstStyle/>
          <a:p>
            <a:pPr algn="r">
              <a:lnSpc>
                <a:spcPct val="80000"/>
              </a:lnSpc>
            </a:pPr>
            <a:r>
              <a:rPr lang="it-IT" sz="1400" dirty="0">
                <a:solidFill>
                  <a:schemeClr val="bg1">
                    <a:lumMod val="75000"/>
                  </a:schemeClr>
                </a:solidFill>
                <a:latin typeface="Arial" pitchFamily="34" charset="0"/>
                <a:cs typeface="Arial" pitchFamily="34" charset="0"/>
              </a:rPr>
              <a:t>ERVAS DANINHAS </a:t>
            </a:r>
          </a:p>
        </p:txBody>
      </p:sp>
      <p:sp>
        <p:nvSpPr>
          <p:cNvPr id="45" name="CasellaDiTesto 19">
            <a:extLst>
              <a:ext uri="{FF2B5EF4-FFF2-40B4-BE49-F238E27FC236}">
                <a16:creationId xmlns:a16="http://schemas.microsoft.com/office/drawing/2014/main" id="{6A36BE10-4FCC-404D-9ED6-F1573936DAC3}"/>
              </a:ext>
            </a:extLst>
          </p:cNvPr>
          <p:cNvSpPr txBox="1"/>
          <p:nvPr/>
        </p:nvSpPr>
        <p:spPr>
          <a:xfrm>
            <a:off x="1213945" y="1697229"/>
            <a:ext cx="1803187" cy="437043"/>
          </a:xfrm>
          <a:prstGeom prst="rect">
            <a:avLst/>
          </a:prstGeom>
          <a:noFill/>
        </p:spPr>
        <p:txBody>
          <a:bodyPr wrap="square" rtlCol="0">
            <a:spAutoFit/>
          </a:bodyPr>
          <a:lstStyle/>
          <a:p>
            <a:pPr algn="r">
              <a:lnSpc>
                <a:spcPct val="80000"/>
              </a:lnSpc>
            </a:pPr>
            <a:r>
              <a:rPr lang="it-IT" sz="1400" dirty="0">
                <a:solidFill>
                  <a:schemeClr val="bg1">
                    <a:lumMod val="75000"/>
                  </a:schemeClr>
                </a:solidFill>
                <a:latin typeface="Arial" pitchFamily="34" charset="0"/>
                <a:cs typeface="Arial" pitchFamily="34" charset="0"/>
              </a:rPr>
              <a:t>DEFICIÊNCIAS / DESEQUILIBRIOS</a:t>
            </a:r>
          </a:p>
        </p:txBody>
      </p:sp>
      <p:sp>
        <p:nvSpPr>
          <p:cNvPr id="46" name="CasellaDiTesto 20">
            <a:extLst>
              <a:ext uri="{FF2B5EF4-FFF2-40B4-BE49-F238E27FC236}">
                <a16:creationId xmlns:a16="http://schemas.microsoft.com/office/drawing/2014/main" id="{A61507B5-6CD3-45D9-BF84-5968253BE72E}"/>
              </a:ext>
            </a:extLst>
          </p:cNvPr>
          <p:cNvSpPr txBox="1"/>
          <p:nvPr/>
        </p:nvSpPr>
        <p:spPr>
          <a:xfrm>
            <a:off x="1024758" y="3230921"/>
            <a:ext cx="1351417" cy="437043"/>
          </a:xfrm>
          <a:prstGeom prst="rect">
            <a:avLst/>
          </a:prstGeom>
          <a:noFill/>
        </p:spPr>
        <p:txBody>
          <a:bodyPr wrap="square" rtlCol="0">
            <a:spAutoFit/>
          </a:bodyPr>
          <a:lstStyle/>
          <a:p>
            <a:pPr algn="r">
              <a:lnSpc>
                <a:spcPct val="80000"/>
              </a:lnSpc>
            </a:pPr>
            <a:r>
              <a:rPr lang="it-IT" sz="1400" dirty="0">
                <a:solidFill>
                  <a:schemeClr val="bg1">
                    <a:lumMod val="75000"/>
                  </a:schemeClr>
                </a:solidFill>
                <a:latin typeface="Arial" pitchFamily="34" charset="0"/>
                <a:cs typeface="Arial" pitchFamily="34" charset="0"/>
              </a:rPr>
              <a:t>DESAFIOS CLIMÁTICOS</a:t>
            </a:r>
          </a:p>
        </p:txBody>
      </p:sp>
    </p:spTree>
    <p:extLst>
      <p:ext uri="{BB962C8B-B14F-4D97-AF65-F5344CB8AC3E}">
        <p14:creationId xmlns:p14="http://schemas.microsoft.com/office/powerpoint/2010/main" val="1869588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69" y="5082"/>
            <a:ext cx="10700803" cy="7564992"/>
          </a:xfrm>
          <a:prstGeom prst="rect">
            <a:avLst/>
          </a:prstGeom>
        </p:spPr>
      </p:pic>
      <p:sp>
        <p:nvSpPr>
          <p:cNvPr id="2" name="Rettangolo 1"/>
          <p:cNvSpPr/>
          <p:nvPr/>
        </p:nvSpPr>
        <p:spPr>
          <a:xfrm>
            <a:off x="279204" y="179991"/>
            <a:ext cx="10016041" cy="553998"/>
          </a:xfrm>
          <a:prstGeom prst="rect">
            <a:avLst/>
          </a:prstGeom>
        </p:spPr>
        <p:txBody>
          <a:bodyPr wrap="square">
            <a:spAutoFit/>
          </a:bodyPr>
          <a:lstStyle/>
          <a:p>
            <a:r>
              <a:rPr lang="pt-BR" sz="3000" b="1" cap="all">
                <a:ln w="19050">
                  <a:noFill/>
                </a:ln>
                <a:solidFill>
                  <a:srgbClr val="163D28"/>
                </a:solidFill>
                <a:latin typeface="Arial" pitchFamily="34" charset="0"/>
                <a:cs typeface="Arial" pitchFamily="34" charset="0"/>
              </a:rPr>
              <a:t>POR QUE BIOESTIMULANTES?</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8" name="CasellaDiTesto 7"/>
          <p:cNvSpPr txBox="1"/>
          <p:nvPr/>
        </p:nvSpPr>
        <p:spPr>
          <a:xfrm>
            <a:off x="318978" y="1248198"/>
            <a:ext cx="9519853" cy="387798"/>
          </a:xfrm>
          <a:prstGeom prst="rect">
            <a:avLst/>
          </a:prstGeom>
          <a:noFill/>
        </p:spPr>
        <p:txBody>
          <a:bodyPr wrap="square" rtlCol="0">
            <a:spAutoFit/>
          </a:bodyPr>
          <a:lstStyle/>
          <a:p>
            <a:pPr>
              <a:lnSpc>
                <a:spcPct val="80000"/>
              </a:lnSpc>
            </a:pPr>
            <a:r>
              <a:rPr lang="pt-BR" sz="2400" b="1" dirty="0">
                <a:solidFill>
                  <a:srgbClr val="375B49"/>
                </a:solidFill>
                <a:latin typeface="Arial" pitchFamily="34" charset="0"/>
                <a:cs typeface="Arial" pitchFamily="34" charset="0"/>
              </a:rPr>
              <a:t>BIOSTIMULANTES </a:t>
            </a:r>
            <a:r>
              <a:rPr lang="pt-BR" sz="2400" dirty="0">
                <a:solidFill>
                  <a:srgbClr val="375B49"/>
                </a:solidFill>
                <a:latin typeface="Arial" pitchFamily="34" charset="0"/>
                <a:cs typeface="Arial" pitchFamily="34" charset="0"/>
              </a:rPr>
              <a:t>AUMENTAM A </a:t>
            </a:r>
            <a:r>
              <a:rPr lang="pt-BR" sz="2400" b="1" dirty="0">
                <a:solidFill>
                  <a:srgbClr val="375B49"/>
                </a:solidFill>
                <a:latin typeface="Arial" pitchFamily="34" charset="0"/>
                <a:cs typeface="Arial" pitchFamily="34" charset="0"/>
              </a:rPr>
              <a:t>EFICIENCIA AGRÍCOLA </a:t>
            </a:r>
          </a:p>
        </p:txBody>
      </p:sp>
      <p:sp>
        <p:nvSpPr>
          <p:cNvPr id="10" name="CasellaDiTesto 9"/>
          <p:cNvSpPr txBox="1"/>
          <p:nvPr/>
        </p:nvSpPr>
        <p:spPr>
          <a:xfrm>
            <a:off x="1299846" y="5460982"/>
            <a:ext cx="2418328" cy="840230"/>
          </a:xfrm>
          <a:prstGeom prst="rect">
            <a:avLst/>
          </a:prstGeom>
          <a:noFill/>
        </p:spPr>
        <p:txBody>
          <a:bodyPr wrap="square" rtlCol="0">
            <a:spAutoFit/>
          </a:bodyPr>
          <a:lstStyle/>
          <a:p>
            <a:pPr>
              <a:lnSpc>
                <a:spcPct val="90000"/>
              </a:lnSpc>
            </a:pPr>
            <a:r>
              <a:rPr lang="pt-BR" sz="1800" b="1" dirty="0">
                <a:solidFill>
                  <a:schemeClr val="bg1"/>
                </a:solidFill>
                <a:latin typeface="Arial" pitchFamily="34" charset="0"/>
                <a:cs typeface="Arial" pitchFamily="34" charset="0"/>
              </a:rPr>
              <a:t>1 – </a:t>
            </a:r>
            <a:r>
              <a:rPr lang="pt-BR" sz="1800" dirty="0">
                <a:solidFill>
                  <a:schemeClr val="bg1"/>
                </a:solidFill>
                <a:latin typeface="Arial" pitchFamily="34" charset="0"/>
                <a:cs typeface="Arial" pitchFamily="34" charset="0"/>
              </a:rPr>
              <a:t>melhora a tolerância ao </a:t>
            </a:r>
            <a:r>
              <a:rPr lang="pt-BR" sz="1800" b="1" dirty="0">
                <a:solidFill>
                  <a:schemeClr val="bg1"/>
                </a:solidFill>
                <a:latin typeface="Arial" pitchFamily="34" charset="0"/>
                <a:cs typeface="Arial" pitchFamily="34" charset="0"/>
              </a:rPr>
              <a:t>STRESS ABIÓTICO</a:t>
            </a:r>
          </a:p>
        </p:txBody>
      </p:sp>
      <p:sp>
        <p:nvSpPr>
          <p:cNvPr id="12" name="CasellaDiTesto 11"/>
          <p:cNvSpPr txBox="1"/>
          <p:nvPr/>
        </p:nvSpPr>
        <p:spPr>
          <a:xfrm>
            <a:off x="4486124" y="5444940"/>
            <a:ext cx="2813034" cy="1338828"/>
          </a:xfrm>
          <a:prstGeom prst="rect">
            <a:avLst/>
          </a:prstGeom>
          <a:noFill/>
        </p:spPr>
        <p:txBody>
          <a:bodyPr wrap="square" rtlCol="0">
            <a:spAutoFit/>
          </a:bodyPr>
          <a:lstStyle/>
          <a:p>
            <a:pPr>
              <a:lnSpc>
                <a:spcPct val="90000"/>
              </a:lnSpc>
            </a:pPr>
            <a:r>
              <a:rPr lang="pt-BR" sz="1800" b="1">
                <a:solidFill>
                  <a:srgbClr val="FFFFFF"/>
                </a:solidFill>
                <a:latin typeface="Arial" pitchFamily="34" charset="0"/>
                <a:cs typeface="Arial" pitchFamily="34" charset="0"/>
              </a:rPr>
              <a:t>2 </a:t>
            </a:r>
            <a:r>
              <a:rPr lang="pt-BR" sz="1800">
                <a:solidFill>
                  <a:srgbClr val="FFFFFF"/>
                </a:solidFill>
                <a:latin typeface="Arial" pitchFamily="34" charset="0"/>
                <a:cs typeface="Arial" pitchFamily="34" charset="0"/>
              </a:rPr>
              <a:t>– melhora a </a:t>
            </a:r>
            <a:r>
              <a:rPr lang="pt-BR" sz="1800" b="1">
                <a:solidFill>
                  <a:srgbClr val="FFFFFF"/>
                </a:solidFill>
                <a:latin typeface="Arial" pitchFamily="34" charset="0"/>
                <a:cs typeface="Arial" pitchFamily="34" charset="0"/>
              </a:rPr>
              <a:t>EFICIENCIA </a:t>
            </a:r>
            <a:r>
              <a:rPr lang="pt-BR" sz="1800">
                <a:solidFill>
                  <a:srgbClr val="FFFFFF"/>
                </a:solidFill>
                <a:latin typeface="Arial" pitchFamily="34" charset="0"/>
                <a:cs typeface="Arial" pitchFamily="34" charset="0"/>
              </a:rPr>
              <a:t>no </a:t>
            </a:r>
          </a:p>
          <a:p>
            <a:pPr>
              <a:lnSpc>
                <a:spcPct val="90000"/>
              </a:lnSpc>
            </a:pPr>
            <a:r>
              <a:rPr lang="pt-BR" sz="1800">
                <a:solidFill>
                  <a:srgbClr val="FFFFFF"/>
                </a:solidFill>
                <a:latin typeface="Arial" pitchFamily="34" charset="0"/>
                <a:cs typeface="Arial" pitchFamily="34" charset="0"/>
              </a:rPr>
              <a:t>uso dos nutrientes nutrient </a:t>
            </a:r>
          </a:p>
          <a:p>
            <a:pPr>
              <a:lnSpc>
                <a:spcPct val="90000"/>
              </a:lnSpc>
            </a:pPr>
            <a:r>
              <a:rPr lang="pt-BR" sz="1800" b="1">
                <a:solidFill>
                  <a:srgbClr val="FFFFFF"/>
                </a:solidFill>
                <a:latin typeface="Arial" pitchFamily="34" charset="0"/>
                <a:cs typeface="Arial" pitchFamily="34" charset="0"/>
              </a:rPr>
              <a:t>USE EFFICIENCY</a:t>
            </a:r>
          </a:p>
        </p:txBody>
      </p:sp>
      <p:sp>
        <p:nvSpPr>
          <p:cNvPr id="14" name="CasellaDiTesto 13"/>
          <p:cNvSpPr txBox="1"/>
          <p:nvPr/>
        </p:nvSpPr>
        <p:spPr>
          <a:xfrm>
            <a:off x="7633431" y="5444940"/>
            <a:ext cx="2813028" cy="840230"/>
          </a:xfrm>
          <a:prstGeom prst="rect">
            <a:avLst/>
          </a:prstGeom>
          <a:noFill/>
        </p:spPr>
        <p:txBody>
          <a:bodyPr wrap="square" rtlCol="0">
            <a:spAutoFit/>
          </a:bodyPr>
          <a:lstStyle/>
          <a:p>
            <a:pPr>
              <a:lnSpc>
                <a:spcPct val="90000"/>
              </a:lnSpc>
            </a:pPr>
            <a:r>
              <a:rPr lang="pt-BR" sz="1800" b="1">
                <a:solidFill>
                  <a:srgbClr val="FFFFFF"/>
                </a:solidFill>
                <a:latin typeface="Arial" pitchFamily="34" charset="0"/>
                <a:cs typeface="Arial" pitchFamily="34" charset="0"/>
              </a:rPr>
              <a:t>3 – </a:t>
            </a:r>
            <a:r>
              <a:rPr lang="pt-BR" sz="1800">
                <a:solidFill>
                  <a:srgbClr val="FFFFFF"/>
                </a:solidFill>
                <a:latin typeface="Arial" pitchFamily="34" charset="0"/>
                <a:cs typeface="Arial" pitchFamily="34" charset="0"/>
              </a:rPr>
              <a:t>Melhora a</a:t>
            </a:r>
          </a:p>
          <a:p>
            <a:pPr>
              <a:lnSpc>
                <a:spcPct val="90000"/>
              </a:lnSpc>
            </a:pPr>
            <a:r>
              <a:rPr lang="pt-BR" sz="1800" b="1">
                <a:solidFill>
                  <a:srgbClr val="FFFFFF"/>
                </a:solidFill>
                <a:latin typeface="Arial" pitchFamily="34" charset="0"/>
                <a:cs typeface="Arial" pitchFamily="34" charset="0"/>
              </a:rPr>
              <a:t>QUALIDADE da CULTURA</a:t>
            </a:r>
          </a:p>
        </p:txBody>
      </p:sp>
    </p:spTree>
    <p:extLst>
      <p:ext uri="{BB962C8B-B14F-4D97-AF65-F5344CB8AC3E}">
        <p14:creationId xmlns:p14="http://schemas.microsoft.com/office/powerpoint/2010/main" val="16670204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Line 19"/>
          <p:cNvSpPr>
            <a:spLocks noChangeShapeType="1"/>
          </p:cNvSpPr>
          <p:nvPr/>
        </p:nvSpPr>
        <p:spPr bwMode="auto">
          <a:xfrm>
            <a:off x="2732838" y="5513333"/>
            <a:ext cx="1323499" cy="0"/>
          </a:xfrm>
          <a:prstGeom prst="line">
            <a:avLst/>
          </a:prstGeom>
          <a:noFill/>
          <a:ln w="38100" cmpd="dbl">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75627" tIns="37813" rIns="75627" bIns="37813" anchor="ctr"/>
          <a:lstStyle/>
          <a:p>
            <a:pPr defTabSz="756281" eaLnBrk="0" hangingPunct="0">
              <a:defRPr/>
            </a:pPr>
            <a:endParaRPr lang="pt-BR" sz="1800" baseline="30000" dirty="0">
              <a:solidFill>
                <a:srgbClr val="000000"/>
              </a:solidFill>
              <a:latin typeface="Calibri"/>
            </a:endParaRPr>
          </a:p>
        </p:txBody>
      </p:sp>
      <p:grpSp>
        <p:nvGrpSpPr>
          <p:cNvPr id="10" name="Group 26"/>
          <p:cNvGrpSpPr>
            <a:grpSpLocks/>
          </p:cNvGrpSpPr>
          <p:nvPr/>
        </p:nvGrpSpPr>
        <p:grpSpPr bwMode="auto">
          <a:xfrm>
            <a:off x="3930290" y="4527541"/>
            <a:ext cx="1008380" cy="974242"/>
            <a:chOff x="768" y="432"/>
            <a:chExt cx="960" cy="960"/>
          </a:xfrm>
        </p:grpSpPr>
        <p:sp>
          <p:nvSpPr>
            <p:cNvPr id="11" name="Oval 24"/>
            <p:cNvSpPr>
              <a:spLocks noChangeArrowheads="1"/>
            </p:cNvSpPr>
            <p:nvPr/>
          </p:nvSpPr>
          <p:spPr bwMode="auto">
            <a:xfrm>
              <a:off x="816" y="480"/>
              <a:ext cx="865" cy="864"/>
            </a:xfrm>
            <a:prstGeom prst="ellipse">
              <a:avLst/>
            </a:pr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defTabSz="756281" eaLnBrk="0" hangingPunct="0">
                <a:defRPr/>
              </a:pPr>
              <a:endParaRPr lang="pt-BR" sz="1800" baseline="30000" dirty="0">
                <a:solidFill>
                  <a:srgbClr val="000000"/>
                </a:solidFill>
                <a:latin typeface="Calibri"/>
              </a:endParaRPr>
            </a:p>
          </p:txBody>
        </p:sp>
        <p:sp>
          <p:nvSpPr>
            <p:cNvPr id="12" name="Oval 25"/>
            <p:cNvSpPr>
              <a:spLocks noChangeArrowheads="1"/>
            </p:cNvSpPr>
            <p:nvPr/>
          </p:nvSpPr>
          <p:spPr bwMode="auto">
            <a:xfrm>
              <a:off x="768" y="432"/>
              <a:ext cx="960" cy="960"/>
            </a:xfrm>
            <a:prstGeom prst="ellipse">
              <a:avLst/>
            </a:prstGeom>
            <a:noFill/>
            <a:ln w="9525" cap="rnd">
              <a:solidFill>
                <a:schemeClr val="bg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defTabSz="756281" eaLnBrk="0" hangingPunct="0">
                <a:defRPr/>
              </a:pPr>
              <a:endParaRPr lang="pt-BR" sz="1800" baseline="30000" dirty="0">
                <a:solidFill>
                  <a:srgbClr val="000000"/>
                </a:solidFill>
                <a:latin typeface="Calibri"/>
              </a:endParaRPr>
            </a:p>
          </p:txBody>
        </p:sp>
      </p:grpSp>
      <p:grpSp>
        <p:nvGrpSpPr>
          <p:cNvPr id="16" name="Group 26"/>
          <p:cNvGrpSpPr>
            <a:grpSpLocks/>
          </p:cNvGrpSpPr>
          <p:nvPr/>
        </p:nvGrpSpPr>
        <p:grpSpPr bwMode="auto">
          <a:xfrm>
            <a:off x="6577287" y="5632816"/>
            <a:ext cx="882333" cy="850821"/>
            <a:chOff x="768" y="432"/>
            <a:chExt cx="960" cy="960"/>
          </a:xfrm>
        </p:grpSpPr>
        <p:sp>
          <p:nvSpPr>
            <p:cNvPr id="17" name="Oval 24"/>
            <p:cNvSpPr>
              <a:spLocks noChangeArrowheads="1"/>
            </p:cNvSpPr>
            <p:nvPr/>
          </p:nvSpPr>
          <p:spPr bwMode="auto">
            <a:xfrm>
              <a:off x="817" y="479"/>
              <a:ext cx="863" cy="865"/>
            </a:xfrm>
            <a:prstGeom prst="ellipse">
              <a:avLst/>
            </a:prstGeom>
            <a:noFill/>
            <a:ln w="2857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defTabSz="756281" eaLnBrk="0" hangingPunct="0">
                <a:defRPr/>
              </a:pPr>
              <a:endParaRPr lang="pt-BR" sz="2316" baseline="30000" dirty="0">
                <a:solidFill>
                  <a:srgbClr val="000000"/>
                </a:solidFill>
                <a:latin typeface="Calibri"/>
              </a:endParaRPr>
            </a:p>
          </p:txBody>
        </p:sp>
        <p:sp>
          <p:nvSpPr>
            <p:cNvPr id="18" name="Oval 25"/>
            <p:cNvSpPr>
              <a:spLocks noChangeArrowheads="1"/>
            </p:cNvSpPr>
            <p:nvPr/>
          </p:nvSpPr>
          <p:spPr bwMode="auto">
            <a:xfrm>
              <a:off x="768" y="432"/>
              <a:ext cx="960" cy="960"/>
            </a:xfrm>
            <a:prstGeom prst="ellipse">
              <a:avLst/>
            </a:prstGeom>
            <a:noFill/>
            <a:ln w="28575" cap="rnd">
              <a:solidFill>
                <a:schemeClr val="bg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defTabSz="756281" eaLnBrk="0" hangingPunct="0">
                <a:defRPr/>
              </a:pPr>
              <a:endParaRPr lang="pt-BR" sz="2316" baseline="30000" dirty="0">
                <a:solidFill>
                  <a:srgbClr val="000000"/>
                </a:solidFill>
                <a:latin typeface="Calibri"/>
              </a:endParaRPr>
            </a:p>
          </p:txBody>
        </p:sp>
      </p:grpSp>
      <p:sp>
        <p:nvSpPr>
          <p:cNvPr id="19" name="Line 38"/>
          <p:cNvSpPr>
            <a:spLocks noChangeShapeType="1"/>
          </p:cNvSpPr>
          <p:nvPr/>
        </p:nvSpPr>
        <p:spPr bwMode="auto">
          <a:xfrm>
            <a:off x="4875646" y="4252858"/>
            <a:ext cx="1764665" cy="1512570"/>
          </a:xfrm>
          <a:prstGeom prst="line">
            <a:avLst/>
          </a:prstGeom>
          <a:noFill/>
          <a:ln w="12700" cap="rnd">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75627" tIns="37813" rIns="75627" bIns="37813" anchor="ctr"/>
          <a:lstStyle/>
          <a:p>
            <a:pPr defTabSz="756281" eaLnBrk="0" hangingPunct="0">
              <a:defRPr/>
            </a:pPr>
            <a:endParaRPr lang="pt-BR" sz="2316" baseline="30000" dirty="0">
              <a:solidFill>
                <a:srgbClr val="000000"/>
              </a:solidFill>
              <a:latin typeface="Calibri"/>
            </a:endParaRPr>
          </a:p>
        </p:txBody>
      </p:sp>
      <p:sp>
        <p:nvSpPr>
          <p:cNvPr id="14" name="Rettangolo 13">
            <a:extLst>
              <a:ext uri="{FF2B5EF4-FFF2-40B4-BE49-F238E27FC236}">
                <a16:creationId xmlns:a16="http://schemas.microsoft.com/office/drawing/2014/main" id="{44B869E9-E4E5-475D-8FAB-ABCA288F21F6}"/>
              </a:ext>
            </a:extLst>
          </p:cNvPr>
          <p:cNvSpPr/>
          <p:nvPr/>
        </p:nvSpPr>
        <p:spPr>
          <a:xfrm>
            <a:off x="279204" y="179991"/>
            <a:ext cx="10196291" cy="553998"/>
          </a:xfrm>
          <a:prstGeom prst="rect">
            <a:avLst/>
          </a:prstGeom>
        </p:spPr>
        <p:txBody>
          <a:bodyPr wrap="square">
            <a:spAutoFit/>
          </a:bodyPr>
          <a:lstStyle/>
          <a:p>
            <a:r>
              <a:rPr lang="pt-BR" sz="3000" b="1" cap="all" dirty="0">
                <a:ln w="19050">
                  <a:noFill/>
                </a:ln>
                <a:solidFill>
                  <a:srgbClr val="163D28"/>
                </a:solidFill>
                <a:latin typeface="Arial" pitchFamily="34" charset="0"/>
                <a:cs typeface="Arial" pitchFamily="34" charset="0"/>
              </a:rPr>
              <a:t>BIOSTIMULANTS – </a:t>
            </a:r>
            <a:r>
              <a:rPr lang="pt-BR" sz="2000" cap="all" dirty="0">
                <a:ln w="19050">
                  <a:noFill/>
                </a:ln>
                <a:solidFill>
                  <a:srgbClr val="163D28"/>
                </a:solidFill>
                <a:latin typeface="Arial" pitchFamily="34" charset="0"/>
                <a:cs typeface="Arial" pitchFamily="34" charset="0"/>
              </a:rPr>
              <a:t>substancias bioquímicas &amp; microrganismos</a:t>
            </a:r>
            <a:endParaRPr lang="pt-BR" sz="3000" b="1" cap="all" dirty="0">
              <a:ln w="19050">
                <a:noFill/>
              </a:ln>
              <a:solidFill>
                <a:srgbClr val="163D28"/>
              </a:solidFill>
              <a:latin typeface="Arial" pitchFamily="34" charset="0"/>
              <a:cs typeface="Arial" pitchFamily="34" charset="0"/>
            </a:endParaRPr>
          </a:p>
        </p:txBody>
      </p:sp>
      <p:pic>
        <p:nvPicPr>
          <p:cNvPr id="21" name="Immagine 20">
            <a:extLst>
              <a:ext uri="{FF2B5EF4-FFF2-40B4-BE49-F238E27FC236}">
                <a16:creationId xmlns:a16="http://schemas.microsoft.com/office/drawing/2014/main" id="{98BD4540-5D06-404E-BAC8-A5A6A36A318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22" name="Rettangolo 21">
            <a:extLst>
              <a:ext uri="{FF2B5EF4-FFF2-40B4-BE49-F238E27FC236}">
                <a16:creationId xmlns:a16="http://schemas.microsoft.com/office/drawing/2014/main" id="{AD9D423E-4A51-43D5-AC87-8F67BB1EABF4}"/>
              </a:ext>
            </a:extLst>
          </p:cNvPr>
          <p:cNvSpPr/>
          <p:nvPr/>
        </p:nvSpPr>
        <p:spPr>
          <a:xfrm>
            <a:off x="7725342" y="6964608"/>
            <a:ext cx="885097" cy="343684"/>
          </a:xfrm>
          <a:prstGeom prst="rect">
            <a:avLst/>
          </a:prstGeom>
        </p:spPr>
        <p:txBody>
          <a:bodyPr wrap="square">
            <a:spAutoFit/>
          </a:bodyPr>
          <a:lstStyle/>
          <a:p>
            <a:pPr algn="r">
              <a:lnSpc>
                <a:spcPct val="80000"/>
              </a:lnSpc>
            </a:pPr>
            <a:r>
              <a:rPr lang="pt-BR" sz="1000" dirty="0" err="1">
                <a:solidFill>
                  <a:srgbClr val="163D28"/>
                </a:solidFill>
                <a:latin typeface="Arial" pitchFamily="34" charset="0"/>
                <a:cs typeface="Arial" pitchFamily="34" charset="0"/>
              </a:rPr>
              <a:t>Strictly</a:t>
            </a:r>
            <a:endParaRPr lang="pt-BR" sz="1000" dirty="0">
              <a:solidFill>
                <a:srgbClr val="163D28"/>
              </a:solidFill>
              <a:latin typeface="Arial" pitchFamily="34" charset="0"/>
              <a:cs typeface="Arial" pitchFamily="34" charset="0"/>
            </a:endParaRPr>
          </a:p>
          <a:p>
            <a:pPr algn="r">
              <a:lnSpc>
                <a:spcPct val="80000"/>
              </a:lnSpc>
            </a:pPr>
            <a:r>
              <a:rPr lang="pt-BR" sz="1000" dirty="0" err="1">
                <a:solidFill>
                  <a:srgbClr val="163D28"/>
                </a:solidFill>
                <a:latin typeface="Arial" pitchFamily="34" charset="0"/>
                <a:cs typeface="Arial" pitchFamily="34" charset="0"/>
              </a:rPr>
              <a:t>confidential</a:t>
            </a:r>
            <a:endParaRPr lang="pt-BR" sz="1000" dirty="0">
              <a:solidFill>
                <a:srgbClr val="163D28"/>
              </a:solidFill>
              <a:latin typeface="Arial" pitchFamily="34" charset="0"/>
              <a:cs typeface="Arial" pitchFamily="34" charset="0"/>
            </a:endParaRPr>
          </a:p>
        </p:txBody>
      </p:sp>
      <p:cxnSp>
        <p:nvCxnSpPr>
          <p:cNvPr id="23" name="Connettore 1 17">
            <a:extLst>
              <a:ext uri="{FF2B5EF4-FFF2-40B4-BE49-F238E27FC236}">
                <a16:creationId xmlns:a16="http://schemas.microsoft.com/office/drawing/2014/main" id="{1F578A63-1D51-4A73-BCD2-49B0AA98144B}"/>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4" name="TextBox 1">
            <a:extLst>
              <a:ext uri="{FF2B5EF4-FFF2-40B4-BE49-F238E27FC236}">
                <a16:creationId xmlns:a16="http://schemas.microsoft.com/office/drawing/2014/main" id="{484292C8-CB58-4688-B9F6-4FB9D55EB605}"/>
              </a:ext>
            </a:extLst>
          </p:cNvPr>
          <p:cNvSpPr txBox="1"/>
          <p:nvPr/>
        </p:nvSpPr>
        <p:spPr>
          <a:xfrm>
            <a:off x="955855" y="1089135"/>
            <a:ext cx="8662737" cy="1754326"/>
          </a:xfrm>
          <a:prstGeom prst="rect">
            <a:avLst/>
          </a:prstGeom>
          <a:noFill/>
        </p:spPr>
        <p:txBody>
          <a:bodyPr wrap="square" rtlCol="0">
            <a:spAutoFit/>
          </a:bodyPr>
          <a:lstStyle/>
          <a:p>
            <a:pPr algn="ctr" defTabSz="756281">
              <a:defRPr/>
            </a:pPr>
            <a:r>
              <a:rPr lang="pt-BR" sz="1800" b="1" dirty="0" err="1">
                <a:solidFill>
                  <a:prstClr val="black">
                    <a:lumMod val="85000"/>
                    <a:lumOff val="15000"/>
                  </a:prstClr>
                </a:solidFill>
                <a:latin typeface="Arial" panose="020B0604020202020204" pitchFamily="34" charset="0"/>
                <a:cs typeface="Arial" panose="020B0604020202020204" pitchFamily="34" charset="0"/>
              </a:rPr>
              <a:t>Biostimulantes</a:t>
            </a:r>
            <a:r>
              <a:rPr lang="pt-BR" sz="1800" b="1" dirty="0">
                <a:solidFill>
                  <a:prstClr val="black">
                    <a:lumMod val="85000"/>
                    <a:lumOff val="15000"/>
                  </a:prstClr>
                </a:solidFill>
                <a:latin typeface="Arial" panose="020B0604020202020204" pitchFamily="34" charset="0"/>
                <a:cs typeface="Arial" panose="020B0604020202020204" pitchFamily="34" charset="0"/>
              </a:rPr>
              <a:t> para plantas:</a:t>
            </a:r>
          </a:p>
          <a:p>
            <a:pPr algn="ctr" defTabSz="756281">
              <a:defRPr/>
            </a:pPr>
            <a:r>
              <a:rPr lang="pt-BR" sz="1800" i="1" dirty="0">
                <a:solidFill>
                  <a:prstClr val="black">
                    <a:lumMod val="85000"/>
                    <a:lumOff val="15000"/>
                  </a:prstClr>
                </a:solidFill>
                <a:latin typeface="Arial" panose="020B0604020202020204" pitchFamily="34" charset="0"/>
                <a:cs typeface="Arial" panose="020B0604020202020204" pitchFamily="34" charset="0"/>
              </a:rPr>
              <a:t>contem substância(s) e/ou microrganismos que quando aplicados a planta ou rizosfera estimula processos naturais que beneficiam </a:t>
            </a:r>
            <a:r>
              <a:rPr lang="pt-BR" sz="1800" b="1" i="1" u="sng" dirty="0">
                <a:solidFill>
                  <a:prstClr val="black">
                    <a:lumMod val="85000"/>
                    <a:lumOff val="15000"/>
                  </a:prstClr>
                </a:solidFill>
                <a:latin typeface="Arial" panose="020B0604020202020204" pitchFamily="34" charset="0"/>
                <a:cs typeface="Arial" panose="020B0604020202020204" pitchFamily="34" charset="0"/>
              </a:rPr>
              <a:t>absorção</a:t>
            </a:r>
            <a:r>
              <a:rPr lang="pt-BR" sz="1800" b="1" i="1" dirty="0">
                <a:solidFill>
                  <a:prstClr val="black">
                    <a:lumMod val="85000"/>
                    <a:lumOff val="15000"/>
                  </a:prstClr>
                </a:solidFill>
                <a:latin typeface="Arial" panose="020B0604020202020204" pitchFamily="34" charset="0"/>
                <a:cs typeface="Arial" panose="020B0604020202020204" pitchFamily="34" charset="0"/>
              </a:rPr>
              <a:t>, </a:t>
            </a:r>
            <a:r>
              <a:rPr lang="pt-BR" sz="1800" b="1" i="1" u="sng" dirty="0">
                <a:solidFill>
                  <a:prstClr val="black">
                    <a:lumMod val="85000"/>
                    <a:lumOff val="15000"/>
                  </a:prstClr>
                </a:solidFill>
                <a:latin typeface="Arial" panose="020B0604020202020204" pitchFamily="34" charset="0"/>
                <a:cs typeface="Arial" panose="020B0604020202020204" pitchFamily="34" charset="0"/>
              </a:rPr>
              <a:t>uso eficiente dos nutrientes</a:t>
            </a:r>
            <a:r>
              <a:rPr lang="pt-BR" sz="1800" b="1" i="1" dirty="0">
                <a:solidFill>
                  <a:prstClr val="black">
                    <a:lumMod val="85000"/>
                    <a:lumOff val="15000"/>
                  </a:prstClr>
                </a:solidFill>
                <a:latin typeface="Arial" panose="020B0604020202020204" pitchFamily="34" charset="0"/>
                <a:cs typeface="Arial" panose="020B0604020202020204" pitchFamily="34" charset="0"/>
              </a:rPr>
              <a:t>, </a:t>
            </a:r>
            <a:r>
              <a:rPr lang="pt-BR" sz="1800" i="1" dirty="0">
                <a:solidFill>
                  <a:prstClr val="black">
                    <a:lumMod val="85000"/>
                    <a:lumOff val="15000"/>
                  </a:prstClr>
                </a:solidFill>
                <a:latin typeface="Arial" panose="020B0604020202020204" pitchFamily="34" charset="0"/>
                <a:cs typeface="Arial" panose="020B0604020202020204" pitchFamily="34" charset="0"/>
              </a:rPr>
              <a:t>tolerância ao </a:t>
            </a:r>
            <a:r>
              <a:rPr lang="pt-BR" sz="1800" b="1" i="1" u="sng" dirty="0">
                <a:solidFill>
                  <a:prstClr val="black">
                    <a:lumMod val="85000"/>
                    <a:lumOff val="15000"/>
                  </a:prstClr>
                </a:solidFill>
                <a:latin typeface="Arial" panose="020B0604020202020204" pitchFamily="34" charset="0"/>
                <a:cs typeface="Arial" panose="020B0604020202020204" pitchFamily="34" charset="0"/>
              </a:rPr>
              <a:t>stress abiótico</a:t>
            </a:r>
            <a:r>
              <a:rPr lang="pt-BR" sz="1800" b="1" i="1" dirty="0">
                <a:solidFill>
                  <a:prstClr val="black">
                    <a:lumMod val="85000"/>
                    <a:lumOff val="15000"/>
                  </a:prstClr>
                </a:solidFill>
                <a:latin typeface="Arial" panose="020B0604020202020204" pitchFamily="34" charset="0"/>
                <a:cs typeface="Arial" panose="020B0604020202020204" pitchFamily="34" charset="0"/>
              </a:rPr>
              <a:t> </a:t>
            </a:r>
            <a:r>
              <a:rPr lang="pt-BR" sz="1800" i="1" dirty="0">
                <a:solidFill>
                  <a:prstClr val="black">
                    <a:lumMod val="85000"/>
                    <a:lumOff val="15000"/>
                  </a:prstClr>
                </a:solidFill>
                <a:latin typeface="Arial" panose="020B0604020202020204" pitchFamily="34" charset="0"/>
                <a:cs typeface="Arial" panose="020B0604020202020204" pitchFamily="34" charset="0"/>
              </a:rPr>
              <a:t>e /ou a </a:t>
            </a:r>
            <a:r>
              <a:rPr lang="pt-BR" sz="1800" b="1" i="1" u="sng" dirty="0">
                <a:solidFill>
                  <a:prstClr val="black">
                    <a:lumMod val="85000"/>
                    <a:lumOff val="15000"/>
                  </a:prstClr>
                </a:solidFill>
                <a:latin typeface="Arial" panose="020B0604020202020204" pitchFamily="34" charset="0"/>
                <a:cs typeface="Arial" panose="020B0604020202020204" pitchFamily="34" charset="0"/>
              </a:rPr>
              <a:t>qualidade da cultura</a:t>
            </a:r>
            <a:r>
              <a:rPr lang="pt-BR" sz="1800" b="1" i="1" dirty="0">
                <a:solidFill>
                  <a:prstClr val="black">
                    <a:lumMod val="85000"/>
                    <a:lumOff val="15000"/>
                  </a:prstClr>
                </a:solidFill>
                <a:latin typeface="Arial" panose="020B0604020202020204" pitchFamily="34" charset="0"/>
                <a:cs typeface="Arial" panose="020B0604020202020204" pitchFamily="34" charset="0"/>
              </a:rPr>
              <a:t>, </a:t>
            </a:r>
            <a:r>
              <a:rPr lang="pt-BR" sz="1800" i="1" dirty="0">
                <a:solidFill>
                  <a:prstClr val="black">
                    <a:lumMod val="85000"/>
                    <a:lumOff val="15000"/>
                  </a:prstClr>
                </a:solidFill>
                <a:latin typeface="Arial" panose="020B0604020202020204" pitchFamily="34" charset="0"/>
                <a:cs typeface="Arial" panose="020B0604020202020204" pitchFamily="34" charset="0"/>
              </a:rPr>
              <a:t>independentemente de seu conteúdo nutricional</a:t>
            </a:r>
          </a:p>
          <a:p>
            <a:pPr algn="r" defTabSz="756281">
              <a:defRPr/>
            </a:pPr>
            <a:r>
              <a:rPr lang="pt-BR" sz="1400" i="1" dirty="0">
                <a:solidFill>
                  <a:prstClr val="black">
                    <a:lumMod val="85000"/>
                    <a:lumOff val="15000"/>
                  </a:prstClr>
                </a:solidFill>
                <a:latin typeface="Arial" panose="020B0604020202020204" pitchFamily="34" charset="0"/>
                <a:cs typeface="Arial" panose="020B0604020202020204" pitchFamily="34" charset="0"/>
              </a:rPr>
              <a:t>Definição – Nova Regulamentação </a:t>
            </a:r>
            <a:r>
              <a:rPr lang="pt-BR" sz="1400" i="1" dirty="0" err="1">
                <a:solidFill>
                  <a:prstClr val="black">
                    <a:lumMod val="85000"/>
                    <a:lumOff val="15000"/>
                  </a:prstClr>
                </a:solidFill>
                <a:latin typeface="Arial" panose="020B0604020202020204" pitchFamily="34" charset="0"/>
                <a:cs typeface="Arial" panose="020B0604020202020204" pitchFamily="34" charset="0"/>
              </a:rPr>
              <a:t>Europea</a:t>
            </a:r>
            <a:endParaRPr lang="pt-BR" sz="1400" i="1" dirty="0">
              <a:solidFill>
                <a:prstClr val="black">
                  <a:lumMod val="85000"/>
                  <a:lumOff val="15000"/>
                </a:prstClr>
              </a:solidFill>
              <a:latin typeface="Arial" panose="020B0604020202020204" pitchFamily="34" charset="0"/>
              <a:cs typeface="Arial" panose="020B0604020202020204" pitchFamily="34" charset="0"/>
            </a:endParaRPr>
          </a:p>
        </p:txBody>
      </p:sp>
      <p:graphicFrame>
        <p:nvGraphicFramePr>
          <p:cNvPr id="2" name="Diagrama 1">
            <a:extLst>
              <a:ext uri="{FF2B5EF4-FFF2-40B4-BE49-F238E27FC236}">
                <a16:creationId xmlns:a16="http://schemas.microsoft.com/office/drawing/2014/main" id="{C29DF033-E611-4A96-99AD-486C483AADEB}"/>
              </a:ext>
            </a:extLst>
          </p:cNvPr>
          <p:cNvGraphicFramePr/>
          <p:nvPr>
            <p:extLst/>
          </p:nvPr>
        </p:nvGraphicFramePr>
        <p:xfrm>
          <a:off x="987909" y="4224282"/>
          <a:ext cx="8783854" cy="127750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6" name="Line 19">
            <a:extLst>
              <a:ext uri="{FF2B5EF4-FFF2-40B4-BE49-F238E27FC236}">
                <a16:creationId xmlns:a16="http://schemas.microsoft.com/office/drawing/2014/main" id="{388D51E9-B0C2-4C46-AACF-468BCC115BB2}"/>
              </a:ext>
            </a:extLst>
          </p:cNvPr>
          <p:cNvSpPr>
            <a:spLocks noChangeShapeType="1"/>
          </p:cNvSpPr>
          <p:nvPr/>
        </p:nvSpPr>
        <p:spPr bwMode="auto">
          <a:xfrm>
            <a:off x="2772944" y="6772638"/>
            <a:ext cx="1323499" cy="0"/>
          </a:xfrm>
          <a:prstGeom prst="line">
            <a:avLst/>
          </a:prstGeom>
          <a:noFill/>
          <a:ln w="38100" cmpd="dbl">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75627" tIns="37813" rIns="75627" bIns="37813" anchor="ctr"/>
          <a:lstStyle/>
          <a:p>
            <a:pPr defTabSz="756281" eaLnBrk="0" hangingPunct="0">
              <a:defRPr/>
            </a:pPr>
            <a:endParaRPr lang="pt-BR" sz="1800" baseline="30000" dirty="0">
              <a:solidFill>
                <a:srgbClr val="000000"/>
              </a:solidFill>
              <a:latin typeface="Calibri"/>
            </a:endParaRPr>
          </a:p>
        </p:txBody>
      </p:sp>
      <p:grpSp>
        <p:nvGrpSpPr>
          <p:cNvPr id="27" name="Group 26">
            <a:extLst>
              <a:ext uri="{FF2B5EF4-FFF2-40B4-BE49-F238E27FC236}">
                <a16:creationId xmlns:a16="http://schemas.microsoft.com/office/drawing/2014/main" id="{4A3306DE-E9CE-49CD-9F5C-9CFFDF54F187}"/>
              </a:ext>
            </a:extLst>
          </p:cNvPr>
          <p:cNvGrpSpPr>
            <a:grpSpLocks/>
          </p:cNvGrpSpPr>
          <p:nvPr/>
        </p:nvGrpSpPr>
        <p:grpSpPr bwMode="auto">
          <a:xfrm>
            <a:off x="3970396" y="5786846"/>
            <a:ext cx="1008380" cy="974242"/>
            <a:chOff x="768" y="432"/>
            <a:chExt cx="960" cy="960"/>
          </a:xfrm>
        </p:grpSpPr>
        <p:sp>
          <p:nvSpPr>
            <p:cNvPr id="28" name="Oval 24">
              <a:extLst>
                <a:ext uri="{FF2B5EF4-FFF2-40B4-BE49-F238E27FC236}">
                  <a16:creationId xmlns:a16="http://schemas.microsoft.com/office/drawing/2014/main" id="{D00F0D62-BED0-4056-A1F9-B05A4588664F}"/>
                </a:ext>
              </a:extLst>
            </p:cNvPr>
            <p:cNvSpPr>
              <a:spLocks noChangeArrowheads="1"/>
            </p:cNvSpPr>
            <p:nvPr/>
          </p:nvSpPr>
          <p:spPr bwMode="auto">
            <a:xfrm>
              <a:off x="816" y="480"/>
              <a:ext cx="865" cy="864"/>
            </a:xfrm>
            <a:prstGeom prst="ellipse">
              <a:avLst/>
            </a:prstGeom>
            <a:noFill/>
            <a:ln w="9525">
              <a:solidFill>
                <a:schemeClr val="bg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defTabSz="756281" eaLnBrk="0" hangingPunct="0">
                <a:defRPr/>
              </a:pPr>
              <a:endParaRPr lang="pt-BR" sz="1800" baseline="30000" dirty="0">
                <a:solidFill>
                  <a:srgbClr val="000000"/>
                </a:solidFill>
                <a:latin typeface="Calibri"/>
              </a:endParaRPr>
            </a:p>
          </p:txBody>
        </p:sp>
        <p:sp>
          <p:nvSpPr>
            <p:cNvPr id="29" name="Oval 25">
              <a:extLst>
                <a:ext uri="{FF2B5EF4-FFF2-40B4-BE49-F238E27FC236}">
                  <a16:creationId xmlns:a16="http://schemas.microsoft.com/office/drawing/2014/main" id="{A2EEBD24-DD14-477F-8431-A111A2931D0B}"/>
                </a:ext>
              </a:extLst>
            </p:cNvPr>
            <p:cNvSpPr>
              <a:spLocks noChangeArrowheads="1"/>
            </p:cNvSpPr>
            <p:nvPr/>
          </p:nvSpPr>
          <p:spPr bwMode="auto">
            <a:xfrm>
              <a:off x="768" y="432"/>
              <a:ext cx="960" cy="960"/>
            </a:xfrm>
            <a:prstGeom prst="ellipse">
              <a:avLst/>
            </a:prstGeom>
            <a:noFill/>
            <a:ln w="9525" cap="rnd">
              <a:solidFill>
                <a:schemeClr val="bg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pPr defTabSz="756281" eaLnBrk="0" hangingPunct="0">
                <a:defRPr/>
              </a:pPr>
              <a:endParaRPr lang="pt-BR" sz="1800" baseline="30000" dirty="0">
                <a:solidFill>
                  <a:srgbClr val="000000"/>
                </a:solidFill>
                <a:latin typeface="Calibri"/>
              </a:endParaRPr>
            </a:p>
          </p:txBody>
        </p:sp>
      </p:grpSp>
      <p:sp>
        <p:nvSpPr>
          <p:cNvPr id="30" name="Line 38">
            <a:extLst>
              <a:ext uri="{FF2B5EF4-FFF2-40B4-BE49-F238E27FC236}">
                <a16:creationId xmlns:a16="http://schemas.microsoft.com/office/drawing/2014/main" id="{74A67C28-99B7-413A-8D80-0D55F3BB31DC}"/>
              </a:ext>
            </a:extLst>
          </p:cNvPr>
          <p:cNvSpPr>
            <a:spLocks noChangeShapeType="1"/>
          </p:cNvSpPr>
          <p:nvPr/>
        </p:nvSpPr>
        <p:spPr bwMode="auto">
          <a:xfrm>
            <a:off x="4915752" y="5512163"/>
            <a:ext cx="1764665" cy="1512570"/>
          </a:xfrm>
          <a:prstGeom prst="line">
            <a:avLst/>
          </a:prstGeom>
          <a:noFill/>
          <a:ln w="12700" cap="rnd">
            <a:solidFill>
              <a:schemeClr val="bg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75627" tIns="37813" rIns="75627" bIns="37813" anchor="ctr"/>
          <a:lstStyle/>
          <a:p>
            <a:pPr defTabSz="756281" eaLnBrk="0" hangingPunct="0">
              <a:defRPr/>
            </a:pPr>
            <a:endParaRPr lang="pt-BR" sz="2316" baseline="30000" dirty="0">
              <a:solidFill>
                <a:srgbClr val="000000"/>
              </a:solidFill>
              <a:latin typeface="Calibri"/>
            </a:endParaRPr>
          </a:p>
        </p:txBody>
      </p:sp>
      <p:graphicFrame>
        <p:nvGraphicFramePr>
          <p:cNvPr id="31" name="Diagrama 30">
            <a:extLst>
              <a:ext uri="{FF2B5EF4-FFF2-40B4-BE49-F238E27FC236}">
                <a16:creationId xmlns:a16="http://schemas.microsoft.com/office/drawing/2014/main" id="{E829B58A-83C8-411A-B3DF-7A838DF5AA08}"/>
              </a:ext>
            </a:extLst>
          </p:cNvPr>
          <p:cNvGraphicFramePr/>
          <p:nvPr>
            <p:extLst/>
          </p:nvPr>
        </p:nvGraphicFramePr>
        <p:xfrm>
          <a:off x="1028015" y="5483587"/>
          <a:ext cx="8783854" cy="127750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 name="CaixaDeTexto 2">
            <a:extLst>
              <a:ext uri="{FF2B5EF4-FFF2-40B4-BE49-F238E27FC236}">
                <a16:creationId xmlns:a16="http://schemas.microsoft.com/office/drawing/2014/main" id="{8CA319C1-F6E7-4206-96FA-9E93352DF4CB}"/>
              </a:ext>
            </a:extLst>
          </p:cNvPr>
          <p:cNvSpPr txBox="1"/>
          <p:nvPr/>
        </p:nvSpPr>
        <p:spPr>
          <a:xfrm>
            <a:off x="569016" y="3271464"/>
            <a:ext cx="9500581" cy="646331"/>
          </a:xfrm>
          <a:prstGeom prst="rect">
            <a:avLst/>
          </a:prstGeom>
          <a:noFill/>
          <a:ln>
            <a:solidFill>
              <a:srgbClr val="C00000"/>
            </a:solidFill>
          </a:ln>
        </p:spPr>
        <p:txBody>
          <a:bodyPr wrap="square" rtlCol="0">
            <a:spAutoFit/>
          </a:bodyPr>
          <a:lstStyle/>
          <a:p>
            <a:pPr algn="ctr"/>
            <a:r>
              <a:rPr lang="pt-BR" sz="1800" b="1" dirty="0"/>
              <a:t>Modernizar o marco-regulatório significa incorporar o entendimento correlacionado ao tratamento da saúde humana &amp; nutricional   </a:t>
            </a:r>
          </a:p>
        </p:txBody>
      </p:sp>
      <p:sp>
        <p:nvSpPr>
          <p:cNvPr id="4" name="Retângulo 3">
            <a:extLst>
              <a:ext uri="{FF2B5EF4-FFF2-40B4-BE49-F238E27FC236}">
                <a16:creationId xmlns:a16="http://schemas.microsoft.com/office/drawing/2014/main" id="{58D463A1-20DA-498D-90DE-29C33DE2DF52}"/>
              </a:ext>
            </a:extLst>
          </p:cNvPr>
          <p:cNvSpPr/>
          <p:nvPr/>
        </p:nvSpPr>
        <p:spPr>
          <a:xfrm>
            <a:off x="569016" y="3257198"/>
            <a:ext cx="9500581" cy="3515439"/>
          </a:xfrm>
          <a:prstGeom prst="rect">
            <a:avLst/>
          </a:prstGeom>
          <a:no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21776907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Graphic spid="2" grpId="0">
        <p:bldAsOne/>
      </p:bldGraphic>
      <p:bldGraphic spid="31" grpId="0">
        <p:bldAsOne/>
      </p:bldGraphic>
      <p:bldP spid="3" grpId="0" animBg="1"/>
      <p:bldP spid="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3430"/>
            <a:ext cx="10700809" cy="7568300"/>
          </a:xfrm>
          <a:prstGeom prst="rect">
            <a:avLst/>
          </a:prstGeom>
        </p:spPr>
      </p:pic>
      <p:sp>
        <p:nvSpPr>
          <p:cNvPr id="4" name="CasellaDiTesto 3"/>
          <p:cNvSpPr txBox="1"/>
          <p:nvPr/>
        </p:nvSpPr>
        <p:spPr>
          <a:xfrm>
            <a:off x="317620" y="1957476"/>
            <a:ext cx="9993551" cy="2695738"/>
          </a:xfrm>
          <a:prstGeom prst="rect">
            <a:avLst/>
          </a:prstGeom>
          <a:noFill/>
        </p:spPr>
        <p:txBody>
          <a:bodyPr wrap="square" rtlCol="0">
            <a:spAutoFit/>
          </a:bodyPr>
          <a:lstStyle/>
          <a:p>
            <a:pPr>
              <a:lnSpc>
                <a:spcPct val="70000"/>
              </a:lnSpc>
            </a:pPr>
            <a:r>
              <a:rPr lang="it-IT" sz="8000" b="1" cap="all" dirty="0">
                <a:ln w="19050">
                  <a:noFill/>
                </a:ln>
                <a:solidFill>
                  <a:srgbClr val="163D28"/>
                </a:solidFill>
                <a:latin typeface="Arial" pitchFamily="34" charset="0"/>
                <a:cs typeface="Arial" pitchFamily="34" charset="0"/>
              </a:rPr>
              <a:t>Nossa missão </a:t>
            </a:r>
            <a:endParaRPr lang="en-US" sz="8000" b="1" dirty="0">
              <a:ln w="19050">
                <a:noFill/>
              </a:ln>
              <a:solidFill>
                <a:srgbClr val="083D31"/>
              </a:solidFill>
              <a:latin typeface="Arial" pitchFamily="34" charset="0"/>
              <a:cs typeface="Arial" pitchFamily="34" charset="0"/>
            </a:endParaRPr>
          </a:p>
          <a:p>
            <a:pPr>
              <a:lnSpc>
                <a:spcPct val="70000"/>
              </a:lnSpc>
            </a:pPr>
            <a:r>
              <a:rPr lang="it-IT" sz="8000" b="1" cap="all" dirty="0">
                <a:ln w="19050">
                  <a:noFill/>
                </a:ln>
                <a:solidFill>
                  <a:srgbClr val="163D28"/>
                </a:solidFill>
                <a:latin typeface="Arial" pitchFamily="34" charset="0"/>
                <a:cs typeface="Arial" pitchFamily="34" charset="0"/>
              </a:rPr>
              <a:t>Nossa VISão,</a:t>
            </a:r>
            <a:endParaRPr lang="en-US" sz="8000" b="1" dirty="0">
              <a:ln w="19050">
                <a:noFill/>
              </a:ln>
              <a:solidFill>
                <a:srgbClr val="083D31"/>
              </a:solidFill>
              <a:latin typeface="Arial" pitchFamily="34" charset="0"/>
              <a:cs typeface="Arial" pitchFamily="34" charset="0"/>
            </a:endParaRPr>
          </a:p>
          <a:p>
            <a:pPr>
              <a:lnSpc>
                <a:spcPct val="70000"/>
              </a:lnSpc>
            </a:pPr>
            <a:r>
              <a:rPr lang="en-US" sz="8000" b="1" cap="all" dirty="0" err="1">
                <a:ln w="19050">
                  <a:noFill/>
                </a:ln>
                <a:solidFill>
                  <a:srgbClr val="083D31"/>
                </a:solidFill>
                <a:latin typeface="Arial" pitchFamily="34" charset="0"/>
                <a:cs typeface="Arial" pitchFamily="34" charset="0"/>
              </a:rPr>
              <a:t>Nossos</a:t>
            </a:r>
            <a:r>
              <a:rPr lang="en-US" sz="8000" b="1" cap="all" dirty="0">
                <a:ln w="19050">
                  <a:noFill/>
                </a:ln>
                <a:solidFill>
                  <a:srgbClr val="083D31"/>
                </a:solidFill>
                <a:latin typeface="Arial" pitchFamily="34" charset="0"/>
                <a:cs typeface="Arial" pitchFamily="34" charset="0"/>
              </a:rPr>
              <a:t> </a:t>
            </a:r>
            <a:r>
              <a:rPr lang="en-US" sz="8000" b="1" cap="all" dirty="0" err="1">
                <a:ln w="19050">
                  <a:noFill/>
                </a:ln>
                <a:solidFill>
                  <a:srgbClr val="083D31"/>
                </a:solidFill>
                <a:latin typeface="Arial" pitchFamily="34" charset="0"/>
                <a:cs typeface="Arial" pitchFamily="34" charset="0"/>
              </a:rPr>
              <a:t>valores</a:t>
            </a:r>
            <a:endParaRPr lang="en-US" sz="8000" b="1" dirty="0">
              <a:ln w="19050">
                <a:noFill/>
              </a:ln>
              <a:solidFill>
                <a:srgbClr val="083D31"/>
              </a:solidFill>
              <a:latin typeface="Arial" pitchFamily="34" charset="0"/>
              <a:cs typeface="Arial" pitchFamily="34" charset="0"/>
            </a:endParaRPr>
          </a:p>
        </p:txBody>
      </p:sp>
      <p:pic>
        <p:nvPicPr>
          <p:cNvPr id="8" name="Immagin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822365" y="6976136"/>
            <a:ext cx="1488807" cy="420503"/>
          </a:xfrm>
          <a:prstGeom prst="rect">
            <a:avLst/>
          </a:prstGeom>
        </p:spPr>
      </p:pic>
    </p:spTree>
    <p:extLst>
      <p:ext uri="{BB962C8B-B14F-4D97-AF65-F5344CB8AC3E}">
        <p14:creationId xmlns:p14="http://schemas.microsoft.com/office/powerpoint/2010/main" val="4344585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5082"/>
            <a:ext cx="10700808" cy="7564995"/>
          </a:xfrm>
          <a:prstGeom prst="rect">
            <a:avLst/>
          </a:prstGeom>
        </p:spPr>
      </p:pic>
      <p:sp>
        <p:nvSpPr>
          <p:cNvPr id="3" name="Rettangolo 2"/>
          <p:cNvSpPr/>
          <p:nvPr/>
        </p:nvSpPr>
        <p:spPr>
          <a:xfrm>
            <a:off x="2469000" y="631322"/>
            <a:ext cx="4528381" cy="3982629"/>
          </a:xfrm>
          <a:prstGeom prst="rect">
            <a:avLst/>
          </a:prstGeom>
        </p:spPr>
        <p:txBody>
          <a:bodyPr wrap="square">
            <a:spAutoFit/>
          </a:bodyPr>
          <a:lstStyle/>
          <a:p>
            <a:r>
              <a:rPr lang="pt-BR" sz="1400" dirty="0">
                <a:solidFill>
                  <a:srgbClr val="163D28"/>
                </a:solidFill>
                <a:latin typeface="Arial"/>
                <a:cs typeface="Arial"/>
              </a:rPr>
              <a:t>Há anos VALAGRO veem desenvolvendo com paixão </a:t>
            </a:r>
            <a:r>
              <a:rPr lang="pt-BR" sz="1600" b="1" dirty="0">
                <a:solidFill>
                  <a:srgbClr val="163D28"/>
                </a:solidFill>
                <a:latin typeface="Arial"/>
                <a:cs typeface="Arial"/>
              </a:rPr>
              <a:t>inovadoras e efetivas soluções para nutrição e cuidado de plantas</a:t>
            </a:r>
            <a:r>
              <a:rPr lang="pt-BR" sz="1400" dirty="0">
                <a:solidFill>
                  <a:srgbClr val="163D28"/>
                </a:solidFill>
                <a:latin typeface="Arial"/>
                <a:cs typeface="Arial"/>
              </a:rPr>
              <a:t>, enquanto respeita pessoas e o ambiente. A crescente demanda por alimentos e bem estar da população mundial necessita uma resposta efetiva. Confiar no retorno a métodos naturais não é uma alternativa realista, porque não é suficiente para </a:t>
            </a:r>
            <a:r>
              <a:rPr lang="pt-BR" sz="1600" b="1" dirty="0">
                <a:solidFill>
                  <a:srgbClr val="163D28"/>
                </a:solidFill>
                <a:latin typeface="Arial"/>
                <a:cs typeface="Arial"/>
              </a:rPr>
              <a:t>atender os desafios globais. </a:t>
            </a:r>
            <a:r>
              <a:rPr lang="pt-BR" sz="1400" dirty="0">
                <a:solidFill>
                  <a:srgbClr val="163D28"/>
                </a:solidFill>
                <a:latin typeface="Arial"/>
                <a:cs typeface="Arial"/>
              </a:rPr>
              <a:t>Por outro lado, depender excessivamente da química não é uma alternativa sustentável para o meio-ambiente a longo prazo</a:t>
            </a:r>
            <a:endParaRPr lang="pt-BR" sz="1400" b="1" dirty="0">
              <a:solidFill>
                <a:srgbClr val="163D28"/>
              </a:solidFill>
              <a:latin typeface="Arial"/>
              <a:cs typeface="Arial"/>
            </a:endParaRPr>
          </a:p>
          <a:p>
            <a:endParaRPr lang="pt-BR" sz="1400" dirty="0">
              <a:solidFill>
                <a:srgbClr val="163D28"/>
              </a:solidFill>
              <a:latin typeface="Arial"/>
              <a:cs typeface="Arial"/>
            </a:endParaRPr>
          </a:p>
          <a:p>
            <a:pPr>
              <a:lnSpc>
                <a:spcPct val="80000"/>
              </a:lnSpc>
            </a:pPr>
            <a:r>
              <a:rPr lang="pt-BR" sz="1600" dirty="0">
                <a:solidFill>
                  <a:srgbClr val="608D26"/>
                </a:solidFill>
                <a:latin typeface="Arial"/>
                <a:cs typeface="Arial"/>
              </a:rPr>
              <a:t>Preocupados com este desafio, VALAGRO acredita que é possível encontrar uma via que atenda as necessidades da humanidade, usando menos recursos, colocando a Ciência ao serviço do homem através da inovação com respeito a Natureza.</a:t>
            </a:r>
          </a:p>
        </p:txBody>
      </p:sp>
      <p:sp>
        <p:nvSpPr>
          <p:cNvPr id="9" name="Rettangolo 8"/>
          <p:cNvSpPr/>
          <p:nvPr/>
        </p:nvSpPr>
        <p:spPr>
          <a:xfrm>
            <a:off x="2495646" y="4694529"/>
            <a:ext cx="4439569" cy="1820178"/>
          </a:xfrm>
          <a:prstGeom prst="rect">
            <a:avLst/>
          </a:prstGeom>
        </p:spPr>
        <p:txBody>
          <a:bodyPr wrap="square">
            <a:spAutoFit/>
          </a:bodyPr>
          <a:lstStyle/>
          <a:p>
            <a:endParaRPr lang="pt-BR" sz="1400">
              <a:solidFill>
                <a:srgbClr val="FFFFFF"/>
              </a:solidFill>
              <a:latin typeface="Arial" pitchFamily="34" charset="0"/>
              <a:cs typeface="Arial" pitchFamily="34" charset="0"/>
            </a:endParaRPr>
          </a:p>
          <a:p>
            <a:pPr marL="285750" indent="-285750">
              <a:lnSpc>
                <a:spcPts val="1700"/>
              </a:lnSpc>
              <a:buFont typeface="Arial"/>
              <a:buChar char="•"/>
            </a:pPr>
            <a:r>
              <a:rPr lang="pt-BR" sz="1400" b="1">
                <a:solidFill>
                  <a:srgbClr val="FFFFFF"/>
                </a:solidFill>
                <a:latin typeface="Arial" pitchFamily="34" charset="0"/>
                <a:cs typeface="Arial" pitchFamily="34" charset="0"/>
              </a:rPr>
              <a:t>HONESTIDADE E INTEGRIDADE  </a:t>
            </a:r>
          </a:p>
          <a:p>
            <a:pPr marL="285750" indent="-285750">
              <a:lnSpc>
                <a:spcPts val="1700"/>
              </a:lnSpc>
              <a:buFont typeface="Arial"/>
              <a:buChar char="•"/>
            </a:pPr>
            <a:r>
              <a:rPr lang="pt-BR" sz="1400" b="1">
                <a:solidFill>
                  <a:srgbClr val="FFFFFF"/>
                </a:solidFill>
                <a:latin typeface="Arial" pitchFamily="34" charset="0"/>
                <a:cs typeface="Arial" pitchFamily="34" charset="0"/>
              </a:rPr>
              <a:t>PAIXÃO PELO CLIENTE, PRODUTOS E POR NOSSO TRABALHO</a:t>
            </a:r>
          </a:p>
          <a:p>
            <a:pPr marL="285750" indent="-285750">
              <a:lnSpc>
                <a:spcPts val="1700"/>
              </a:lnSpc>
              <a:buFont typeface="Arial"/>
              <a:buChar char="•"/>
            </a:pPr>
            <a:r>
              <a:rPr lang="pt-BR" sz="1400" b="1">
                <a:solidFill>
                  <a:srgbClr val="FFFFFF"/>
                </a:solidFill>
                <a:latin typeface="Arial" pitchFamily="34" charset="0"/>
                <a:cs typeface="Arial" pitchFamily="34" charset="0"/>
              </a:rPr>
              <a:t>RESPONSIABILIDADE POR NOS, OUTROS E PELO MEIO-MABIENTE</a:t>
            </a:r>
          </a:p>
          <a:p>
            <a:pPr marL="285750" indent="-285750">
              <a:lnSpc>
                <a:spcPts val="1700"/>
              </a:lnSpc>
              <a:buFont typeface="Arial"/>
              <a:buChar char="•"/>
            </a:pPr>
            <a:r>
              <a:rPr lang="pt-BR" sz="1400" b="1">
                <a:solidFill>
                  <a:srgbClr val="FFFFFF"/>
                </a:solidFill>
                <a:latin typeface="Arial" pitchFamily="34" charset="0"/>
                <a:cs typeface="Arial" pitchFamily="34" charset="0"/>
              </a:rPr>
              <a:t>COHESÃO E MULTICULTURALISMO</a:t>
            </a:r>
          </a:p>
          <a:p>
            <a:pPr marL="285750" indent="-285750">
              <a:lnSpc>
                <a:spcPts val="1700"/>
              </a:lnSpc>
              <a:buFont typeface="Arial"/>
              <a:buChar char="•"/>
            </a:pPr>
            <a:r>
              <a:rPr lang="pt-BR" sz="1400" b="1">
                <a:solidFill>
                  <a:srgbClr val="FFFFFF"/>
                </a:solidFill>
                <a:latin typeface="Arial" pitchFamily="34" charset="0"/>
                <a:cs typeface="Arial" pitchFamily="34" charset="0"/>
              </a:rPr>
              <a:t>CONFIANÇA NA INOVAÇÃO</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1" name="Rettangolo 10"/>
          <p:cNvSpPr/>
          <p:nvPr/>
        </p:nvSpPr>
        <p:spPr>
          <a:xfrm>
            <a:off x="639450" y="3350466"/>
            <a:ext cx="1678566" cy="781752"/>
          </a:xfrm>
          <a:prstGeom prst="rect">
            <a:avLst/>
          </a:prstGeom>
        </p:spPr>
        <p:txBody>
          <a:bodyPr wrap="square">
            <a:spAutoFit/>
          </a:bodyPr>
          <a:lstStyle/>
          <a:p>
            <a:pPr algn="r">
              <a:lnSpc>
                <a:spcPct val="80000"/>
              </a:lnSpc>
            </a:pPr>
            <a:r>
              <a:rPr lang="pt-BR" sz="2800" b="1" cap="all">
                <a:ln w="19050">
                  <a:noFill/>
                </a:ln>
                <a:solidFill>
                  <a:srgbClr val="608D26"/>
                </a:solidFill>
                <a:latin typeface="Arial" pitchFamily="34" charset="0"/>
                <a:cs typeface="Arial" pitchFamily="34" charset="0"/>
              </a:rPr>
              <a:t>Nossa visão</a:t>
            </a:r>
            <a:endParaRPr lang="pt-BR" sz="3200" b="1" cap="all">
              <a:ln w="19050">
                <a:noFill/>
              </a:ln>
              <a:solidFill>
                <a:srgbClr val="608D26"/>
              </a:solidFill>
              <a:latin typeface="Arial" pitchFamily="34" charset="0"/>
              <a:cs typeface="Arial" pitchFamily="34" charset="0"/>
            </a:endParaRPr>
          </a:p>
        </p:txBody>
      </p:sp>
      <p:sp>
        <p:nvSpPr>
          <p:cNvPr id="14" name="Rettangolo 13"/>
          <p:cNvSpPr/>
          <p:nvPr/>
        </p:nvSpPr>
        <p:spPr>
          <a:xfrm>
            <a:off x="381893" y="1000721"/>
            <a:ext cx="1936123" cy="781752"/>
          </a:xfrm>
          <a:prstGeom prst="rect">
            <a:avLst/>
          </a:prstGeom>
        </p:spPr>
        <p:txBody>
          <a:bodyPr wrap="square">
            <a:spAutoFit/>
          </a:bodyPr>
          <a:lstStyle/>
          <a:p>
            <a:pPr algn="r">
              <a:lnSpc>
                <a:spcPct val="80000"/>
              </a:lnSpc>
            </a:pPr>
            <a:r>
              <a:rPr lang="pt-BR" sz="2800" b="1" cap="all">
                <a:ln w="19050">
                  <a:noFill/>
                </a:ln>
                <a:solidFill>
                  <a:srgbClr val="163D28"/>
                </a:solidFill>
                <a:latin typeface="Arial" pitchFamily="34" charset="0"/>
                <a:cs typeface="Arial" pitchFamily="34" charset="0"/>
              </a:rPr>
              <a:t>Nossa missão</a:t>
            </a:r>
            <a:endParaRPr lang="pt-BR" sz="1400">
              <a:solidFill>
                <a:srgbClr val="608D26"/>
              </a:solidFill>
              <a:latin typeface="Arial"/>
              <a:cs typeface="Arial"/>
            </a:endParaRPr>
          </a:p>
        </p:txBody>
      </p:sp>
      <p:sp>
        <p:nvSpPr>
          <p:cNvPr id="15" name="Rettangolo 14"/>
          <p:cNvSpPr/>
          <p:nvPr/>
        </p:nvSpPr>
        <p:spPr>
          <a:xfrm>
            <a:off x="470706" y="4933553"/>
            <a:ext cx="1847310" cy="683264"/>
          </a:xfrm>
          <a:prstGeom prst="rect">
            <a:avLst/>
          </a:prstGeom>
        </p:spPr>
        <p:txBody>
          <a:bodyPr wrap="square">
            <a:spAutoFit/>
          </a:bodyPr>
          <a:lstStyle/>
          <a:p>
            <a:pPr algn="r">
              <a:lnSpc>
                <a:spcPct val="80000"/>
              </a:lnSpc>
            </a:pPr>
            <a:r>
              <a:rPr lang="pt-BR" sz="2400" b="1" cap="all">
                <a:ln w="19050">
                  <a:noFill/>
                </a:ln>
                <a:solidFill>
                  <a:schemeClr val="bg1"/>
                </a:solidFill>
                <a:latin typeface="Arial" pitchFamily="34" charset="0"/>
                <a:cs typeface="Arial" pitchFamily="34" charset="0"/>
              </a:rPr>
              <a:t>nOSSOS VALORES</a:t>
            </a:r>
            <a:endParaRPr lang="pt-BR" sz="1600">
              <a:solidFill>
                <a:schemeClr val="bg1"/>
              </a:solidFill>
              <a:latin typeface="Arial"/>
              <a:cs typeface="Arial"/>
            </a:endParaRPr>
          </a:p>
        </p:txBody>
      </p:sp>
      <p:cxnSp>
        <p:nvCxnSpPr>
          <p:cNvPr id="5" name="Connettore 1 4"/>
          <p:cNvCxnSpPr/>
          <p:nvPr/>
        </p:nvCxnSpPr>
        <p:spPr>
          <a:xfrm>
            <a:off x="2397949" y="5082"/>
            <a:ext cx="0" cy="3147493"/>
          </a:xfrm>
          <a:prstGeom prst="line">
            <a:avLst/>
          </a:prstGeom>
          <a:ln>
            <a:solidFill>
              <a:srgbClr val="375B49"/>
            </a:solidFill>
          </a:ln>
          <a:effectLst/>
        </p:spPr>
        <p:style>
          <a:lnRef idx="2">
            <a:schemeClr val="accent1"/>
          </a:lnRef>
          <a:fillRef idx="0">
            <a:schemeClr val="accent1"/>
          </a:fillRef>
          <a:effectRef idx="1">
            <a:schemeClr val="accent1"/>
          </a:effectRef>
          <a:fontRef idx="minor">
            <a:schemeClr val="tx1"/>
          </a:fontRef>
        </p:style>
      </p:cxnSp>
      <p:cxnSp>
        <p:nvCxnSpPr>
          <p:cNvPr id="7" name="Connettore 1 6"/>
          <p:cNvCxnSpPr/>
          <p:nvPr/>
        </p:nvCxnSpPr>
        <p:spPr>
          <a:xfrm>
            <a:off x="2397949" y="3436751"/>
            <a:ext cx="0" cy="1127822"/>
          </a:xfrm>
          <a:prstGeom prst="line">
            <a:avLst/>
          </a:prstGeom>
          <a:ln>
            <a:solidFill>
              <a:srgbClr val="608D26"/>
            </a:solidFill>
          </a:ln>
          <a:effectLst/>
        </p:spPr>
        <p:style>
          <a:lnRef idx="2">
            <a:schemeClr val="accent1"/>
          </a:lnRef>
          <a:fillRef idx="0">
            <a:schemeClr val="accent1"/>
          </a:fillRef>
          <a:effectRef idx="1">
            <a:schemeClr val="accent1"/>
          </a:effectRef>
          <a:fontRef idx="minor">
            <a:schemeClr val="tx1"/>
          </a:fontRef>
        </p:style>
      </p:cxnSp>
      <p:cxnSp>
        <p:nvCxnSpPr>
          <p:cNvPr id="21" name="Connettore 1 20"/>
          <p:cNvCxnSpPr/>
          <p:nvPr/>
        </p:nvCxnSpPr>
        <p:spPr>
          <a:xfrm flipH="1">
            <a:off x="2391991" y="5005561"/>
            <a:ext cx="5958" cy="2564517"/>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6" name="Rettangolo 15"/>
          <p:cNvSpPr/>
          <p:nvPr/>
        </p:nvSpPr>
        <p:spPr>
          <a:xfrm>
            <a:off x="303759" y="6964608"/>
            <a:ext cx="885097" cy="220573"/>
          </a:xfrm>
          <a:prstGeom prst="rect">
            <a:avLst/>
          </a:prstGeom>
        </p:spPr>
        <p:txBody>
          <a:bodyPr wrap="square">
            <a:spAutoFit/>
          </a:bodyPr>
          <a:lstStyle/>
          <a:p>
            <a:pPr>
              <a:lnSpc>
                <a:spcPct val="80000"/>
              </a:lnSpc>
            </a:pPr>
            <a:r>
              <a:rPr lang="pt-BR" sz="1000">
                <a:solidFill>
                  <a:srgbClr val="375B49"/>
                </a:solidFill>
                <a:latin typeface="Arial" pitchFamily="34" charset="0"/>
                <a:cs typeface="Arial" pitchFamily="34" charset="0"/>
              </a:rPr>
              <a:t>5</a:t>
            </a:r>
          </a:p>
        </p:txBody>
      </p:sp>
    </p:spTree>
    <p:extLst>
      <p:ext uri="{BB962C8B-B14F-4D97-AF65-F5344CB8AC3E}">
        <p14:creationId xmlns:p14="http://schemas.microsoft.com/office/powerpoint/2010/main" val="22857256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69" y="-2143"/>
            <a:ext cx="10700804" cy="7564993"/>
          </a:xfrm>
          <a:prstGeom prst="rect">
            <a:avLst/>
          </a:prstGeom>
        </p:spPr>
      </p:pic>
      <p:sp>
        <p:nvSpPr>
          <p:cNvPr id="2" name="Rettangolo 1"/>
          <p:cNvSpPr/>
          <p:nvPr/>
        </p:nvSpPr>
        <p:spPr>
          <a:xfrm>
            <a:off x="279204" y="179991"/>
            <a:ext cx="5768669" cy="553998"/>
          </a:xfrm>
          <a:prstGeom prst="rect">
            <a:avLst/>
          </a:prstGeom>
        </p:spPr>
        <p:txBody>
          <a:bodyPr wrap="square">
            <a:spAutoFit/>
          </a:bodyPr>
          <a:lstStyle/>
          <a:p>
            <a:r>
              <a:rPr lang="en-US" sz="3000" b="1" cap="all" dirty="0" err="1">
                <a:ln w="19050">
                  <a:noFill/>
                </a:ln>
                <a:solidFill>
                  <a:srgbClr val="163D28"/>
                </a:solidFill>
                <a:latin typeface="Arial" pitchFamily="34" charset="0"/>
                <a:cs typeface="Arial" pitchFamily="34" charset="0"/>
              </a:rPr>
              <a:t>resumo</a:t>
            </a:r>
            <a:r>
              <a:rPr lang="en-US" sz="3000" b="1" cap="all" dirty="0">
                <a:ln w="19050">
                  <a:noFill/>
                </a:ln>
                <a:solidFill>
                  <a:srgbClr val="163D28"/>
                </a:solidFill>
                <a:latin typeface="Arial" pitchFamily="34" charset="0"/>
                <a:cs typeface="Arial" pitchFamily="34" charset="0"/>
              </a:rPr>
              <a:t> </a:t>
            </a:r>
            <a:r>
              <a:rPr lang="en-US" sz="3000" b="1" cap="all" dirty="0" err="1">
                <a:ln w="19050">
                  <a:noFill/>
                </a:ln>
                <a:solidFill>
                  <a:srgbClr val="163D28"/>
                </a:solidFill>
                <a:latin typeface="Arial" pitchFamily="34" charset="0"/>
                <a:cs typeface="Arial" pitchFamily="34" charset="0"/>
              </a:rPr>
              <a:t>corporativo</a:t>
            </a:r>
            <a:r>
              <a:rPr lang="en-US" sz="3000" b="1" cap="all" dirty="0">
                <a:ln w="19050">
                  <a:noFill/>
                </a:ln>
                <a:solidFill>
                  <a:srgbClr val="163D28"/>
                </a:solidFill>
                <a:latin typeface="Arial" pitchFamily="34" charset="0"/>
                <a:cs typeface="Arial" pitchFamily="34" charset="0"/>
              </a:rPr>
              <a:t> </a:t>
            </a:r>
            <a:r>
              <a:rPr lang="en-US" sz="3000" cap="all" dirty="0">
                <a:ln w="19050">
                  <a:noFill/>
                </a:ln>
                <a:solidFill>
                  <a:srgbClr val="163D28"/>
                </a:solidFill>
                <a:latin typeface="Arial" pitchFamily="34" charset="0"/>
                <a:cs typeface="Arial" pitchFamily="34" charset="0"/>
              </a:rPr>
              <a:t>|</a:t>
            </a:r>
            <a:r>
              <a:rPr lang="en-US" sz="3000" b="1" cap="all" dirty="0">
                <a:ln w="19050">
                  <a:noFill/>
                </a:ln>
                <a:solidFill>
                  <a:srgbClr val="163D28"/>
                </a:solidFill>
                <a:latin typeface="Arial" pitchFamily="34" charset="0"/>
                <a:cs typeface="Arial" pitchFamily="34" charset="0"/>
              </a:rPr>
              <a:t> </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3" name="Rectangle 19"/>
          <p:cNvSpPr/>
          <p:nvPr/>
        </p:nvSpPr>
        <p:spPr>
          <a:xfrm>
            <a:off x="6140340" y="203559"/>
            <a:ext cx="4431407" cy="609398"/>
          </a:xfrm>
          <a:prstGeom prst="rect">
            <a:avLst/>
          </a:prstGeom>
        </p:spPr>
        <p:txBody>
          <a:bodyPr wrap="square">
            <a:spAutoFit/>
          </a:bodyPr>
          <a:lstStyle/>
          <a:p>
            <a:pPr marL="0" marR="0" lvl="0" indent="0" defTabSz="914400" eaLnBrk="1" fontAlgn="auto" latinLnBrk="0" hangingPunct="1">
              <a:lnSpc>
                <a:spcPct val="80000"/>
              </a:lnSpc>
              <a:spcBef>
                <a:spcPts val="0"/>
              </a:spcBef>
              <a:spcAft>
                <a:spcPts val="0"/>
              </a:spcAft>
              <a:buClrTx/>
              <a:buSzTx/>
              <a:buFontTx/>
              <a:buNone/>
              <a:tabLst/>
              <a:defRPr sz="1400" b="1" i="0" u="none" strike="noStrike" kern="1200" baseline="0">
                <a:solidFill>
                  <a:prstClr val="black"/>
                </a:solidFill>
                <a:latin typeface="+mn-lt"/>
                <a:ea typeface="+mn-ea"/>
                <a:cs typeface="+mn-cs"/>
              </a:defRPr>
            </a:pPr>
            <a:endParaRPr lang="pt-BR" sz="1400" dirty="0">
              <a:solidFill>
                <a:srgbClr val="A9C78F"/>
              </a:solidFill>
              <a:latin typeface="Arial" pitchFamily="34" charset="0"/>
              <a:cs typeface="Arial" pitchFamily="34" charset="0"/>
            </a:endParaRPr>
          </a:p>
          <a:p>
            <a:pPr marL="0" marR="0" lvl="0" indent="0" defTabSz="914400" eaLnBrk="1" fontAlgn="auto" latinLnBrk="0" hangingPunct="1">
              <a:lnSpc>
                <a:spcPct val="80000"/>
              </a:lnSpc>
              <a:spcBef>
                <a:spcPts val="0"/>
              </a:spcBef>
              <a:spcAft>
                <a:spcPts val="0"/>
              </a:spcAft>
              <a:buClrTx/>
              <a:buSzTx/>
              <a:buFontTx/>
              <a:buNone/>
              <a:tabLst/>
              <a:defRPr sz="1400" b="1" i="0" u="none" strike="noStrike" kern="1200" baseline="0">
                <a:solidFill>
                  <a:prstClr val="black"/>
                </a:solidFill>
                <a:latin typeface="+mn-lt"/>
                <a:ea typeface="+mn-ea"/>
                <a:cs typeface="+mn-cs"/>
              </a:defRPr>
            </a:pPr>
            <a:r>
              <a:rPr lang="pt-BR" sz="1400" dirty="0">
                <a:solidFill>
                  <a:srgbClr val="A9C78F"/>
                </a:solidFill>
                <a:latin typeface="Arial" pitchFamily="34" charset="0"/>
                <a:cs typeface="Arial" pitchFamily="34" charset="0"/>
              </a:rPr>
              <a:t>A </a:t>
            </a:r>
            <a:r>
              <a:rPr lang="pt-BR" sz="1400" dirty="0" err="1">
                <a:solidFill>
                  <a:srgbClr val="A9C78F"/>
                </a:solidFill>
                <a:latin typeface="Arial" pitchFamily="34" charset="0"/>
                <a:cs typeface="Arial" pitchFamily="34" charset="0"/>
              </a:rPr>
              <a:t>Valagro</a:t>
            </a:r>
            <a:r>
              <a:rPr lang="pt-BR" sz="1400" dirty="0">
                <a:solidFill>
                  <a:srgbClr val="A9C78F"/>
                </a:solidFill>
                <a:latin typeface="Arial" pitchFamily="34" charset="0"/>
                <a:cs typeface="Arial" pitchFamily="34" charset="0"/>
              </a:rPr>
              <a:t> é uma empresa global líder em </a:t>
            </a:r>
            <a:r>
              <a:rPr lang="pt-BR" sz="1400" dirty="0" err="1">
                <a:solidFill>
                  <a:srgbClr val="A9C78F"/>
                </a:solidFill>
                <a:latin typeface="Arial" pitchFamily="34" charset="0"/>
                <a:cs typeface="Arial" pitchFamily="34" charset="0"/>
              </a:rPr>
              <a:t>bioestimulantes</a:t>
            </a:r>
            <a:r>
              <a:rPr lang="pt-BR" sz="1400" dirty="0">
                <a:solidFill>
                  <a:srgbClr val="A9C78F"/>
                </a:solidFill>
                <a:latin typeface="Arial" pitchFamily="34" charset="0"/>
                <a:cs typeface="Arial" pitchFamily="34" charset="0"/>
              </a:rPr>
              <a:t> e nutrientes especiais.</a:t>
            </a:r>
            <a:endParaRPr lang="en-US" sz="1400" dirty="0">
              <a:solidFill>
                <a:srgbClr val="A9C78F"/>
              </a:solidFill>
              <a:latin typeface="Arial" pitchFamily="34" charset="0"/>
              <a:cs typeface="Arial" pitchFamily="34" charset="0"/>
            </a:endParaRPr>
          </a:p>
        </p:txBody>
      </p:sp>
      <p:sp>
        <p:nvSpPr>
          <p:cNvPr id="25" name="CasellaDiTesto 24"/>
          <p:cNvSpPr txBox="1"/>
          <p:nvPr/>
        </p:nvSpPr>
        <p:spPr>
          <a:xfrm>
            <a:off x="718196" y="1064829"/>
            <a:ext cx="3716984" cy="5629233"/>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lang="pt-BR" sz="2400" b="1" kern="0" dirty="0">
                <a:solidFill>
                  <a:schemeClr val="bg1">
                    <a:lumMod val="50000"/>
                  </a:schemeClr>
                </a:solidFill>
                <a:latin typeface="Arial"/>
              </a:rPr>
              <a:t>1</a:t>
            </a:r>
            <a:r>
              <a:rPr lang="pt-BR" sz="2400" b="1" kern="0" dirty="0">
                <a:solidFill>
                  <a:srgbClr val="163D28"/>
                </a:solidFill>
                <a:latin typeface="Arial"/>
              </a:rPr>
              <a:t> </a:t>
            </a:r>
            <a:r>
              <a:rPr lang="pt-BR" sz="1800" b="1" kern="0" dirty="0">
                <a:solidFill>
                  <a:srgbClr val="163D28"/>
                </a:solidFill>
                <a:latin typeface="Arial"/>
              </a:rPr>
              <a:t>RESUMO</a:t>
            </a:r>
          </a:p>
          <a:p>
            <a:pPr marL="0" marR="0" lvl="0" indent="0" defTabSz="914400" eaLnBrk="1" fontAlgn="auto" latinLnBrk="0" hangingPunct="1">
              <a:lnSpc>
                <a:spcPct val="80000"/>
              </a:lnSpc>
              <a:spcBef>
                <a:spcPts val="0"/>
              </a:spcBef>
              <a:spcAft>
                <a:spcPts val="0"/>
              </a:spcAft>
              <a:buClrTx/>
              <a:buSzTx/>
              <a:buFontTx/>
              <a:buNone/>
              <a:tabLst/>
              <a:defRPr/>
            </a:pPr>
            <a:endParaRPr lang="pt-BR" sz="1800" b="1" kern="0" dirty="0">
              <a:solidFill>
                <a:srgbClr val="163D28"/>
              </a:solidFill>
              <a:latin typeface="Arial"/>
            </a:endParaRPr>
          </a:p>
          <a:p>
            <a:pPr marL="0" marR="0" lvl="0" indent="0" defTabSz="914400" eaLnBrk="1" fontAlgn="auto" latinLnBrk="0" hangingPunct="1">
              <a:lnSpc>
                <a:spcPct val="80000"/>
              </a:lnSpc>
              <a:spcBef>
                <a:spcPts val="0"/>
              </a:spcBef>
              <a:spcAft>
                <a:spcPts val="0"/>
              </a:spcAft>
              <a:buClrTx/>
              <a:buSzTx/>
              <a:buFontTx/>
              <a:buNone/>
              <a:tabLst/>
              <a:defRPr/>
            </a:pPr>
            <a:endParaRPr lang="pt-BR" sz="1400" b="1" kern="0" dirty="0">
              <a:solidFill>
                <a:srgbClr val="375B49"/>
              </a:solidFill>
              <a:latin typeface="Arial"/>
            </a:endParaRPr>
          </a:p>
          <a:p>
            <a:pPr marR="0" lvl="0" defTabSz="914400" eaLnBrk="1" fontAlgn="auto" latinLnBrk="0" hangingPunct="1">
              <a:lnSpc>
                <a:spcPct val="90000"/>
              </a:lnSpc>
              <a:spcBef>
                <a:spcPts val="0"/>
              </a:spcBef>
              <a:spcAft>
                <a:spcPts val="0"/>
              </a:spcAft>
              <a:buClrTx/>
              <a:buSzTx/>
              <a:tabLst/>
              <a:defRPr/>
            </a:pPr>
            <a:r>
              <a:rPr lang="pt-BR" sz="1800" b="1" kern="0" dirty="0">
                <a:solidFill>
                  <a:srgbClr val="7F7F7F"/>
                </a:solidFill>
                <a:latin typeface="Arial"/>
              </a:rPr>
              <a:t>Fundada em 1980.</a:t>
            </a:r>
          </a:p>
          <a:p>
            <a:pPr marR="0" lvl="0" defTabSz="914400" eaLnBrk="1" fontAlgn="auto" latinLnBrk="0" hangingPunct="1">
              <a:lnSpc>
                <a:spcPct val="90000"/>
              </a:lnSpc>
              <a:spcBef>
                <a:spcPts val="0"/>
              </a:spcBef>
              <a:spcAft>
                <a:spcPts val="0"/>
              </a:spcAft>
              <a:buClrTx/>
              <a:buSzTx/>
              <a:tabLst/>
              <a:defRPr/>
            </a:pPr>
            <a:endParaRPr lang="pt-BR" sz="1600" kern="0" dirty="0">
              <a:solidFill>
                <a:srgbClr val="7F7F7F"/>
              </a:solidFill>
              <a:latin typeface="Arial"/>
            </a:endParaRPr>
          </a:p>
          <a:p>
            <a:pPr marR="0" lvl="0" defTabSz="914400" eaLnBrk="1" fontAlgn="auto" latinLnBrk="0" hangingPunct="1">
              <a:lnSpc>
                <a:spcPct val="90000"/>
              </a:lnSpc>
              <a:spcBef>
                <a:spcPts val="0"/>
              </a:spcBef>
              <a:spcAft>
                <a:spcPts val="0"/>
              </a:spcAft>
              <a:buClrTx/>
              <a:buSzTx/>
              <a:tabLst/>
              <a:defRPr/>
            </a:pPr>
            <a:r>
              <a:rPr lang="pt-BR" sz="1800" b="1" kern="0" dirty="0">
                <a:solidFill>
                  <a:srgbClr val="7F7F7F"/>
                </a:solidFill>
                <a:latin typeface="Arial"/>
              </a:rPr>
              <a:t>Desenvolve soluções sustentáveis </a:t>
            </a:r>
            <a:r>
              <a:rPr lang="pt-BR" sz="1600" kern="0" dirty="0">
                <a:solidFill>
                  <a:srgbClr val="7F7F7F"/>
                </a:solidFill>
                <a:latin typeface="Arial"/>
              </a:rPr>
              <a:t> para melhorar a produção de alimentos e melhorar a qualidade nutricional.</a:t>
            </a:r>
          </a:p>
          <a:p>
            <a:pPr marR="0" lvl="0" defTabSz="914400" eaLnBrk="1" fontAlgn="auto" latinLnBrk="0" hangingPunct="1">
              <a:lnSpc>
                <a:spcPct val="90000"/>
              </a:lnSpc>
              <a:spcBef>
                <a:spcPts val="0"/>
              </a:spcBef>
              <a:spcAft>
                <a:spcPts val="0"/>
              </a:spcAft>
              <a:buClrTx/>
              <a:buSzTx/>
              <a:tabLst/>
              <a:defRPr/>
            </a:pPr>
            <a:endParaRPr lang="pt-BR" sz="1600" kern="0" dirty="0">
              <a:solidFill>
                <a:srgbClr val="608D26"/>
              </a:solidFill>
              <a:latin typeface="Arial"/>
            </a:endParaRPr>
          </a:p>
          <a:p>
            <a:pPr marR="0" lvl="0" defTabSz="914400" eaLnBrk="1" fontAlgn="auto" latinLnBrk="0" hangingPunct="1">
              <a:lnSpc>
                <a:spcPct val="90000"/>
              </a:lnSpc>
              <a:spcBef>
                <a:spcPts val="0"/>
              </a:spcBef>
              <a:spcAft>
                <a:spcPts val="0"/>
              </a:spcAft>
              <a:buClrTx/>
              <a:buSzTx/>
              <a:tabLst/>
              <a:defRPr/>
            </a:pPr>
            <a:r>
              <a:rPr lang="pt-BR" sz="1800" b="1" kern="0" dirty="0">
                <a:solidFill>
                  <a:srgbClr val="375B49"/>
                </a:solidFill>
                <a:latin typeface="Arial"/>
              </a:rPr>
              <a:t>20+ linhas de produtos </a:t>
            </a:r>
            <a:r>
              <a:rPr lang="pt-BR" sz="1600" kern="0" dirty="0">
                <a:solidFill>
                  <a:srgbClr val="7F7F7F"/>
                </a:solidFill>
                <a:latin typeface="Arial"/>
              </a:rPr>
              <a:t>(</a:t>
            </a:r>
            <a:r>
              <a:rPr lang="pt-BR" sz="1600" kern="0" dirty="0" err="1">
                <a:solidFill>
                  <a:srgbClr val="7F7F7F"/>
                </a:solidFill>
                <a:latin typeface="Arial"/>
              </a:rPr>
              <a:t>Bioestimulantes</a:t>
            </a:r>
            <a:r>
              <a:rPr lang="pt-BR" sz="1600" kern="0" dirty="0">
                <a:solidFill>
                  <a:srgbClr val="7F7F7F"/>
                </a:solidFill>
                <a:latin typeface="Arial"/>
              </a:rPr>
              <a:t>,</a:t>
            </a:r>
            <a:r>
              <a:rPr lang="pt-BR" sz="1600" kern="0" dirty="0">
                <a:solidFill>
                  <a:srgbClr val="608D26"/>
                </a:solidFill>
                <a:latin typeface="Arial"/>
              </a:rPr>
              <a:t> </a:t>
            </a:r>
          </a:p>
          <a:p>
            <a:pPr marR="0" lvl="0" defTabSz="914400" eaLnBrk="1" fontAlgn="auto" latinLnBrk="0" hangingPunct="1">
              <a:lnSpc>
                <a:spcPct val="90000"/>
              </a:lnSpc>
              <a:spcBef>
                <a:spcPts val="0"/>
              </a:spcBef>
              <a:spcAft>
                <a:spcPts val="0"/>
              </a:spcAft>
              <a:buClrTx/>
              <a:buSzTx/>
              <a:tabLst/>
              <a:defRPr/>
            </a:pPr>
            <a:r>
              <a:rPr lang="pt-BR" sz="1600" kern="0" dirty="0">
                <a:solidFill>
                  <a:srgbClr val="7F7F7F"/>
                </a:solidFill>
                <a:latin typeface="Arial"/>
              </a:rPr>
              <a:t>Micronutrientes e Nutrientes hidrossolúveis ).</a:t>
            </a:r>
          </a:p>
          <a:p>
            <a:pPr marL="171450" marR="0" lvl="0" indent="-171450" defTabSz="914400" eaLnBrk="1" fontAlgn="auto" latinLnBrk="0" hangingPunct="1">
              <a:lnSpc>
                <a:spcPct val="90000"/>
              </a:lnSpc>
              <a:spcBef>
                <a:spcPts val="0"/>
              </a:spcBef>
              <a:spcAft>
                <a:spcPts val="0"/>
              </a:spcAft>
              <a:buClrTx/>
              <a:buSzTx/>
              <a:buFont typeface="Arial"/>
              <a:buChar char="•"/>
              <a:tabLst/>
              <a:defRPr/>
            </a:pPr>
            <a:endParaRPr lang="pt-BR" sz="1600" kern="0" dirty="0">
              <a:solidFill>
                <a:srgbClr val="7F7F7F"/>
              </a:solidFill>
              <a:latin typeface="Arial"/>
            </a:endParaRPr>
          </a:p>
          <a:p>
            <a:pPr marR="0" lvl="0" defTabSz="914400" eaLnBrk="1" fontAlgn="auto" latinLnBrk="0" hangingPunct="1">
              <a:lnSpc>
                <a:spcPct val="90000"/>
              </a:lnSpc>
              <a:spcBef>
                <a:spcPts val="0"/>
              </a:spcBef>
              <a:spcAft>
                <a:spcPts val="0"/>
              </a:spcAft>
              <a:buClrTx/>
              <a:buSzTx/>
              <a:tabLst/>
              <a:defRPr/>
            </a:pPr>
            <a:r>
              <a:rPr lang="pt-BR" sz="1800" b="1" kern="0" dirty="0">
                <a:solidFill>
                  <a:srgbClr val="7F7F7F"/>
                </a:solidFill>
                <a:latin typeface="Arial"/>
              </a:rPr>
              <a:t>Duas unidades de negócio:</a:t>
            </a:r>
            <a:r>
              <a:rPr lang="pt-BR" sz="1800" kern="0" dirty="0">
                <a:solidFill>
                  <a:srgbClr val="7F7F7F"/>
                </a:solidFill>
                <a:latin typeface="Arial"/>
              </a:rPr>
              <a:t>:</a:t>
            </a:r>
          </a:p>
          <a:p>
            <a:pPr marR="0" lvl="0" defTabSz="914400" eaLnBrk="1" fontAlgn="auto" latinLnBrk="0" hangingPunct="1">
              <a:lnSpc>
                <a:spcPct val="90000"/>
              </a:lnSpc>
              <a:spcBef>
                <a:spcPts val="0"/>
              </a:spcBef>
              <a:spcAft>
                <a:spcPts val="0"/>
              </a:spcAft>
              <a:buClrTx/>
              <a:buSzTx/>
              <a:tabLst/>
              <a:defRPr/>
            </a:pPr>
            <a:r>
              <a:rPr lang="pt-BR" sz="1600" kern="0" dirty="0" err="1">
                <a:solidFill>
                  <a:srgbClr val="7F7F7F"/>
                </a:solidFill>
                <a:latin typeface="Arial"/>
              </a:rPr>
              <a:t>Farm</a:t>
            </a:r>
            <a:r>
              <a:rPr lang="pt-BR" sz="1600" kern="0" dirty="0">
                <a:solidFill>
                  <a:srgbClr val="7F7F7F"/>
                </a:solidFill>
                <a:latin typeface="Arial"/>
              </a:rPr>
              <a:t>, Industrial</a:t>
            </a:r>
          </a:p>
          <a:p>
            <a:pPr marL="171450" marR="0" lvl="0" indent="-171450" defTabSz="914400" eaLnBrk="1" fontAlgn="auto" latinLnBrk="0" hangingPunct="1">
              <a:lnSpc>
                <a:spcPct val="90000"/>
              </a:lnSpc>
              <a:spcBef>
                <a:spcPts val="0"/>
              </a:spcBef>
              <a:spcAft>
                <a:spcPts val="0"/>
              </a:spcAft>
              <a:buClrTx/>
              <a:buSzTx/>
              <a:buFont typeface="Arial"/>
              <a:buChar char="•"/>
              <a:tabLst/>
              <a:defRPr/>
            </a:pPr>
            <a:endParaRPr lang="pt-BR" sz="1600" kern="0" dirty="0">
              <a:solidFill>
                <a:srgbClr val="7F7F7F"/>
              </a:solidFill>
              <a:latin typeface="Arial"/>
            </a:endParaRPr>
          </a:p>
          <a:p>
            <a:pPr marR="0" lvl="0" defTabSz="914400" eaLnBrk="1" fontAlgn="auto" latinLnBrk="0" hangingPunct="1">
              <a:lnSpc>
                <a:spcPct val="90000"/>
              </a:lnSpc>
              <a:spcBef>
                <a:spcPts val="0"/>
              </a:spcBef>
              <a:spcAft>
                <a:spcPts val="0"/>
              </a:spcAft>
              <a:buClrTx/>
              <a:buSzTx/>
              <a:tabLst/>
              <a:defRPr/>
            </a:pPr>
            <a:r>
              <a:rPr lang="pt-BR" sz="1600" b="1" kern="0" dirty="0">
                <a:solidFill>
                  <a:srgbClr val="7F7F7F"/>
                </a:solidFill>
                <a:latin typeface="Arial"/>
              </a:rPr>
              <a:t>Vendas em mais de 80 países</a:t>
            </a:r>
          </a:p>
          <a:p>
            <a:pPr marL="171450" marR="0" lvl="0" indent="-171450" defTabSz="914400" eaLnBrk="1" fontAlgn="auto" latinLnBrk="0" hangingPunct="1">
              <a:lnSpc>
                <a:spcPct val="90000"/>
              </a:lnSpc>
              <a:spcBef>
                <a:spcPts val="0"/>
              </a:spcBef>
              <a:spcAft>
                <a:spcPts val="0"/>
              </a:spcAft>
              <a:buClrTx/>
              <a:buSzTx/>
              <a:buFont typeface="Arial"/>
              <a:buChar char="•"/>
              <a:tabLst/>
              <a:defRPr/>
            </a:pPr>
            <a:endParaRPr lang="pt-BR" sz="1600" kern="0" dirty="0">
              <a:solidFill>
                <a:srgbClr val="7F7F7F"/>
              </a:solidFill>
              <a:latin typeface="Arial"/>
            </a:endParaRPr>
          </a:p>
          <a:p>
            <a:pPr marR="0" lvl="0" defTabSz="914400" eaLnBrk="1" fontAlgn="auto" latinLnBrk="0" hangingPunct="1">
              <a:lnSpc>
                <a:spcPct val="90000"/>
              </a:lnSpc>
              <a:spcBef>
                <a:spcPts val="0"/>
              </a:spcBef>
              <a:spcAft>
                <a:spcPts val="0"/>
              </a:spcAft>
              <a:buClrTx/>
              <a:buSzTx/>
              <a:tabLst/>
              <a:defRPr/>
            </a:pPr>
            <a:r>
              <a:rPr lang="pt-BR" sz="1600" kern="0" dirty="0">
                <a:solidFill>
                  <a:srgbClr val="7F7F7F"/>
                </a:solidFill>
                <a:latin typeface="Arial"/>
              </a:rPr>
              <a:t>2017 Vendas líquidas</a:t>
            </a:r>
          </a:p>
          <a:p>
            <a:pPr marR="0" lvl="0" defTabSz="914400" eaLnBrk="1" fontAlgn="auto" latinLnBrk="0" hangingPunct="1">
              <a:lnSpc>
                <a:spcPct val="90000"/>
              </a:lnSpc>
              <a:spcBef>
                <a:spcPts val="0"/>
              </a:spcBef>
              <a:spcAft>
                <a:spcPts val="0"/>
              </a:spcAft>
              <a:buClrTx/>
              <a:buSzTx/>
              <a:tabLst/>
              <a:defRPr/>
            </a:pPr>
            <a:r>
              <a:rPr lang="pt-BR" sz="1800" b="1" kern="0" dirty="0">
                <a:solidFill>
                  <a:srgbClr val="375B49"/>
                </a:solidFill>
                <a:latin typeface="Arial"/>
              </a:rPr>
              <a:t>€ 133.3 milhões</a:t>
            </a:r>
          </a:p>
          <a:p>
            <a:pPr marL="171450" marR="0" lvl="0" indent="-171450" defTabSz="914400" eaLnBrk="1" fontAlgn="auto" latinLnBrk="0" hangingPunct="1">
              <a:lnSpc>
                <a:spcPct val="90000"/>
              </a:lnSpc>
              <a:spcBef>
                <a:spcPts val="0"/>
              </a:spcBef>
              <a:spcAft>
                <a:spcPts val="0"/>
              </a:spcAft>
              <a:buClrTx/>
              <a:buSzTx/>
              <a:buFont typeface="Arial"/>
              <a:buChar char="•"/>
              <a:tabLst/>
              <a:defRPr/>
            </a:pPr>
            <a:endParaRPr lang="pt-BR" sz="1600" kern="0" dirty="0">
              <a:solidFill>
                <a:srgbClr val="608D26"/>
              </a:solidFill>
              <a:latin typeface="Arial"/>
            </a:endParaRPr>
          </a:p>
          <a:p>
            <a:pPr marR="0" lvl="0" defTabSz="914400" eaLnBrk="1" fontAlgn="auto" latinLnBrk="0" hangingPunct="1">
              <a:lnSpc>
                <a:spcPct val="90000"/>
              </a:lnSpc>
              <a:spcBef>
                <a:spcPts val="0"/>
              </a:spcBef>
              <a:spcAft>
                <a:spcPts val="0"/>
              </a:spcAft>
              <a:buClrTx/>
              <a:buSzTx/>
              <a:tabLst/>
              <a:defRPr/>
            </a:pPr>
            <a:r>
              <a:rPr lang="pt-BR" sz="1800" b="1" kern="0" dirty="0">
                <a:solidFill>
                  <a:srgbClr val="7F7F7F"/>
                </a:solidFill>
                <a:latin typeface="Arial"/>
              </a:rPr>
              <a:t>629 funcionários</a:t>
            </a:r>
            <a:endParaRPr lang="pt-BR" sz="1600" kern="0" dirty="0">
              <a:solidFill>
                <a:srgbClr val="7F7F7F"/>
              </a:solidFill>
              <a:latin typeface="Arial"/>
            </a:endParaRPr>
          </a:p>
        </p:txBody>
      </p:sp>
      <p:sp>
        <p:nvSpPr>
          <p:cNvPr id="26" name="CasellaDiTesto 25"/>
          <p:cNvSpPr txBox="1"/>
          <p:nvPr/>
        </p:nvSpPr>
        <p:spPr>
          <a:xfrm>
            <a:off x="5128295" y="1064829"/>
            <a:ext cx="4011806" cy="400110"/>
          </a:xfrm>
          <a:prstGeom prst="rect">
            <a:avLst/>
          </a:prstGeom>
          <a:noFill/>
        </p:spPr>
        <p:txBody>
          <a:bodyPr wrap="square" rtlCol="0">
            <a:spAutoFit/>
          </a:bodyPr>
          <a:lstStyle/>
          <a:p>
            <a:pPr marR="0" lvl="0" defTabSz="914400" eaLnBrk="1" fontAlgn="auto" latinLnBrk="0" hangingPunct="1">
              <a:lnSpc>
                <a:spcPct val="80000"/>
              </a:lnSpc>
              <a:spcBef>
                <a:spcPts val="0"/>
              </a:spcBef>
              <a:spcAft>
                <a:spcPts val="0"/>
              </a:spcAft>
              <a:buClrTx/>
              <a:buSzTx/>
              <a:tabLst/>
              <a:defRPr/>
            </a:pPr>
            <a:r>
              <a:rPr lang="de-DE" sz="2400" b="1" kern="0" dirty="0">
                <a:solidFill>
                  <a:srgbClr val="608D26"/>
                </a:solidFill>
                <a:latin typeface="Arial"/>
              </a:rPr>
              <a:t>2</a:t>
            </a:r>
            <a:r>
              <a:rPr lang="de-DE" sz="2400" b="1" kern="0" dirty="0">
                <a:solidFill>
                  <a:srgbClr val="163D28"/>
                </a:solidFill>
                <a:latin typeface="Arial"/>
              </a:rPr>
              <a:t> </a:t>
            </a:r>
            <a:r>
              <a:rPr lang="de-DE" sz="1800" b="1" kern="0" dirty="0">
                <a:solidFill>
                  <a:srgbClr val="163D28"/>
                </a:solidFill>
                <a:latin typeface="Arial"/>
              </a:rPr>
              <a:t>CRESCIMENTO HISTORICO</a:t>
            </a:r>
          </a:p>
        </p:txBody>
      </p:sp>
      <p:sp>
        <p:nvSpPr>
          <p:cNvPr id="12" name="Rettangolo 11"/>
          <p:cNvSpPr/>
          <p:nvPr/>
        </p:nvSpPr>
        <p:spPr>
          <a:xfrm>
            <a:off x="303759" y="6964608"/>
            <a:ext cx="885097" cy="220573"/>
          </a:xfrm>
          <a:prstGeom prst="rect">
            <a:avLst/>
          </a:prstGeom>
        </p:spPr>
        <p:txBody>
          <a:bodyPr wrap="square">
            <a:spAutoFit/>
          </a:bodyPr>
          <a:lstStyle/>
          <a:p>
            <a:pPr>
              <a:lnSpc>
                <a:spcPct val="80000"/>
              </a:lnSpc>
            </a:pPr>
            <a:r>
              <a:rPr lang="it-IT" sz="1000" dirty="0">
                <a:solidFill>
                  <a:srgbClr val="375B49"/>
                </a:solidFill>
                <a:latin typeface="Arial" pitchFamily="34" charset="0"/>
                <a:cs typeface="Arial" pitchFamily="34" charset="0"/>
              </a:rPr>
              <a:t>15</a:t>
            </a:r>
            <a:endParaRPr lang="en-US" sz="1000" dirty="0">
              <a:solidFill>
                <a:srgbClr val="375B49"/>
              </a:solidFill>
              <a:latin typeface="Arial" pitchFamily="34" charset="0"/>
              <a:cs typeface="Arial" pitchFamily="34" charset="0"/>
            </a:endParaRPr>
          </a:p>
        </p:txBody>
      </p:sp>
      <p:sp>
        <p:nvSpPr>
          <p:cNvPr id="14" name="CasellaDiTesto 13"/>
          <p:cNvSpPr txBox="1"/>
          <p:nvPr/>
        </p:nvSpPr>
        <p:spPr>
          <a:xfrm>
            <a:off x="482761" y="1721709"/>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sp>
        <p:nvSpPr>
          <p:cNvPr id="15" name="CasellaDiTesto 14"/>
          <p:cNvSpPr txBox="1"/>
          <p:nvPr/>
        </p:nvSpPr>
        <p:spPr>
          <a:xfrm>
            <a:off x="482761" y="2197249"/>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sp>
        <p:nvSpPr>
          <p:cNvPr id="16" name="CasellaDiTesto 15"/>
          <p:cNvSpPr txBox="1"/>
          <p:nvPr/>
        </p:nvSpPr>
        <p:spPr>
          <a:xfrm>
            <a:off x="482761" y="3349377"/>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sp>
        <p:nvSpPr>
          <p:cNvPr id="20" name="CasellaDiTesto 19"/>
          <p:cNvSpPr txBox="1"/>
          <p:nvPr/>
        </p:nvSpPr>
        <p:spPr>
          <a:xfrm>
            <a:off x="482761" y="4031483"/>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sp>
        <p:nvSpPr>
          <p:cNvPr id="21" name="CasellaDiTesto 20"/>
          <p:cNvSpPr txBox="1"/>
          <p:nvPr/>
        </p:nvSpPr>
        <p:spPr>
          <a:xfrm>
            <a:off x="504664" y="4713590"/>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sp>
        <p:nvSpPr>
          <p:cNvPr id="22" name="CasellaDiTesto 21"/>
          <p:cNvSpPr txBox="1"/>
          <p:nvPr/>
        </p:nvSpPr>
        <p:spPr>
          <a:xfrm>
            <a:off x="482761" y="5330569"/>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sp>
        <p:nvSpPr>
          <p:cNvPr id="24" name="CasellaDiTesto 23"/>
          <p:cNvSpPr txBox="1"/>
          <p:nvPr/>
        </p:nvSpPr>
        <p:spPr>
          <a:xfrm>
            <a:off x="504664" y="5830686"/>
            <a:ext cx="349295" cy="33855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600" kern="0" dirty="0">
                <a:solidFill>
                  <a:srgbClr val="7F7F7F"/>
                </a:solidFill>
                <a:latin typeface="Arial"/>
              </a:rPr>
              <a:t>•</a:t>
            </a:r>
          </a:p>
        </p:txBody>
      </p:sp>
      <p:grpSp>
        <p:nvGrpSpPr>
          <p:cNvPr id="5" name="Grupo 4"/>
          <p:cNvGrpSpPr/>
          <p:nvPr/>
        </p:nvGrpSpPr>
        <p:grpSpPr>
          <a:xfrm>
            <a:off x="4860763" y="3707982"/>
            <a:ext cx="5434482" cy="2848006"/>
            <a:chOff x="4860763" y="3707982"/>
            <a:chExt cx="5434482" cy="2848006"/>
          </a:xfrm>
        </p:grpSpPr>
        <p:sp>
          <p:nvSpPr>
            <p:cNvPr id="30" name="CasellaDiTesto 29"/>
            <p:cNvSpPr txBox="1"/>
            <p:nvPr/>
          </p:nvSpPr>
          <p:spPr>
            <a:xfrm>
              <a:off x="5128295" y="3707982"/>
              <a:ext cx="4640824" cy="400110"/>
            </a:xfrm>
            <a:prstGeom prst="rect">
              <a:avLst/>
            </a:prstGeom>
            <a:noFill/>
          </p:spPr>
          <p:txBody>
            <a:bodyPr wrap="square" rtlCol="0">
              <a:spAutoFit/>
            </a:bodyPr>
            <a:lstStyle/>
            <a:p>
              <a:pPr marR="0" lvl="0" defTabSz="914400" eaLnBrk="1" fontAlgn="auto" latinLnBrk="0" hangingPunct="1">
                <a:lnSpc>
                  <a:spcPct val="80000"/>
                </a:lnSpc>
                <a:spcBef>
                  <a:spcPts val="0"/>
                </a:spcBef>
                <a:spcAft>
                  <a:spcPts val="0"/>
                </a:spcAft>
                <a:buClrTx/>
                <a:buSzTx/>
                <a:tabLst/>
                <a:defRPr/>
              </a:pPr>
              <a:r>
                <a:rPr lang="de-DE" sz="2400" b="1" kern="0" dirty="0">
                  <a:solidFill>
                    <a:srgbClr val="608D26"/>
                  </a:solidFill>
                  <a:latin typeface="Arial"/>
                </a:rPr>
                <a:t>3</a:t>
              </a:r>
              <a:r>
                <a:rPr lang="de-DE" sz="2400" b="1" kern="0" dirty="0">
                  <a:solidFill>
                    <a:srgbClr val="163D28"/>
                  </a:solidFill>
                  <a:latin typeface="Arial"/>
                </a:rPr>
                <a:t> </a:t>
              </a:r>
              <a:r>
                <a:rPr lang="de-DE" sz="1800" b="1" kern="0" dirty="0">
                  <a:solidFill>
                    <a:srgbClr val="163D28"/>
                  </a:solidFill>
                  <a:latin typeface="Arial"/>
                </a:rPr>
                <a:t>VENDAS POR CATEGORIA </a:t>
              </a:r>
              <a:r>
                <a:rPr lang="de-DE" sz="1800" kern="0" dirty="0">
                  <a:solidFill>
                    <a:srgbClr val="163D28"/>
                  </a:solidFill>
                  <a:latin typeface="Arial"/>
                </a:rPr>
                <a:t>– 2017</a:t>
              </a:r>
            </a:p>
          </p:txBody>
        </p:sp>
        <p:sp>
          <p:nvSpPr>
            <p:cNvPr id="3" name="Retângulo de cantos arredondados 2"/>
            <p:cNvSpPr/>
            <p:nvPr/>
          </p:nvSpPr>
          <p:spPr>
            <a:xfrm>
              <a:off x="5128296" y="4108092"/>
              <a:ext cx="2320412" cy="416611"/>
            </a:xfrm>
            <a:prstGeom prst="roundRect">
              <a:avLst/>
            </a:prstGeom>
            <a:solidFill>
              <a:srgbClr val="608D2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1400" dirty="0">
                  <a:latin typeface="Arial" panose="020B0604020202020204" pitchFamily="34" charset="0"/>
                  <a:cs typeface="Arial" panose="020B0604020202020204" pitchFamily="34" charset="0"/>
                </a:rPr>
                <a:t>Vendas líquidas por produtos</a:t>
              </a:r>
              <a:endParaRPr lang="pt-BR" dirty="0">
                <a:latin typeface="Arial" panose="020B0604020202020204" pitchFamily="34" charset="0"/>
                <a:cs typeface="Arial" panose="020B0604020202020204" pitchFamily="34" charset="0"/>
              </a:endParaRPr>
            </a:p>
          </p:txBody>
        </p:sp>
        <p:sp>
          <p:nvSpPr>
            <p:cNvPr id="28" name="Retângulo de cantos arredondados 27"/>
            <p:cNvSpPr/>
            <p:nvPr/>
          </p:nvSpPr>
          <p:spPr>
            <a:xfrm>
              <a:off x="7725342" y="4118601"/>
              <a:ext cx="2320412" cy="416611"/>
            </a:xfrm>
            <a:prstGeom prst="roundRect">
              <a:avLst/>
            </a:prstGeom>
            <a:solidFill>
              <a:srgbClr val="608D2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1400" dirty="0">
                  <a:latin typeface="Arial" panose="020B0604020202020204" pitchFamily="34" charset="0"/>
                  <a:cs typeface="Arial" panose="020B0604020202020204" pitchFamily="34" charset="0"/>
                </a:rPr>
                <a:t>Vendas líquidas por  geografia</a:t>
              </a:r>
              <a:endParaRPr lang="pt-BR" dirty="0">
                <a:latin typeface="Arial" panose="020B0604020202020204" pitchFamily="34" charset="0"/>
                <a:cs typeface="Arial" panose="020B0604020202020204" pitchFamily="34" charset="0"/>
              </a:endParaRPr>
            </a:p>
          </p:txBody>
        </p:sp>
        <p:pic>
          <p:nvPicPr>
            <p:cNvPr id="31"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4995897" y="4637221"/>
              <a:ext cx="886895" cy="549633"/>
            </a:xfrm>
            <a:prstGeom prst="rect">
              <a:avLst/>
            </a:prstGeom>
          </p:spPr>
        </p:pic>
        <p:sp>
          <p:nvSpPr>
            <p:cNvPr id="4" name="CaixaDeTexto 3"/>
            <p:cNvSpPr txBox="1"/>
            <p:nvPr/>
          </p:nvSpPr>
          <p:spPr>
            <a:xfrm>
              <a:off x="4948599" y="4748006"/>
              <a:ext cx="1099274" cy="553998"/>
            </a:xfrm>
            <a:prstGeom prst="rect">
              <a:avLst/>
            </a:prstGeom>
            <a:noFill/>
          </p:spPr>
          <p:txBody>
            <a:bodyPr wrap="square" rtlCol="0">
              <a:spAutoFit/>
            </a:bodyPr>
            <a:lstStyle/>
            <a:p>
              <a:r>
                <a:rPr lang="pt-BR" sz="1000" b="1" dirty="0">
                  <a:solidFill>
                    <a:srgbClr val="608D26"/>
                  </a:solidFill>
                  <a:latin typeface="Arial" panose="020B0604020202020204" pitchFamily="34" charset="0"/>
                  <a:cs typeface="Arial" panose="020B0604020202020204" pitchFamily="34" charset="0"/>
                </a:rPr>
                <a:t>Nutrientes Hidrossolúveis</a:t>
              </a:r>
            </a:p>
            <a:p>
              <a:pPr algn="ctr"/>
              <a:r>
                <a:rPr lang="pt-BR" sz="1000" b="1" dirty="0">
                  <a:latin typeface="Arial" panose="020B0604020202020204" pitchFamily="34" charset="0"/>
                  <a:cs typeface="Arial" panose="020B0604020202020204" pitchFamily="34" charset="0"/>
                </a:rPr>
                <a:t>14%</a:t>
              </a:r>
            </a:p>
          </p:txBody>
        </p:sp>
        <p:pic>
          <p:nvPicPr>
            <p:cNvPr id="32"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5053973" y="5905603"/>
              <a:ext cx="752242" cy="527274"/>
            </a:xfrm>
            <a:prstGeom prst="rect">
              <a:avLst/>
            </a:prstGeom>
          </p:spPr>
        </p:pic>
        <p:pic>
          <p:nvPicPr>
            <p:cNvPr id="33"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5053973" y="5809420"/>
              <a:ext cx="826936" cy="527274"/>
            </a:xfrm>
            <a:prstGeom prst="rect">
              <a:avLst/>
            </a:prstGeom>
          </p:spPr>
        </p:pic>
        <p:sp>
          <p:nvSpPr>
            <p:cNvPr id="34" name="CaixaDeTexto 33"/>
            <p:cNvSpPr txBox="1"/>
            <p:nvPr/>
          </p:nvSpPr>
          <p:spPr>
            <a:xfrm>
              <a:off x="4860763" y="5873002"/>
              <a:ext cx="1138661" cy="400110"/>
            </a:xfrm>
            <a:prstGeom prst="rect">
              <a:avLst/>
            </a:prstGeom>
            <a:noFill/>
          </p:spPr>
          <p:txBody>
            <a:bodyPr wrap="square" rtlCol="0">
              <a:spAutoFit/>
            </a:bodyPr>
            <a:lstStyle/>
            <a:p>
              <a:r>
                <a:rPr lang="pt-BR" sz="1000" b="1" dirty="0">
                  <a:solidFill>
                    <a:srgbClr val="608D26"/>
                  </a:solidFill>
                  <a:latin typeface="Arial" panose="020B0604020202020204" pitchFamily="34" charset="0"/>
                  <a:cs typeface="Arial" panose="020B0604020202020204" pitchFamily="34" charset="0"/>
                </a:rPr>
                <a:t>Micronutrientes</a:t>
              </a:r>
            </a:p>
            <a:p>
              <a:pPr algn="ctr"/>
              <a:r>
                <a:rPr lang="pt-BR" sz="1000" b="1" dirty="0">
                  <a:latin typeface="Arial" panose="020B0604020202020204" pitchFamily="34" charset="0"/>
                  <a:cs typeface="Arial" panose="020B0604020202020204" pitchFamily="34" charset="0"/>
                </a:rPr>
                <a:t>30%</a:t>
              </a:r>
            </a:p>
          </p:txBody>
        </p:sp>
        <p:pic>
          <p:nvPicPr>
            <p:cNvPr id="35"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6104377" y="4637221"/>
              <a:ext cx="368249" cy="274816"/>
            </a:xfrm>
            <a:prstGeom prst="rect">
              <a:avLst/>
            </a:prstGeom>
          </p:spPr>
        </p:pic>
        <p:sp>
          <p:nvSpPr>
            <p:cNvPr id="37" name="CaixaDeTexto 36"/>
            <p:cNvSpPr txBox="1"/>
            <p:nvPr/>
          </p:nvSpPr>
          <p:spPr>
            <a:xfrm>
              <a:off x="6031268" y="4537910"/>
              <a:ext cx="642937" cy="400110"/>
            </a:xfrm>
            <a:prstGeom prst="rect">
              <a:avLst/>
            </a:prstGeom>
            <a:noFill/>
          </p:spPr>
          <p:txBody>
            <a:bodyPr wrap="square" rtlCol="0">
              <a:spAutoFit/>
            </a:bodyPr>
            <a:lstStyle/>
            <a:p>
              <a:r>
                <a:rPr lang="pt-BR" sz="1000" b="1" dirty="0">
                  <a:solidFill>
                    <a:srgbClr val="608D26"/>
                  </a:solidFill>
                  <a:latin typeface="Arial" panose="020B0604020202020204" pitchFamily="34" charset="0"/>
                  <a:cs typeface="Arial" panose="020B0604020202020204" pitchFamily="34" charset="0"/>
                </a:rPr>
                <a:t>Outros</a:t>
              </a:r>
            </a:p>
            <a:p>
              <a:pPr algn="ctr"/>
              <a:r>
                <a:rPr lang="pt-BR" sz="1000" b="1" dirty="0">
                  <a:latin typeface="Arial" panose="020B0604020202020204" pitchFamily="34" charset="0"/>
                  <a:cs typeface="Arial" panose="020B0604020202020204" pitchFamily="34" charset="0"/>
                </a:rPr>
                <a:t>4%</a:t>
              </a:r>
            </a:p>
          </p:txBody>
        </p:sp>
        <p:pic>
          <p:nvPicPr>
            <p:cNvPr id="38"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6652939" y="4559844"/>
              <a:ext cx="752242" cy="338554"/>
            </a:xfrm>
            <a:prstGeom prst="rect">
              <a:avLst/>
            </a:prstGeom>
          </p:spPr>
        </p:pic>
        <p:sp>
          <p:nvSpPr>
            <p:cNvPr id="39" name="CaixaDeTexto 38"/>
            <p:cNvSpPr txBox="1"/>
            <p:nvPr/>
          </p:nvSpPr>
          <p:spPr>
            <a:xfrm>
              <a:off x="6707591" y="4574574"/>
              <a:ext cx="926586" cy="400110"/>
            </a:xfrm>
            <a:prstGeom prst="rect">
              <a:avLst/>
            </a:prstGeom>
            <a:noFill/>
          </p:spPr>
          <p:txBody>
            <a:bodyPr wrap="square" rtlCol="0">
              <a:spAutoFit/>
            </a:bodyPr>
            <a:lstStyle/>
            <a:p>
              <a:r>
                <a:rPr lang="pt-BR" sz="1000" b="1" dirty="0" err="1">
                  <a:solidFill>
                    <a:srgbClr val="608D26"/>
                  </a:solidFill>
                  <a:latin typeface="Arial" panose="020B0604020202020204" pitchFamily="34" charset="0"/>
                  <a:cs typeface="Arial" panose="020B0604020202020204" pitchFamily="34" charset="0"/>
                </a:rPr>
                <a:t>Biocontrole</a:t>
              </a:r>
              <a:endParaRPr lang="pt-BR" sz="1000" b="1" dirty="0">
                <a:solidFill>
                  <a:srgbClr val="608D26"/>
                </a:solidFill>
                <a:latin typeface="Arial" panose="020B0604020202020204" pitchFamily="34" charset="0"/>
                <a:cs typeface="Arial" panose="020B0604020202020204" pitchFamily="34" charset="0"/>
              </a:endParaRPr>
            </a:p>
            <a:p>
              <a:pPr algn="ctr"/>
              <a:r>
                <a:rPr lang="pt-BR" sz="1000" b="1" dirty="0">
                  <a:latin typeface="Arial" panose="020B0604020202020204" pitchFamily="34" charset="0"/>
                  <a:cs typeface="Arial" panose="020B0604020202020204" pitchFamily="34" charset="0"/>
                </a:rPr>
                <a:t>2%</a:t>
              </a:r>
            </a:p>
          </p:txBody>
        </p:sp>
        <p:pic>
          <p:nvPicPr>
            <p:cNvPr id="41"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6276646" y="6228210"/>
              <a:ext cx="1128535" cy="300181"/>
            </a:xfrm>
            <a:prstGeom prst="rect">
              <a:avLst/>
            </a:prstGeom>
          </p:spPr>
        </p:pic>
        <p:sp>
          <p:nvSpPr>
            <p:cNvPr id="40" name="CaixaDeTexto 39"/>
            <p:cNvSpPr txBox="1"/>
            <p:nvPr/>
          </p:nvSpPr>
          <p:spPr>
            <a:xfrm>
              <a:off x="6478594" y="6155878"/>
              <a:ext cx="1246747" cy="400110"/>
            </a:xfrm>
            <a:prstGeom prst="rect">
              <a:avLst/>
            </a:prstGeom>
            <a:noFill/>
          </p:spPr>
          <p:txBody>
            <a:bodyPr wrap="square" rtlCol="0">
              <a:spAutoFit/>
            </a:bodyPr>
            <a:lstStyle/>
            <a:p>
              <a:r>
                <a:rPr lang="pt-BR" sz="1000" b="1" dirty="0" err="1">
                  <a:solidFill>
                    <a:srgbClr val="608D26"/>
                  </a:solidFill>
                  <a:latin typeface="Arial" panose="020B0604020202020204" pitchFamily="34" charset="0"/>
                  <a:cs typeface="Arial" panose="020B0604020202020204" pitchFamily="34" charset="0"/>
                </a:rPr>
                <a:t>Bioestimulantes</a:t>
              </a:r>
              <a:endParaRPr lang="pt-BR" sz="1000" b="1" dirty="0">
                <a:solidFill>
                  <a:srgbClr val="608D26"/>
                </a:solidFill>
                <a:latin typeface="Arial" panose="020B0604020202020204" pitchFamily="34" charset="0"/>
                <a:cs typeface="Arial" panose="020B0604020202020204" pitchFamily="34" charset="0"/>
              </a:endParaRPr>
            </a:p>
            <a:p>
              <a:pPr algn="ctr"/>
              <a:r>
                <a:rPr lang="pt-BR" sz="1000" b="1" dirty="0">
                  <a:latin typeface="Arial" panose="020B0604020202020204" pitchFamily="34" charset="0"/>
                  <a:cs typeface="Arial" panose="020B0604020202020204" pitchFamily="34" charset="0"/>
                </a:rPr>
                <a:t>50%</a:t>
              </a:r>
            </a:p>
          </p:txBody>
        </p:sp>
        <p:pic>
          <p:nvPicPr>
            <p:cNvPr id="42"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7964704" y="4613589"/>
              <a:ext cx="796524" cy="325028"/>
            </a:xfrm>
            <a:prstGeom prst="rect">
              <a:avLst/>
            </a:prstGeom>
          </p:spPr>
        </p:pic>
        <p:pic>
          <p:nvPicPr>
            <p:cNvPr id="44"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7899686" y="4658935"/>
              <a:ext cx="796524" cy="325028"/>
            </a:xfrm>
            <a:prstGeom prst="rect">
              <a:avLst/>
            </a:prstGeom>
          </p:spPr>
        </p:pic>
        <p:pic>
          <p:nvPicPr>
            <p:cNvPr id="45"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7847566" y="4732097"/>
              <a:ext cx="796524" cy="325028"/>
            </a:xfrm>
            <a:prstGeom prst="rect">
              <a:avLst/>
            </a:prstGeom>
          </p:spPr>
        </p:pic>
        <p:sp>
          <p:nvSpPr>
            <p:cNvPr id="43" name="CaixaDeTexto 42"/>
            <p:cNvSpPr txBox="1"/>
            <p:nvPr/>
          </p:nvSpPr>
          <p:spPr>
            <a:xfrm>
              <a:off x="7836352" y="4583853"/>
              <a:ext cx="1246747" cy="400110"/>
            </a:xfrm>
            <a:prstGeom prst="rect">
              <a:avLst/>
            </a:prstGeom>
            <a:noFill/>
          </p:spPr>
          <p:txBody>
            <a:bodyPr wrap="square" rtlCol="0">
              <a:spAutoFit/>
            </a:bodyPr>
            <a:lstStyle/>
            <a:p>
              <a:r>
                <a:rPr lang="pt-BR" sz="1000" b="1" dirty="0">
                  <a:solidFill>
                    <a:srgbClr val="608D26"/>
                  </a:solidFill>
                  <a:latin typeface="Arial" panose="020B0604020202020204" pitchFamily="34" charset="0"/>
                  <a:cs typeface="Arial" panose="020B0604020202020204" pitchFamily="34" charset="0"/>
                </a:rPr>
                <a:t>ASIA PACÍFICO</a:t>
              </a:r>
            </a:p>
            <a:p>
              <a:pPr algn="ctr"/>
              <a:r>
                <a:rPr lang="pt-BR" sz="1000" b="1" dirty="0">
                  <a:latin typeface="Arial" panose="020B0604020202020204" pitchFamily="34" charset="0"/>
                  <a:cs typeface="Arial" panose="020B0604020202020204" pitchFamily="34" charset="0"/>
                </a:rPr>
                <a:t>11%</a:t>
              </a:r>
            </a:p>
          </p:txBody>
        </p:sp>
        <p:pic>
          <p:nvPicPr>
            <p:cNvPr id="46"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7725342" y="6102713"/>
              <a:ext cx="885097" cy="338554"/>
            </a:xfrm>
            <a:prstGeom prst="rect">
              <a:avLst/>
            </a:prstGeom>
          </p:spPr>
        </p:pic>
        <p:sp>
          <p:nvSpPr>
            <p:cNvPr id="47" name="CaixaDeTexto 46"/>
            <p:cNvSpPr txBox="1"/>
            <p:nvPr/>
          </p:nvSpPr>
          <p:spPr>
            <a:xfrm>
              <a:off x="7708629" y="5939784"/>
              <a:ext cx="883851" cy="400110"/>
            </a:xfrm>
            <a:prstGeom prst="rect">
              <a:avLst/>
            </a:prstGeom>
            <a:noFill/>
          </p:spPr>
          <p:txBody>
            <a:bodyPr wrap="square" rtlCol="0">
              <a:spAutoFit/>
            </a:bodyPr>
            <a:lstStyle/>
            <a:p>
              <a:r>
                <a:rPr lang="pt-BR" sz="1000" b="1" dirty="0">
                  <a:solidFill>
                    <a:srgbClr val="608D26"/>
                  </a:solidFill>
                  <a:latin typeface="Arial" panose="020B0604020202020204" pitchFamily="34" charset="0"/>
                  <a:cs typeface="Arial" panose="020B0604020202020204" pitchFamily="34" charset="0"/>
                </a:rPr>
                <a:t>AMÉRICAS</a:t>
              </a:r>
            </a:p>
            <a:p>
              <a:pPr algn="ctr"/>
              <a:r>
                <a:rPr lang="pt-BR" sz="1000" b="1" dirty="0">
                  <a:latin typeface="Arial" panose="020B0604020202020204" pitchFamily="34" charset="0"/>
                  <a:cs typeface="Arial" panose="020B0604020202020204" pitchFamily="34" charset="0"/>
                </a:rPr>
                <a:t>37%</a:t>
              </a:r>
            </a:p>
          </p:txBody>
        </p:sp>
        <p:pic>
          <p:nvPicPr>
            <p:cNvPr id="48" name="Immagine 18"/>
            <p:cNvPicPr>
              <a:picLocks noChangeAspect="1"/>
            </p:cNvPicPr>
            <p:nvPr/>
          </p:nvPicPr>
          <p:blipFill rotWithShape="1">
            <a:blip r:embed="rId3" cstate="screen">
              <a:extLst>
                <a:ext uri="{28A0092B-C50C-407E-A947-70E740481C1C}">
                  <a14:useLocalDpi xmlns:a14="http://schemas.microsoft.com/office/drawing/2010/main"/>
                </a:ext>
              </a:extLst>
            </a:blip>
            <a:srcRect l="46614" t="68477" r="46356" b="27047"/>
            <a:stretch/>
          </p:blipFill>
          <p:spPr>
            <a:xfrm>
              <a:off x="9641147" y="5284982"/>
              <a:ext cx="654098" cy="524438"/>
            </a:xfrm>
            <a:prstGeom prst="rect">
              <a:avLst/>
            </a:prstGeom>
          </p:spPr>
        </p:pic>
        <p:sp>
          <p:nvSpPr>
            <p:cNvPr id="49" name="CaixaDeTexto 48"/>
            <p:cNvSpPr txBox="1"/>
            <p:nvPr/>
          </p:nvSpPr>
          <p:spPr>
            <a:xfrm>
              <a:off x="9687896" y="5302048"/>
              <a:ext cx="607349" cy="400110"/>
            </a:xfrm>
            <a:prstGeom prst="rect">
              <a:avLst/>
            </a:prstGeom>
            <a:noFill/>
          </p:spPr>
          <p:txBody>
            <a:bodyPr wrap="square" rtlCol="0">
              <a:spAutoFit/>
            </a:bodyPr>
            <a:lstStyle/>
            <a:p>
              <a:r>
                <a:rPr lang="pt-BR" sz="1000" b="1" dirty="0">
                  <a:solidFill>
                    <a:srgbClr val="608D26"/>
                  </a:solidFill>
                  <a:latin typeface="Arial" panose="020B0604020202020204" pitchFamily="34" charset="0"/>
                  <a:cs typeface="Arial" panose="020B0604020202020204" pitchFamily="34" charset="0"/>
                </a:rPr>
                <a:t>EMEA</a:t>
              </a:r>
            </a:p>
            <a:p>
              <a:pPr algn="ctr"/>
              <a:r>
                <a:rPr lang="pt-BR" sz="1000" b="1" dirty="0">
                  <a:latin typeface="Arial" panose="020B0604020202020204" pitchFamily="34" charset="0"/>
                  <a:cs typeface="Arial" panose="020B0604020202020204" pitchFamily="34" charset="0"/>
                </a:rPr>
                <a:t>52%</a:t>
              </a:r>
            </a:p>
          </p:txBody>
        </p:sp>
      </p:grpSp>
    </p:spTree>
    <p:extLst>
      <p:ext uri="{BB962C8B-B14F-4D97-AF65-F5344CB8AC3E}">
        <p14:creationId xmlns:p14="http://schemas.microsoft.com/office/powerpoint/2010/main" val="3130849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3430"/>
            <a:ext cx="10700807" cy="7564995"/>
          </a:xfrm>
          <a:prstGeom prst="rect">
            <a:avLst/>
          </a:prstGeom>
        </p:spPr>
      </p:pic>
      <p:sp>
        <p:nvSpPr>
          <p:cNvPr id="2" name="Rettangolo 1"/>
          <p:cNvSpPr/>
          <p:nvPr/>
        </p:nvSpPr>
        <p:spPr>
          <a:xfrm>
            <a:off x="279204" y="179991"/>
            <a:ext cx="10031968" cy="707886"/>
          </a:xfrm>
          <a:prstGeom prst="rect">
            <a:avLst/>
          </a:prstGeom>
        </p:spPr>
        <p:txBody>
          <a:bodyPr wrap="square">
            <a:spAutoFit/>
          </a:bodyPr>
          <a:lstStyle/>
          <a:p>
            <a:r>
              <a:rPr lang="pt-BR" sz="3000" b="1" cap="all" spc="-150">
                <a:ln w="19050">
                  <a:noFill/>
                </a:ln>
                <a:solidFill>
                  <a:srgbClr val="163D28"/>
                </a:solidFill>
                <a:latin typeface="Arial" pitchFamily="34" charset="0"/>
                <a:cs typeface="Arial" pitchFamily="34" charset="0"/>
              </a:rPr>
              <a:t>EXPANSAO &amp; CRESCIMENTO </a:t>
            </a:r>
            <a:r>
              <a:rPr lang="pt-BR" sz="3000" cap="all" spc="-150">
                <a:ln w="19050">
                  <a:noFill/>
                </a:ln>
                <a:solidFill>
                  <a:srgbClr val="163D28"/>
                </a:solidFill>
                <a:latin typeface="Arial" pitchFamily="34" charset="0"/>
                <a:cs typeface="Arial" pitchFamily="34" charset="0"/>
              </a:rPr>
              <a:t>|</a:t>
            </a:r>
            <a:r>
              <a:rPr lang="pt-BR" sz="3000" b="1" cap="all" spc="-150">
                <a:ln w="19050">
                  <a:noFill/>
                </a:ln>
                <a:solidFill>
                  <a:srgbClr val="163D28"/>
                </a:solidFill>
                <a:latin typeface="Arial" pitchFamily="34" charset="0"/>
                <a:cs typeface="Arial" pitchFamily="34" charset="0"/>
              </a:rPr>
              <a:t> </a:t>
            </a:r>
          </a:p>
          <a:p>
            <a:endParaRPr lang="pt-BR" sz="1000" spc="-150">
              <a:ln w="19050">
                <a:noFill/>
              </a:ln>
              <a:solidFill>
                <a:schemeClr val="tx1">
                  <a:lumMod val="65000"/>
                  <a:lumOff val="35000"/>
                </a:schemeClr>
              </a:solidFill>
              <a:latin typeface="Arial" pitchFamily="34" charset="0"/>
              <a:cs typeface="Arial" pitchFamily="34" charset="0"/>
            </a:endParaRPr>
          </a:p>
        </p:txBody>
      </p:sp>
      <p:pic>
        <p:nvPicPr>
          <p:cNvPr id="12" name="Immagine 1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3" name="Rettangolo 12"/>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5" name="Connettore 1 14"/>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8" name="Rectangle 19"/>
          <p:cNvSpPr/>
          <p:nvPr/>
        </p:nvSpPr>
        <p:spPr>
          <a:xfrm>
            <a:off x="5727033" y="284584"/>
            <a:ext cx="4523034" cy="437043"/>
          </a:xfrm>
          <a:prstGeom prst="rect">
            <a:avLst/>
          </a:prstGeom>
        </p:spPr>
        <p:txBody>
          <a:bodyPr wrap="square">
            <a:spAutoFit/>
          </a:bodyPr>
          <a:lstStyle/>
          <a:p>
            <a:pPr marL="0" marR="0" lvl="0" indent="0" defTabSz="914400" eaLnBrk="1" fontAlgn="auto" latinLnBrk="0" hangingPunct="1">
              <a:lnSpc>
                <a:spcPct val="80000"/>
              </a:lnSpc>
              <a:spcBef>
                <a:spcPts val="0"/>
              </a:spcBef>
              <a:spcAft>
                <a:spcPts val="0"/>
              </a:spcAft>
              <a:buClrTx/>
              <a:buSzTx/>
              <a:buFontTx/>
              <a:buNone/>
              <a:tabLst/>
              <a:defRPr sz="1400" b="1" i="0" u="none" strike="noStrike" kern="1200" baseline="0">
                <a:solidFill>
                  <a:prstClr val="black"/>
                </a:solidFill>
                <a:latin typeface="+mn-lt"/>
                <a:ea typeface="+mn-ea"/>
                <a:cs typeface="+mn-cs"/>
              </a:defRPr>
            </a:pPr>
            <a:r>
              <a:rPr lang="pt-BR" sz="1400">
                <a:solidFill>
                  <a:srgbClr val="A9C78F"/>
                </a:solidFill>
                <a:latin typeface="Arial" pitchFamily="34" charset="0"/>
                <a:cs typeface="Arial" pitchFamily="34" charset="0"/>
              </a:rPr>
              <a:t>Com mais de 30 anos de história operacional, Valagro foi pioneira no mundo dos Bioestimulantes</a:t>
            </a:r>
          </a:p>
        </p:txBody>
      </p:sp>
      <p:sp>
        <p:nvSpPr>
          <p:cNvPr id="9" name="Rettangolo 8"/>
          <p:cNvSpPr/>
          <p:nvPr/>
        </p:nvSpPr>
        <p:spPr>
          <a:xfrm>
            <a:off x="303759" y="6964608"/>
            <a:ext cx="885097" cy="220573"/>
          </a:xfrm>
          <a:prstGeom prst="rect">
            <a:avLst/>
          </a:prstGeom>
        </p:spPr>
        <p:txBody>
          <a:bodyPr wrap="square">
            <a:spAutoFit/>
          </a:bodyPr>
          <a:lstStyle/>
          <a:p>
            <a:pPr>
              <a:lnSpc>
                <a:spcPct val="80000"/>
              </a:lnSpc>
            </a:pPr>
            <a:r>
              <a:rPr lang="pt-BR" sz="1000">
                <a:solidFill>
                  <a:srgbClr val="375B49"/>
                </a:solidFill>
                <a:latin typeface="Arial" pitchFamily="34" charset="0"/>
                <a:cs typeface="Arial" pitchFamily="34" charset="0"/>
              </a:rPr>
              <a:t>16</a:t>
            </a:r>
          </a:p>
        </p:txBody>
      </p:sp>
    </p:spTree>
    <p:extLst>
      <p:ext uri="{BB962C8B-B14F-4D97-AF65-F5344CB8AC3E}">
        <p14:creationId xmlns:p14="http://schemas.microsoft.com/office/powerpoint/2010/main" val="1719344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0"/>
            <a:ext cx="10700809" cy="7571857"/>
          </a:xfrm>
          <a:prstGeom prst="rect">
            <a:avLst/>
          </a:prstGeom>
        </p:spPr>
      </p:pic>
      <p:sp>
        <p:nvSpPr>
          <p:cNvPr id="4" name="CasellaDiTesto 3"/>
          <p:cNvSpPr txBox="1"/>
          <p:nvPr/>
        </p:nvSpPr>
        <p:spPr>
          <a:xfrm>
            <a:off x="317623" y="678881"/>
            <a:ext cx="9620461" cy="1137299"/>
          </a:xfrm>
          <a:prstGeom prst="rect">
            <a:avLst/>
          </a:prstGeom>
          <a:noFill/>
        </p:spPr>
        <p:txBody>
          <a:bodyPr wrap="square" rtlCol="0">
            <a:spAutoFit/>
          </a:bodyPr>
          <a:lstStyle/>
          <a:p>
            <a:pPr>
              <a:lnSpc>
                <a:spcPct val="70000"/>
              </a:lnSpc>
            </a:pPr>
            <a:r>
              <a:rPr lang="pt-BR" altLang="en-US" sz="4800" b="1" spc="-300">
                <a:ln w="19050">
                  <a:noFill/>
                </a:ln>
                <a:solidFill>
                  <a:schemeClr val="bg1"/>
                </a:solidFill>
                <a:latin typeface="Arial" pitchFamily="34" charset="0"/>
                <a:cs typeface="Arial" pitchFamily="34" charset="0"/>
              </a:rPr>
              <a:t>HOW TO MEET THE CHALLENGE OF FUTURE FARMING</a:t>
            </a:r>
          </a:p>
        </p:txBody>
      </p:sp>
      <p:pic>
        <p:nvPicPr>
          <p:cNvPr id="7" name="Immagin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822365" y="6976136"/>
            <a:ext cx="1488807" cy="420503"/>
          </a:xfrm>
          <a:prstGeom prst="rect">
            <a:avLst/>
          </a:prstGeom>
        </p:spPr>
      </p:pic>
      <p:sp>
        <p:nvSpPr>
          <p:cNvPr id="5" name="CasellaDiTesto 3">
            <a:extLst>
              <a:ext uri="{FF2B5EF4-FFF2-40B4-BE49-F238E27FC236}">
                <a16:creationId xmlns:a16="http://schemas.microsoft.com/office/drawing/2014/main" id="{C682AECD-888D-4311-8E1E-5EA1790C6FF5}"/>
              </a:ext>
            </a:extLst>
          </p:cNvPr>
          <p:cNvSpPr txBox="1"/>
          <p:nvPr/>
        </p:nvSpPr>
        <p:spPr>
          <a:xfrm>
            <a:off x="317623" y="3818321"/>
            <a:ext cx="9620461" cy="1398588"/>
          </a:xfrm>
          <a:prstGeom prst="rect">
            <a:avLst/>
          </a:prstGeom>
          <a:noFill/>
        </p:spPr>
        <p:txBody>
          <a:bodyPr wrap="square" rtlCol="0">
            <a:spAutoFit/>
          </a:bodyPr>
          <a:lstStyle/>
          <a:p>
            <a:pPr>
              <a:lnSpc>
                <a:spcPct val="70000"/>
              </a:lnSpc>
            </a:pPr>
            <a:r>
              <a:rPr lang="pt-BR" altLang="en-US" sz="6000" b="1" spc="-300">
                <a:ln w="19050">
                  <a:noFill/>
                </a:ln>
                <a:solidFill>
                  <a:schemeClr val="bg1"/>
                </a:solidFill>
                <a:latin typeface="Arial" pitchFamily="34" charset="0"/>
                <a:cs typeface="Arial" pitchFamily="34" charset="0"/>
              </a:rPr>
              <a:t>Como atingir os desafios da Agricultura do Futuro</a:t>
            </a:r>
          </a:p>
        </p:txBody>
      </p:sp>
    </p:spTree>
    <p:extLst>
      <p:ext uri="{BB962C8B-B14F-4D97-AF65-F5344CB8AC3E}">
        <p14:creationId xmlns:p14="http://schemas.microsoft.com/office/powerpoint/2010/main" val="3981501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68" y="5082"/>
            <a:ext cx="10700801" cy="7564990"/>
          </a:xfrm>
          <a:prstGeom prst="rect">
            <a:avLst/>
          </a:prstGeom>
        </p:spPr>
      </p:pic>
      <p:sp>
        <p:nvSpPr>
          <p:cNvPr id="2" name="Rettangolo 1"/>
          <p:cNvSpPr/>
          <p:nvPr/>
        </p:nvSpPr>
        <p:spPr>
          <a:xfrm>
            <a:off x="279204" y="179991"/>
            <a:ext cx="10016041" cy="553998"/>
          </a:xfrm>
          <a:prstGeom prst="rect">
            <a:avLst/>
          </a:prstGeom>
        </p:spPr>
        <p:txBody>
          <a:bodyPr wrap="square">
            <a:spAutoFit/>
          </a:bodyPr>
          <a:lstStyle/>
          <a:p>
            <a:pPr lvl="0"/>
            <a:r>
              <a:rPr lang="pt-BR" sz="3000" b="1" cap="all" spc="-150">
                <a:ln w="19050">
                  <a:noFill/>
                </a:ln>
                <a:solidFill>
                  <a:srgbClr val="163D28"/>
                </a:solidFill>
                <a:latin typeface="Arial" pitchFamily="34" charset="0"/>
                <a:cs typeface="Arial" pitchFamily="34" charset="0"/>
              </a:rPr>
              <a:t>PRINCIPAIS </a:t>
            </a:r>
            <a:r>
              <a:rPr lang="pt-BR" sz="3000" cap="all" spc="-150">
                <a:ln w="19050">
                  <a:noFill/>
                </a:ln>
                <a:solidFill>
                  <a:srgbClr val="163D28"/>
                </a:solidFill>
                <a:latin typeface="Arial" pitchFamily="34" charset="0"/>
                <a:cs typeface="Arial" pitchFamily="34" charset="0"/>
              </a:rPr>
              <a:t>SITES PRODUTIVOS</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6" name="CasellaDiTesto 5"/>
          <p:cNvSpPr txBox="1"/>
          <p:nvPr/>
        </p:nvSpPr>
        <p:spPr>
          <a:xfrm>
            <a:off x="12415790" y="2189750"/>
            <a:ext cx="184666" cy="415498"/>
          </a:xfrm>
          <a:prstGeom prst="rect">
            <a:avLst/>
          </a:prstGeom>
          <a:noFill/>
        </p:spPr>
        <p:txBody>
          <a:bodyPr wrap="none" rtlCol="0">
            <a:spAutoFit/>
          </a:bodyPr>
          <a:lstStyle/>
          <a:p>
            <a:endParaRPr lang="pt-BR"/>
          </a:p>
        </p:txBody>
      </p:sp>
      <p:sp>
        <p:nvSpPr>
          <p:cNvPr id="23" name="CasellaDiTesto 22"/>
          <p:cNvSpPr txBox="1"/>
          <p:nvPr/>
        </p:nvSpPr>
        <p:spPr>
          <a:xfrm>
            <a:off x="359099" y="1078544"/>
            <a:ext cx="3249397" cy="4758226"/>
          </a:xfrm>
          <a:prstGeom prst="rect">
            <a:avLst/>
          </a:prstGeom>
          <a:noFill/>
        </p:spPr>
        <p:txBody>
          <a:bodyPr wrap="square" rtlCol="0">
            <a:spAutoFit/>
          </a:bodyPr>
          <a:lstStyle/>
          <a:p>
            <a:pPr defTabSz="914400" fontAlgn="auto">
              <a:lnSpc>
                <a:spcPct val="80000"/>
              </a:lnSpc>
              <a:spcBef>
                <a:spcPts val="0"/>
              </a:spcBef>
              <a:spcAft>
                <a:spcPts val="0"/>
              </a:spcAft>
              <a:defRPr/>
            </a:pPr>
            <a:r>
              <a:rPr lang="pt-BR" sz="1800" b="1">
                <a:solidFill>
                  <a:srgbClr val="608D26"/>
                </a:solidFill>
                <a:latin typeface="Arial" pitchFamily="34" charset="0"/>
                <a:cs typeface="Arial" pitchFamily="34" charset="0"/>
              </a:rPr>
              <a:t>PRODUÇÃO INTEGRADA</a:t>
            </a: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400" kern="0">
              <a:solidFill>
                <a:srgbClr val="375B49"/>
              </a:solidFill>
              <a:latin typeface="Arial"/>
            </a:endParaRPr>
          </a:p>
          <a:p>
            <a:pPr marL="285750" marR="0" lvl="0" indent="-285750" defTabSz="914400" eaLnBrk="1" fontAlgn="auto" latinLnBrk="0" hangingPunct="1">
              <a:lnSpc>
                <a:spcPct val="80000"/>
              </a:lnSpc>
              <a:spcBef>
                <a:spcPts val="0"/>
              </a:spcBef>
              <a:spcAft>
                <a:spcPts val="0"/>
              </a:spcAft>
              <a:buClrTx/>
              <a:buSzTx/>
              <a:buFont typeface="Arial"/>
              <a:buChar char="•"/>
              <a:tabLst/>
              <a:defRPr/>
            </a:pPr>
            <a:endParaRPr lang="pt-BR" sz="1400" kern="0">
              <a:solidFill>
                <a:srgbClr val="375B49"/>
              </a:solidFill>
              <a:latin typeface="Arial"/>
            </a:endParaRPr>
          </a:p>
          <a:p>
            <a:pPr marL="285750" marR="0" lvl="0" indent="-285750" defTabSz="914400" eaLnBrk="1" fontAlgn="auto" latinLnBrk="0" hangingPunct="1">
              <a:spcBef>
                <a:spcPts val="0"/>
              </a:spcBef>
              <a:spcAft>
                <a:spcPts val="0"/>
              </a:spcAft>
              <a:buClrTx/>
              <a:buSzTx/>
              <a:buFont typeface="Arial"/>
              <a:buChar char="•"/>
              <a:tabLst/>
              <a:defRPr/>
            </a:pPr>
            <a:endParaRPr lang="pt-BR" sz="1400" kern="0">
              <a:solidFill>
                <a:srgbClr val="608D26"/>
              </a:solidFill>
              <a:latin typeface="Arial"/>
            </a:endParaRPr>
          </a:p>
          <a:p>
            <a:pPr defTabSz="914400" fontAlgn="auto">
              <a:lnSpc>
                <a:spcPct val="80000"/>
              </a:lnSpc>
              <a:spcBef>
                <a:spcPts val="0"/>
              </a:spcBef>
              <a:spcAft>
                <a:spcPts val="0"/>
              </a:spcAft>
              <a:defRPr/>
            </a:pPr>
            <a:r>
              <a:rPr lang="pt-BR" sz="1800" b="1">
                <a:solidFill>
                  <a:srgbClr val="608D26"/>
                </a:solidFill>
                <a:latin typeface="Arial" pitchFamily="34" charset="0"/>
                <a:cs typeface="Arial" pitchFamily="34" charset="0"/>
              </a:rPr>
              <a:t>TECNOLOGICAMENTE AVANÇADO</a:t>
            </a: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800" b="1" kern="0">
              <a:solidFill>
                <a:srgbClr val="608D26"/>
              </a:solidFill>
              <a:latin typeface="Arial" pitchFamily="34" charset="0"/>
              <a:cs typeface="Arial" pitchFamily="34" charset="0"/>
            </a:endParaRPr>
          </a:p>
          <a:p>
            <a:pPr defTabSz="914400" fontAlgn="auto">
              <a:lnSpc>
                <a:spcPct val="80000"/>
              </a:lnSpc>
              <a:spcBef>
                <a:spcPts val="0"/>
              </a:spcBef>
              <a:spcAft>
                <a:spcPts val="0"/>
              </a:spcAft>
              <a:defRPr/>
            </a:pPr>
            <a:endParaRPr lang="pt-BR" sz="1400" kern="0">
              <a:solidFill>
                <a:srgbClr val="375B49"/>
              </a:solidFill>
              <a:latin typeface="Arial"/>
            </a:endParaRPr>
          </a:p>
          <a:p>
            <a:pPr marL="285750" marR="0" lvl="0" indent="-285750" defTabSz="914400" eaLnBrk="1" fontAlgn="auto" latinLnBrk="0" hangingPunct="1">
              <a:lnSpc>
                <a:spcPct val="80000"/>
              </a:lnSpc>
              <a:spcBef>
                <a:spcPts val="0"/>
              </a:spcBef>
              <a:spcAft>
                <a:spcPts val="0"/>
              </a:spcAft>
              <a:buClrTx/>
              <a:buSzTx/>
              <a:buFont typeface="Arial"/>
              <a:buChar char="•"/>
              <a:tabLst/>
              <a:defRPr/>
            </a:pPr>
            <a:endParaRPr lang="pt-BR" sz="1400" kern="0">
              <a:solidFill>
                <a:srgbClr val="375B49"/>
              </a:solidFill>
              <a:latin typeface="Arial"/>
            </a:endParaRPr>
          </a:p>
          <a:p>
            <a:pPr marL="285750" marR="0" lvl="0" indent="-285750" defTabSz="914400" eaLnBrk="1" fontAlgn="auto" latinLnBrk="0" hangingPunct="1">
              <a:spcBef>
                <a:spcPts val="0"/>
              </a:spcBef>
              <a:spcAft>
                <a:spcPts val="0"/>
              </a:spcAft>
              <a:buClrTx/>
              <a:buSzTx/>
              <a:buFont typeface="Arial"/>
              <a:buChar char="•"/>
              <a:tabLst/>
              <a:defRPr/>
            </a:pPr>
            <a:endParaRPr lang="pt-BR" sz="1400" kern="0">
              <a:solidFill>
                <a:srgbClr val="375B49"/>
              </a:solidFill>
              <a:latin typeface="Arial"/>
            </a:endParaRPr>
          </a:p>
          <a:p>
            <a:pPr>
              <a:lnSpc>
                <a:spcPct val="80000"/>
              </a:lnSpc>
            </a:pPr>
            <a:endParaRPr lang="pt-BR" sz="1800" b="1">
              <a:solidFill>
                <a:srgbClr val="608D26"/>
              </a:solidFill>
              <a:latin typeface="Arial" pitchFamily="34" charset="0"/>
              <a:cs typeface="Arial" pitchFamily="34" charset="0"/>
            </a:endParaRPr>
          </a:p>
          <a:p>
            <a:pPr>
              <a:lnSpc>
                <a:spcPct val="80000"/>
              </a:lnSpc>
            </a:pPr>
            <a:r>
              <a:rPr lang="pt-BR" sz="1800" b="1">
                <a:solidFill>
                  <a:srgbClr val="608D26"/>
                </a:solidFill>
                <a:latin typeface="Arial" pitchFamily="34" charset="0"/>
                <a:cs typeface="Arial" pitchFamily="34" charset="0"/>
              </a:rPr>
              <a:t>RECURSOS DE FORMULAÇÃO MÚLTIPLA</a:t>
            </a:r>
          </a:p>
        </p:txBody>
      </p:sp>
      <p:sp>
        <p:nvSpPr>
          <p:cNvPr id="29" name="CasellaDiTesto 28"/>
          <p:cNvSpPr txBox="1"/>
          <p:nvPr/>
        </p:nvSpPr>
        <p:spPr>
          <a:xfrm>
            <a:off x="3973284" y="1089304"/>
            <a:ext cx="1474500" cy="560153"/>
          </a:xfrm>
          <a:prstGeom prst="rect">
            <a:avLst/>
          </a:prstGeom>
          <a:noFill/>
        </p:spPr>
        <p:txBody>
          <a:bodyPr wrap="square" rtlCol="0">
            <a:spAutoFit/>
          </a:bodyPr>
          <a:lstStyle/>
          <a:p>
            <a:pPr defTabSz="914400" fontAlgn="auto">
              <a:lnSpc>
                <a:spcPct val="80000"/>
              </a:lnSpc>
              <a:spcBef>
                <a:spcPts val="0"/>
              </a:spcBef>
              <a:spcAft>
                <a:spcPts val="0"/>
              </a:spcAft>
              <a:defRPr/>
            </a:pPr>
            <a:r>
              <a:rPr lang="pt-BR" sz="1400" b="1" kern="0">
                <a:solidFill>
                  <a:srgbClr val="91AAA9"/>
                </a:solidFill>
                <a:latin typeface="Arial"/>
              </a:rPr>
              <a:t>ATESSA, ITÁLIA</a:t>
            </a:r>
          </a:p>
          <a:p>
            <a:pPr defTabSz="914400" fontAlgn="auto">
              <a:lnSpc>
                <a:spcPct val="80000"/>
              </a:lnSpc>
              <a:spcBef>
                <a:spcPts val="0"/>
              </a:spcBef>
              <a:spcAft>
                <a:spcPts val="0"/>
              </a:spcAft>
              <a:defRPr/>
            </a:pPr>
            <a:r>
              <a:rPr lang="pt-BR" sz="1000" b="1" kern="0">
                <a:solidFill>
                  <a:srgbClr val="91AAA9"/>
                </a:solidFill>
                <a:latin typeface="Arial"/>
              </a:rPr>
              <a:t>64.7k m</a:t>
            </a:r>
            <a:r>
              <a:rPr lang="pt-BR" sz="1000" b="1" kern="0" baseline="30000">
                <a:solidFill>
                  <a:srgbClr val="91AAA9"/>
                </a:solidFill>
                <a:latin typeface="Arial"/>
              </a:rPr>
              <a:t>2</a:t>
            </a:r>
          </a:p>
        </p:txBody>
      </p:sp>
      <p:cxnSp>
        <p:nvCxnSpPr>
          <p:cNvPr id="4" name="Connettore 1 3"/>
          <p:cNvCxnSpPr/>
          <p:nvPr/>
        </p:nvCxnSpPr>
        <p:spPr>
          <a:xfrm>
            <a:off x="359099" y="3138603"/>
            <a:ext cx="3249397"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Connettore 1 30"/>
          <p:cNvCxnSpPr/>
          <p:nvPr/>
        </p:nvCxnSpPr>
        <p:spPr>
          <a:xfrm>
            <a:off x="359099" y="5031835"/>
            <a:ext cx="3249397" cy="0"/>
          </a:xfrm>
          <a:prstGeom prst="line">
            <a:avLst/>
          </a:prstGeom>
          <a:ln>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32" name="CasellaDiTesto 31"/>
          <p:cNvSpPr txBox="1"/>
          <p:nvPr/>
        </p:nvSpPr>
        <p:spPr>
          <a:xfrm>
            <a:off x="3973284" y="2970608"/>
            <a:ext cx="1597118" cy="565283"/>
          </a:xfrm>
          <a:prstGeom prst="rect">
            <a:avLst/>
          </a:prstGeom>
          <a:noFill/>
        </p:spPr>
        <p:txBody>
          <a:bodyPr wrap="square" rtlCol="0">
            <a:spAutoFit/>
          </a:bodyPr>
          <a:lstStyle/>
          <a:p>
            <a:pPr defTabSz="914400" fontAlgn="auto">
              <a:lnSpc>
                <a:spcPct val="80000"/>
              </a:lnSpc>
              <a:spcBef>
                <a:spcPts val="0"/>
              </a:spcBef>
              <a:spcAft>
                <a:spcPts val="0"/>
              </a:spcAft>
              <a:defRPr/>
            </a:pPr>
            <a:r>
              <a:rPr lang="pt-BR" sz="1400" b="1" kern="0">
                <a:solidFill>
                  <a:srgbClr val="91AAA9"/>
                </a:solidFill>
                <a:latin typeface="Arial"/>
              </a:rPr>
              <a:t>KRISTIANSUND, NORUEGA</a:t>
            </a:r>
          </a:p>
          <a:p>
            <a:pPr defTabSz="914400" fontAlgn="auto">
              <a:lnSpc>
                <a:spcPct val="80000"/>
              </a:lnSpc>
              <a:spcBef>
                <a:spcPts val="0"/>
              </a:spcBef>
              <a:spcAft>
                <a:spcPts val="0"/>
              </a:spcAft>
              <a:defRPr/>
            </a:pPr>
            <a:r>
              <a:rPr lang="pt-BR" sz="1000" b="1" kern="0">
                <a:solidFill>
                  <a:srgbClr val="91AAA9"/>
                </a:solidFill>
                <a:latin typeface="Arial"/>
              </a:rPr>
              <a:t>7,6 k m</a:t>
            </a:r>
            <a:r>
              <a:rPr lang="pt-BR" sz="1000" b="1" kern="0" baseline="30000">
                <a:solidFill>
                  <a:srgbClr val="91AAA9"/>
                </a:solidFill>
                <a:latin typeface="Arial"/>
              </a:rPr>
              <a:t>2</a:t>
            </a:r>
          </a:p>
        </p:txBody>
      </p:sp>
      <p:sp>
        <p:nvSpPr>
          <p:cNvPr id="34" name="CasellaDiTesto 33"/>
          <p:cNvSpPr txBox="1"/>
          <p:nvPr/>
        </p:nvSpPr>
        <p:spPr>
          <a:xfrm>
            <a:off x="3973283" y="4861545"/>
            <a:ext cx="1763529" cy="732508"/>
          </a:xfrm>
          <a:prstGeom prst="rect">
            <a:avLst/>
          </a:prstGeom>
          <a:noFill/>
        </p:spPr>
        <p:txBody>
          <a:bodyPr wrap="square" rtlCol="0">
            <a:spAutoFit/>
          </a:bodyPr>
          <a:lstStyle/>
          <a:p>
            <a:pPr defTabSz="914400" fontAlgn="auto">
              <a:lnSpc>
                <a:spcPct val="80000"/>
              </a:lnSpc>
              <a:spcBef>
                <a:spcPts val="0"/>
              </a:spcBef>
              <a:spcAft>
                <a:spcPts val="0"/>
              </a:spcAft>
              <a:defRPr/>
            </a:pPr>
            <a:r>
              <a:rPr lang="pt-BR" sz="1400" b="1" kern="0">
                <a:solidFill>
                  <a:srgbClr val="91AAA9"/>
                </a:solidFill>
                <a:latin typeface="Arial"/>
              </a:rPr>
              <a:t>PASHAMYLARAM,</a:t>
            </a:r>
          </a:p>
          <a:p>
            <a:pPr defTabSz="914400" fontAlgn="auto">
              <a:lnSpc>
                <a:spcPct val="80000"/>
              </a:lnSpc>
              <a:spcBef>
                <a:spcPts val="0"/>
              </a:spcBef>
              <a:spcAft>
                <a:spcPts val="0"/>
              </a:spcAft>
              <a:defRPr/>
            </a:pPr>
            <a:r>
              <a:rPr lang="pt-BR" sz="1400" b="1" kern="0">
                <a:solidFill>
                  <a:srgbClr val="91AAA9"/>
                </a:solidFill>
                <a:latin typeface="Arial"/>
              </a:rPr>
              <a:t>INDIA</a:t>
            </a:r>
          </a:p>
          <a:p>
            <a:pPr defTabSz="914400" fontAlgn="auto">
              <a:lnSpc>
                <a:spcPct val="80000"/>
              </a:lnSpc>
              <a:spcBef>
                <a:spcPts val="0"/>
              </a:spcBef>
              <a:spcAft>
                <a:spcPts val="0"/>
              </a:spcAft>
              <a:defRPr/>
            </a:pPr>
            <a:r>
              <a:rPr lang="pt-BR" sz="1000" b="1" kern="0">
                <a:solidFill>
                  <a:srgbClr val="91AAA9"/>
                </a:solidFill>
                <a:latin typeface="Arial"/>
              </a:rPr>
              <a:t>5.6k m</a:t>
            </a:r>
            <a:r>
              <a:rPr lang="pt-BR" sz="1000" b="1" kern="0" baseline="30000">
                <a:solidFill>
                  <a:srgbClr val="91AAA9"/>
                </a:solidFill>
                <a:latin typeface="Arial"/>
              </a:rPr>
              <a:t>2</a:t>
            </a:r>
          </a:p>
        </p:txBody>
      </p:sp>
      <p:sp>
        <p:nvSpPr>
          <p:cNvPr id="36" name="CasellaDiTesto 35"/>
          <p:cNvSpPr txBox="1"/>
          <p:nvPr/>
        </p:nvSpPr>
        <p:spPr>
          <a:xfrm>
            <a:off x="8584679" y="2970608"/>
            <a:ext cx="1597118" cy="560153"/>
          </a:xfrm>
          <a:prstGeom prst="rect">
            <a:avLst/>
          </a:prstGeom>
          <a:noFill/>
        </p:spPr>
        <p:txBody>
          <a:bodyPr wrap="square" rtlCol="0">
            <a:spAutoFit/>
          </a:bodyPr>
          <a:lstStyle/>
          <a:p>
            <a:pPr algn="r" defTabSz="914400" fontAlgn="auto">
              <a:lnSpc>
                <a:spcPct val="80000"/>
              </a:lnSpc>
              <a:spcBef>
                <a:spcPts val="0"/>
              </a:spcBef>
              <a:spcAft>
                <a:spcPts val="0"/>
              </a:spcAft>
              <a:defRPr/>
            </a:pPr>
            <a:r>
              <a:rPr lang="pt-BR" sz="1400" b="1" kern="0">
                <a:solidFill>
                  <a:srgbClr val="91AAA9"/>
                </a:solidFill>
                <a:latin typeface="Arial"/>
              </a:rPr>
              <a:t>BRØNNØYSUN, NORUEGA</a:t>
            </a:r>
          </a:p>
          <a:p>
            <a:pPr algn="r" defTabSz="914400" fontAlgn="auto">
              <a:lnSpc>
                <a:spcPct val="80000"/>
              </a:lnSpc>
              <a:spcBef>
                <a:spcPts val="0"/>
              </a:spcBef>
              <a:spcAft>
                <a:spcPts val="0"/>
              </a:spcAft>
              <a:defRPr/>
            </a:pPr>
            <a:r>
              <a:rPr lang="pt-BR" sz="1000" b="1" kern="0">
                <a:solidFill>
                  <a:srgbClr val="91AAA9"/>
                </a:solidFill>
                <a:latin typeface="Arial"/>
              </a:rPr>
              <a:t>8.4k m</a:t>
            </a:r>
            <a:r>
              <a:rPr lang="pt-BR" sz="1000" b="1" kern="0" baseline="30000">
                <a:solidFill>
                  <a:srgbClr val="91AAA9"/>
                </a:solidFill>
                <a:latin typeface="Arial"/>
              </a:rPr>
              <a:t>2</a:t>
            </a:r>
          </a:p>
        </p:txBody>
      </p:sp>
      <p:sp>
        <p:nvSpPr>
          <p:cNvPr id="38" name="CasellaDiTesto 37"/>
          <p:cNvSpPr txBox="1"/>
          <p:nvPr/>
        </p:nvSpPr>
        <p:spPr>
          <a:xfrm>
            <a:off x="8584679" y="4861545"/>
            <a:ext cx="1597118" cy="565283"/>
          </a:xfrm>
          <a:prstGeom prst="rect">
            <a:avLst/>
          </a:prstGeom>
          <a:noFill/>
        </p:spPr>
        <p:txBody>
          <a:bodyPr wrap="square" rtlCol="0">
            <a:spAutoFit/>
          </a:bodyPr>
          <a:lstStyle/>
          <a:p>
            <a:pPr algn="r" defTabSz="914400" fontAlgn="auto">
              <a:lnSpc>
                <a:spcPct val="80000"/>
              </a:lnSpc>
              <a:spcBef>
                <a:spcPts val="0"/>
              </a:spcBef>
              <a:spcAft>
                <a:spcPts val="0"/>
              </a:spcAft>
              <a:defRPr/>
            </a:pPr>
            <a:r>
              <a:rPr lang="pt-BR" sz="1400" b="1" kern="0">
                <a:solidFill>
                  <a:srgbClr val="91AAA9"/>
                </a:solidFill>
                <a:latin typeface="Arial"/>
              </a:rPr>
              <a:t>KARAKAPATLA, INDIA </a:t>
            </a:r>
          </a:p>
          <a:p>
            <a:pPr algn="r" defTabSz="914400" fontAlgn="auto">
              <a:lnSpc>
                <a:spcPct val="80000"/>
              </a:lnSpc>
              <a:spcBef>
                <a:spcPts val="0"/>
              </a:spcBef>
              <a:spcAft>
                <a:spcPts val="0"/>
              </a:spcAft>
              <a:defRPr/>
            </a:pPr>
            <a:r>
              <a:rPr lang="pt-BR" sz="1000" b="1" kern="0">
                <a:solidFill>
                  <a:srgbClr val="91AAA9"/>
                </a:solidFill>
                <a:latin typeface="Arial"/>
              </a:rPr>
              <a:t>40.4k m</a:t>
            </a:r>
            <a:r>
              <a:rPr lang="pt-BR" sz="1000" b="1" kern="0" baseline="30000">
                <a:solidFill>
                  <a:srgbClr val="91AAA9"/>
                </a:solidFill>
                <a:latin typeface="Arial"/>
              </a:rPr>
              <a:t>2</a:t>
            </a:r>
            <a:r>
              <a:rPr lang="pt-BR" sz="1000" b="1" kern="0">
                <a:solidFill>
                  <a:srgbClr val="91AAA9"/>
                </a:solidFill>
                <a:latin typeface="Arial"/>
              </a:rPr>
              <a:t> </a:t>
            </a:r>
          </a:p>
        </p:txBody>
      </p:sp>
      <p:sp>
        <p:nvSpPr>
          <p:cNvPr id="20" name="Rettangolo 19"/>
          <p:cNvSpPr/>
          <p:nvPr/>
        </p:nvSpPr>
        <p:spPr>
          <a:xfrm>
            <a:off x="303759" y="6964608"/>
            <a:ext cx="885097" cy="220573"/>
          </a:xfrm>
          <a:prstGeom prst="rect">
            <a:avLst/>
          </a:prstGeom>
        </p:spPr>
        <p:txBody>
          <a:bodyPr wrap="square">
            <a:spAutoFit/>
          </a:bodyPr>
          <a:lstStyle/>
          <a:p>
            <a:pPr>
              <a:lnSpc>
                <a:spcPct val="80000"/>
              </a:lnSpc>
            </a:pPr>
            <a:r>
              <a:rPr lang="pt-BR" sz="1000">
                <a:solidFill>
                  <a:srgbClr val="375B49"/>
                </a:solidFill>
                <a:latin typeface="Arial" pitchFamily="34" charset="0"/>
                <a:cs typeface="Arial" pitchFamily="34" charset="0"/>
              </a:rPr>
              <a:t>33</a:t>
            </a:r>
          </a:p>
        </p:txBody>
      </p:sp>
      <p:sp>
        <p:nvSpPr>
          <p:cNvPr id="3" name="Rettangolo 2"/>
          <p:cNvSpPr/>
          <p:nvPr/>
        </p:nvSpPr>
        <p:spPr>
          <a:xfrm>
            <a:off x="320003" y="5836770"/>
            <a:ext cx="3038770" cy="954107"/>
          </a:xfrm>
          <a:prstGeom prst="rect">
            <a:avLst/>
          </a:prstGeom>
        </p:spPr>
        <p:txBody>
          <a:bodyPr wrap="square">
            <a:spAutoFit/>
          </a:bodyPr>
          <a:lstStyle/>
          <a:p>
            <a:pPr marL="285750" marR="0" lvl="0" indent="-285750" defTabSz="914400" eaLnBrk="1" fontAlgn="auto" latinLnBrk="0" hangingPunct="1">
              <a:spcBef>
                <a:spcPts val="0"/>
              </a:spcBef>
              <a:spcAft>
                <a:spcPts val="0"/>
              </a:spcAft>
              <a:buClrTx/>
              <a:buSzTx/>
              <a:buFont typeface="Arial" panose="020B0604020202020204" pitchFamily="34" charset="0"/>
              <a:buChar char="•"/>
              <a:tabLst/>
              <a:defRPr/>
            </a:pPr>
            <a:r>
              <a:rPr lang="pt-BR" sz="1400" kern="0">
                <a:solidFill>
                  <a:srgbClr val="375B49"/>
                </a:solidFill>
                <a:latin typeface="Arial"/>
              </a:rPr>
              <a:t>Capaz de produzir para os mercados de plantas, animais, cosméticos e nutrição humana</a:t>
            </a:r>
          </a:p>
          <a:p>
            <a:pPr marL="285750" marR="0" lvl="0" indent="-285750" defTabSz="914400" eaLnBrk="1" fontAlgn="auto" latinLnBrk="0" hangingPunct="1">
              <a:spcBef>
                <a:spcPts val="0"/>
              </a:spcBef>
              <a:spcAft>
                <a:spcPts val="0"/>
              </a:spcAft>
              <a:buClrTx/>
              <a:buSzTx/>
              <a:buFont typeface="Arial" panose="020B0604020202020204" pitchFamily="34" charset="0"/>
              <a:buChar char="•"/>
              <a:tabLst/>
              <a:defRPr/>
            </a:pPr>
            <a:r>
              <a:rPr lang="pt-BR" sz="1400" kern="0">
                <a:solidFill>
                  <a:srgbClr val="375B49"/>
                </a:solidFill>
                <a:latin typeface="Arial"/>
              </a:rPr>
              <a:t>Expertise em fermentação</a:t>
            </a:r>
          </a:p>
        </p:txBody>
      </p:sp>
      <p:sp>
        <p:nvSpPr>
          <p:cNvPr id="21" name="Rettangolo 20"/>
          <p:cNvSpPr/>
          <p:nvPr/>
        </p:nvSpPr>
        <p:spPr>
          <a:xfrm>
            <a:off x="317835" y="3568501"/>
            <a:ext cx="3038770" cy="1384995"/>
          </a:xfrm>
          <a:prstGeom prst="rect">
            <a:avLst/>
          </a:prstGeom>
        </p:spPr>
        <p:txBody>
          <a:bodyPr wrap="square">
            <a:spAutoFit/>
          </a:bodyPr>
          <a:lstStyle/>
          <a:p>
            <a:pPr marR="0" lvl="0" defTabSz="914400" eaLnBrk="1" fontAlgn="auto" latinLnBrk="0" hangingPunct="1">
              <a:spcBef>
                <a:spcPts val="0"/>
              </a:spcBef>
              <a:spcAft>
                <a:spcPts val="0"/>
              </a:spcAft>
              <a:buClrTx/>
              <a:buSzTx/>
              <a:tabLst/>
              <a:defRPr/>
            </a:pPr>
            <a:endParaRPr lang="pt-BR" sz="1400" kern="0">
              <a:solidFill>
                <a:srgbClr val="375B49"/>
              </a:solidFill>
              <a:latin typeface="Arial"/>
            </a:endParaRPr>
          </a:p>
          <a:p>
            <a:pPr marL="285750" marR="0" lvl="0" indent="-285750" defTabSz="914400" eaLnBrk="1" fontAlgn="auto" latinLnBrk="0" hangingPunct="1">
              <a:spcBef>
                <a:spcPts val="0"/>
              </a:spcBef>
              <a:spcAft>
                <a:spcPts val="0"/>
              </a:spcAft>
              <a:buClrTx/>
              <a:buSzTx/>
              <a:buFont typeface="Arial" panose="020B0604020202020204" pitchFamily="34" charset="0"/>
              <a:buChar char="•"/>
              <a:tabLst/>
              <a:defRPr/>
            </a:pPr>
            <a:r>
              <a:rPr lang="pt-BR" sz="1400" kern="0">
                <a:solidFill>
                  <a:srgbClr val="375B49"/>
                </a:solidFill>
                <a:latin typeface="Arial"/>
              </a:rPr>
              <a:t>Uma das poucas instalações de produção no mundo capaz de sintetizar micronutrientes quelatados essenciais para a nutrição de plantas</a:t>
            </a:r>
          </a:p>
        </p:txBody>
      </p:sp>
      <p:sp>
        <p:nvSpPr>
          <p:cNvPr id="22" name="Rettangolo 21"/>
          <p:cNvSpPr/>
          <p:nvPr/>
        </p:nvSpPr>
        <p:spPr>
          <a:xfrm>
            <a:off x="247672" y="1340413"/>
            <a:ext cx="3245528" cy="1815882"/>
          </a:xfrm>
          <a:prstGeom prst="rect">
            <a:avLst/>
          </a:prstGeom>
        </p:spPr>
        <p:txBody>
          <a:bodyPr wrap="square">
            <a:spAutoFit/>
          </a:bodyPr>
          <a:lstStyle/>
          <a:p>
            <a:pPr marL="285750" marR="0" lvl="0" indent="-285750" defTabSz="914400" eaLnBrk="1" fontAlgn="auto" latinLnBrk="0" hangingPunct="1">
              <a:spcBef>
                <a:spcPts val="0"/>
              </a:spcBef>
              <a:spcAft>
                <a:spcPts val="0"/>
              </a:spcAft>
              <a:buClrTx/>
              <a:buSzTx/>
              <a:buFont typeface="Arial" panose="020B0604020202020204" pitchFamily="34" charset="0"/>
              <a:buChar char="•"/>
              <a:tabLst/>
              <a:defRPr/>
            </a:pPr>
            <a:r>
              <a:rPr lang="pt-BR" sz="1400" kern="0">
                <a:solidFill>
                  <a:srgbClr val="375B49"/>
                </a:solidFill>
                <a:latin typeface="Arial"/>
              </a:rPr>
              <a:t>Colheita e processamento de algas </a:t>
            </a:r>
            <a:r>
              <a:rPr lang="pt-BR" sz="1400" i="1" kern="0">
                <a:solidFill>
                  <a:srgbClr val="375B49"/>
                </a:solidFill>
                <a:latin typeface="Arial"/>
              </a:rPr>
              <a:t>Ascophyllum Nodosum </a:t>
            </a:r>
          </a:p>
          <a:p>
            <a:pPr marL="285750" marR="0" lvl="0" indent="-285750" defTabSz="914400" eaLnBrk="1" fontAlgn="auto" latinLnBrk="0" hangingPunct="1">
              <a:spcBef>
                <a:spcPts val="0"/>
              </a:spcBef>
              <a:spcAft>
                <a:spcPts val="0"/>
              </a:spcAft>
              <a:buClrTx/>
              <a:buSzTx/>
              <a:buFont typeface="Arial" panose="020B0604020202020204" pitchFamily="34" charset="0"/>
              <a:buChar char="•"/>
              <a:tabLst/>
              <a:defRPr/>
            </a:pPr>
            <a:r>
              <a:rPr lang="pt-BR" sz="1400" kern="0">
                <a:solidFill>
                  <a:srgbClr val="375B49"/>
                </a:solidFill>
                <a:latin typeface="Arial"/>
              </a:rPr>
              <a:t>Extração dos principais ingredientes ativos contidos nas algas</a:t>
            </a:r>
          </a:p>
          <a:p>
            <a:pPr marL="285750" marR="0" lvl="0" indent="-285750" defTabSz="914400" eaLnBrk="1" fontAlgn="auto" latinLnBrk="0" hangingPunct="1">
              <a:spcBef>
                <a:spcPts val="0"/>
              </a:spcBef>
              <a:spcAft>
                <a:spcPts val="0"/>
              </a:spcAft>
              <a:buClrTx/>
              <a:buSzTx/>
              <a:buFont typeface="Arial" panose="020B0604020202020204" pitchFamily="34" charset="0"/>
              <a:buChar char="•"/>
              <a:tabLst/>
              <a:defRPr/>
            </a:pPr>
            <a:r>
              <a:rPr lang="pt-BR" sz="1400" kern="0">
                <a:solidFill>
                  <a:srgbClr val="375B49"/>
                </a:solidFill>
                <a:latin typeface="Arial"/>
              </a:rPr>
              <a:t>Produção de bioestimulantes, micronutrientes e nutrientes hidrossolúveis </a:t>
            </a:r>
          </a:p>
        </p:txBody>
      </p:sp>
    </p:spTree>
    <p:extLst>
      <p:ext uri="{BB962C8B-B14F-4D97-AF65-F5344CB8AC3E}">
        <p14:creationId xmlns:p14="http://schemas.microsoft.com/office/powerpoint/2010/main" val="5403050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magine 22">
            <a:extLst>
              <a:ext uri="{FF2B5EF4-FFF2-40B4-BE49-F238E27FC236}">
                <a16:creationId xmlns:a16="http://schemas.microsoft.com/office/drawing/2014/main" id="{C344283D-6E18-4128-8853-EC84BD594F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61" y="0"/>
            <a:ext cx="10692698" cy="7564989"/>
          </a:xfrm>
          <a:prstGeom prst="rect">
            <a:avLst/>
          </a:prstGeom>
        </p:spPr>
      </p:pic>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6" name="CasellaDiTesto 5"/>
          <p:cNvSpPr txBox="1"/>
          <p:nvPr/>
        </p:nvSpPr>
        <p:spPr>
          <a:xfrm>
            <a:off x="12415790" y="2189750"/>
            <a:ext cx="184666" cy="415498"/>
          </a:xfrm>
          <a:prstGeom prst="rect">
            <a:avLst/>
          </a:prstGeom>
          <a:noFill/>
        </p:spPr>
        <p:txBody>
          <a:bodyPr wrap="none" rtlCol="0">
            <a:spAutoFit/>
          </a:bodyPr>
          <a:lstStyle/>
          <a:p>
            <a:endParaRPr lang="it-IT" dirty="0"/>
          </a:p>
        </p:txBody>
      </p:sp>
      <p:sp>
        <p:nvSpPr>
          <p:cNvPr id="10" name="Rettangolo 9">
            <a:extLst>
              <a:ext uri="{FF2B5EF4-FFF2-40B4-BE49-F238E27FC236}">
                <a16:creationId xmlns:a16="http://schemas.microsoft.com/office/drawing/2014/main" id="{F7372019-A9BE-4AC4-B632-654458315CE5}"/>
              </a:ext>
            </a:extLst>
          </p:cNvPr>
          <p:cNvSpPr/>
          <p:nvPr/>
        </p:nvSpPr>
        <p:spPr>
          <a:xfrm>
            <a:off x="279204" y="179991"/>
            <a:ext cx="10016041" cy="1046440"/>
          </a:xfrm>
          <a:prstGeom prst="rect">
            <a:avLst/>
          </a:prstGeom>
        </p:spPr>
        <p:txBody>
          <a:bodyPr wrap="square">
            <a:spAutoFit/>
          </a:bodyPr>
          <a:lstStyle/>
          <a:p>
            <a:r>
              <a:rPr lang="en-US" sz="3000" b="1" cap="all" spc="-150" dirty="0">
                <a:ln w="19050">
                  <a:noFill/>
                </a:ln>
                <a:solidFill>
                  <a:srgbClr val="163D28"/>
                </a:solidFill>
                <a:latin typeface="Arial" pitchFamily="34" charset="0"/>
                <a:cs typeface="Arial" pitchFamily="34" charset="0"/>
              </a:rPr>
              <a:t>PRINCIPAIS </a:t>
            </a:r>
            <a:r>
              <a:rPr lang="en-US" sz="3000" cap="all" spc="-150" dirty="0">
                <a:ln w="19050">
                  <a:noFill/>
                </a:ln>
                <a:solidFill>
                  <a:srgbClr val="163D28"/>
                </a:solidFill>
                <a:latin typeface="Arial" pitchFamily="34" charset="0"/>
                <a:cs typeface="Arial" pitchFamily="34" charset="0"/>
              </a:rPr>
              <a:t>SITES PRODUTIVOS</a:t>
            </a:r>
            <a:r>
              <a:rPr lang="en-US" sz="3000" b="1" cap="all" spc="-150" dirty="0">
                <a:ln w="19050">
                  <a:noFill/>
                </a:ln>
                <a:solidFill>
                  <a:srgbClr val="163D28"/>
                </a:solidFill>
                <a:latin typeface="Arial" pitchFamily="34" charset="0"/>
                <a:cs typeface="Arial" pitchFamily="34" charset="0"/>
              </a:rPr>
              <a:t> </a:t>
            </a:r>
            <a:r>
              <a:rPr lang="en-US" sz="3000" cap="all" spc="-150" dirty="0">
                <a:ln w="19050">
                  <a:noFill/>
                </a:ln>
                <a:solidFill>
                  <a:srgbClr val="163D28"/>
                </a:solidFill>
                <a:latin typeface="Arial" pitchFamily="34" charset="0"/>
                <a:cs typeface="Arial" pitchFamily="34" charset="0"/>
              </a:rPr>
              <a:t>| </a:t>
            </a:r>
            <a:r>
              <a:rPr lang="de-DE" sz="2400" cap="all" spc="-150" dirty="0">
                <a:ln w="19050">
                  <a:noFill/>
                </a:ln>
                <a:solidFill>
                  <a:srgbClr val="163D28"/>
                </a:solidFill>
                <a:latin typeface="Arial" pitchFamily="34" charset="0"/>
                <a:cs typeface="Arial" pitchFamily="34" charset="0"/>
              </a:rPr>
              <a:t>NEW PLANT IN USA</a:t>
            </a:r>
          </a:p>
          <a:p>
            <a:pPr lvl="0"/>
            <a:endParaRPr lang="en-US" sz="3000" cap="all" spc="-150" dirty="0">
              <a:ln w="19050">
                <a:noFill/>
              </a:ln>
              <a:solidFill>
                <a:srgbClr val="163D28"/>
              </a:solidFill>
              <a:latin typeface="Arial" pitchFamily="34" charset="0"/>
              <a:cs typeface="Arial" pitchFamily="34" charset="0"/>
            </a:endParaRPr>
          </a:p>
        </p:txBody>
      </p:sp>
      <p:pic>
        <p:nvPicPr>
          <p:cNvPr id="14" name="Immagine 13">
            <a:extLst>
              <a:ext uri="{FF2B5EF4-FFF2-40B4-BE49-F238E27FC236}">
                <a16:creationId xmlns:a16="http://schemas.microsoft.com/office/drawing/2014/main" id="{AAC02043-6BCD-4BEF-875A-702449797E1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5" name="Rettangolo 14">
            <a:extLst>
              <a:ext uri="{FF2B5EF4-FFF2-40B4-BE49-F238E27FC236}">
                <a16:creationId xmlns:a16="http://schemas.microsoft.com/office/drawing/2014/main" id="{F00AE271-0D66-41DE-9420-62C9D5D1A25D}"/>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6" name="Connettore 1 17">
            <a:extLst>
              <a:ext uri="{FF2B5EF4-FFF2-40B4-BE49-F238E27FC236}">
                <a16:creationId xmlns:a16="http://schemas.microsoft.com/office/drawing/2014/main" id="{8DC4D39A-6DBB-4935-8FC0-3AB0166ECDC3}"/>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0" name="CasellaDiTesto 19">
            <a:extLst>
              <a:ext uri="{FF2B5EF4-FFF2-40B4-BE49-F238E27FC236}">
                <a16:creationId xmlns:a16="http://schemas.microsoft.com/office/drawing/2014/main" id="{4B0D7774-DBB5-4CA9-BB07-FB67C8075F0A}"/>
              </a:ext>
            </a:extLst>
          </p:cNvPr>
          <p:cNvSpPr txBox="1"/>
          <p:nvPr/>
        </p:nvSpPr>
        <p:spPr>
          <a:xfrm>
            <a:off x="5694913" y="2397499"/>
            <a:ext cx="2180863" cy="1222642"/>
          </a:xfrm>
          <a:prstGeom prst="rect">
            <a:avLst/>
          </a:prstGeom>
          <a:noFill/>
        </p:spPr>
        <p:txBody>
          <a:bodyPr wrap="square" rtlCol="0">
            <a:spAutoFit/>
          </a:bodyPr>
          <a:lstStyle/>
          <a:p>
            <a:pPr algn="ctr" defTabSz="914400" fontAlgn="auto">
              <a:lnSpc>
                <a:spcPts val="2260"/>
              </a:lnSpc>
              <a:spcBef>
                <a:spcPts val="0"/>
              </a:spcBef>
              <a:spcAft>
                <a:spcPts val="0"/>
              </a:spcAft>
              <a:defRPr/>
            </a:pPr>
            <a:r>
              <a:rPr lang="tr-TR" sz="2800" b="1" kern="0" dirty="0">
                <a:solidFill>
                  <a:schemeClr val="accent5">
                    <a:lumMod val="20000"/>
                    <a:lumOff val="80000"/>
                  </a:schemeClr>
                </a:solidFill>
                <a:latin typeface="Arial"/>
              </a:rPr>
              <a:t>N</a:t>
            </a:r>
            <a:r>
              <a:rPr lang="pt-BR" sz="2800" b="1" kern="0" dirty="0">
                <a:solidFill>
                  <a:schemeClr val="accent5">
                    <a:lumMod val="20000"/>
                    <a:lumOff val="80000"/>
                  </a:schemeClr>
                </a:solidFill>
                <a:latin typeface="Arial"/>
              </a:rPr>
              <a:t>ova Fábrica</a:t>
            </a:r>
            <a:endParaRPr lang="tr-TR" sz="2800" b="1" kern="0" dirty="0">
              <a:solidFill>
                <a:schemeClr val="accent5">
                  <a:lumMod val="20000"/>
                  <a:lumOff val="80000"/>
                </a:schemeClr>
              </a:solidFill>
              <a:latin typeface="Arial"/>
            </a:endParaRPr>
          </a:p>
          <a:p>
            <a:pPr algn="ctr" defTabSz="914400" fontAlgn="auto">
              <a:lnSpc>
                <a:spcPts val="1420"/>
              </a:lnSpc>
              <a:spcBef>
                <a:spcPts val="0"/>
              </a:spcBef>
              <a:spcAft>
                <a:spcPts val="0"/>
              </a:spcAft>
              <a:defRPr/>
            </a:pPr>
            <a:r>
              <a:rPr lang="en-US" sz="1600" b="1" kern="0" cap="all" dirty="0">
                <a:solidFill>
                  <a:srgbClr val="FFFFFF"/>
                </a:solidFill>
                <a:latin typeface="Arial"/>
              </a:rPr>
              <a:t>Orangeburg,</a:t>
            </a:r>
            <a:endParaRPr lang="it-IT" sz="1600" b="1" kern="0" dirty="0">
              <a:solidFill>
                <a:srgbClr val="FFFFFF"/>
              </a:solidFill>
              <a:latin typeface="Arial"/>
            </a:endParaRPr>
          </a:p>
          <a:p>
            <a:pPr algn="ctr" defTabSz="914400" fontAlgn="auto">
              <a:lnSpc>
                <a:spcPts val="1420"/>
              </a:lnSpc>
              <a:spcBef>
                <a:spcPts val="0"/>
              </a:spcBef>
              <a:spcAft>
                <a:spcPts val="0"/>
              </a:spcAft>
              <a:defRPr/>
            </a:pPr>
            <a:r>
              <a:rPr lang="it-IT" sz="1600" b="1" kern="0" dirty="0">
                <a:solidFill>
                  <a:srgbClr val="FFFFFF"/>
                </a:solidFill>
                <a:latin typeface="Arial"/>
              </a:rPr>
              <a:t>SOUTH</a:t>
            </a:r>
          </a:p>
          <a:p>
            <a:pPr algn="ctr" defTabSz="914400" fontAlgn="auto">
              <a:lnSpc>
                <a:spcPts val="1420"/>
              </a:lnSpc>
              <a:spcBef>
                <a:spcPts val="0"/>
              </a:spcBef>
              <a:spcAft>
                <a:spcPts val="0"/>
              </a:spcAft>
              <a:defRPr/>
            </a:pPr>
            <a:r>
              <a:rPr lang="it-IT" sz="1600" b="1" kern="0" dirty="0">
                <a:solidFill>
                  <a:srgbClr val="FFFFFF"/>
                </a:solidFill>
                <a:latin typeface="Arial"/>
              </a:rPr>
              <a:t>CAROLINA.</a:t>
            </a:r>
          </a:p>
        </p:txBody>
      </p:sp>
      <p:cxnSp>
        <p:nvCxnSpPr>
          <p:cNvPr id="22" name="Connettore 1 10">
            <a:extLst>
              <a:ext uri="{FF2B5EF4-FFF2-40B4-BE49-F238E27FC236}">
                <a16:creationId xmlns:a16="http://schemas.microsoft.com/office/drawing/2014/main" id="{525A4EC6-A0DD-49DF-8CF0-9C4BF98A164D}"/>
              </a:ext>
            </a:extLst>
          </p:cNvPr>
          <p:cNvCxnSpPr>
            <a:cxnSpLocks/>
          </p:cNvCxnSpPr>
          <p:nvPr/>
        </p:nvCxnSpPr>
        <p:spPr>
          <a:xfrm>
            <a:off x="7647978" y="4449340"/>
            <a:ext cx="0" cy="1534190"/>
          </a:xfrm>
          <a:prstGeom prst="line">
            <a:avLst/>
          </a:prstGeom>
          <a:ln>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 name="Retângulo 1">
            <a:extLst>
              <a:ext uri="{FF2B5EF4-FFF2-40B4-BE49-F238E27FC236}">
                <a16:creationId xmlns:a16="http://schemas.microsoft.com/office/drawing/2014/main" id="{F60EA762-8284-4DE7-9657-B3F02CD6D3BE}"/>
              </a:ext>
            </a:extLst>
          </p:cNvPr>
          <p:cNvSpPr/>
          <p:nvPr/>
        </p:nvSpPr>
        <p:spPr>
          <a:xfrm>
            <a:off x="7795567" y="4087245"/>
            <a:ext cx="2551591" cy="2509020"/>
          </a:xfrm>
          <a:prstGeom prst="rect">
            <a:avLst/>
          </a:prstGeom>
        </p:spPr>
        <p:txBody>
          <a:bodyPr wrap="square">
            <a:spAutoFit/>
          </a:bodyPr>
          <a:lstStyle/>
          <a:p>
            <a:pPr defTabSz="914400" fontAlgn="auto">
              <a:lnSpc>
                <a:spcPct val="80000"/>
              </a:lnSpc>
              <a:spcBef>
                <a:spcPts val="0"/>
              </a:spcBef>
              <a:spcAft>
                <a:spcPts val="0"/>
              </a:spcAft>
              <a:defRPr/>
            </a:pPr>
            <a:r>
              <a:rPr lang="pt-BR" sz="1600" kern="0" dirty="0">
                <a:solidFill>
                  <a:srgbClr val="375B49"/>
                </a:solidFill>
                <a:latin typeface="Arial"/>
              </a:rPr>
              <a:t>Em 2018, a </a:t>
            </a:r>
            <a:r>
              <a:rPr lang="pt-BR" sz="1600" kern="0" dirty="0" err="1">
                <a:solidFill>
                  <a:srgbClr val="375B49"/>
                </a:solidFill>
                <a:latin typeface="Arial"/>
              </a:rPr>
              <a:t>Valagro</a:t>
            </a:r>
            <a:r>
              <a:rPr lang="pt-BR" sz="1600" kern="0" dirty="0">
                <a:solidFill>
                  <a:srgbClr val="375B49"/>
                </a:solidFill>
                <a:latin typeface="Arial"/>
              </a:rPr>
              <a:t> anuncia a construção da unidade de produção dos EUA em </a:t>
            </a:r>
            <a:r>
              <a:rPr lang="pt-BR" sz="1600" kern="0" dirty="0" err="1">
                <a:solidFill>
                  <a:srgbClr val="375B49"/>
                </a:solidFill>
                <a:latin typeface="Arial"/>
              </a:rPr>
              <a:t>Orangeburg</a:t>
            </a:r>
            <a:r>
              <a:rPr lang="pt-BR" sz="1600" kern="0" dirty="0">
                <a:solidFill>
                  <a:srgbClr val="375B49"/>
                </a:solidFill>
                <a:latin typeface="Arial"/>
              </a:rPr>
              <a:t> </a:t>
            </a:r>
            <a:r>
              <a:rPr lang="pt-BR" sz="1600" kern="0" dirty="0" err="1">
                <a:solidFill>
                  <a:srgbClr val="375B49"/>
                </a:solidFill>
                <a:latin typeface="Arial"/>
              </a:rPr>
              <a:t>County</a:t>
            </a:r>
            <a:r>
              <a:rPr lang="pt-BR" sz="1600" kern="0" dirty="0">
                <a:solidFill>
                  <a:srgbClr val="375B49"/>
                </a:solidFill>
                <a:latin typeface="Arial"/>
              </a:rPr>
              <a:t>,</a:t>
            </a:r>
          </a:p>
          <a:p>
            <a:pPr defTabSz="914400" fontAlgn="auto">
              <a:lnSpc>
                <a:spcPct val="80000"/>
              </a:lnSpc>
              <a:spcBef>
                <a:spcPts val="0"/>
              </a:spcBef>
              <a:spcAft>
                <a:spcPts val="0"/>
              </a:spcAft>
              <a:defRPr/>
            </a:pPr>
            <a:r>
              <a:rPr lang="pt-BR" sz="1600" kern="0" dirty="0">
                <a:solidFill>
                  <a:srgbClr val="375B49"/>
                </a:solidFill>
                <a:latin typeface="Arial"/>
              </a:rPr>
              <a:t>Carolina do Sul, que servirá alguns dos mercados mais importantes estrategicamente, como </a:t>
            </a:r>
            <a:r>
              <a:rPr lang="pt-BR" sz="1800" kern="0" dirty="0">
                <a:solidFill>
                  <a:srgbClr val="375B49"/>
                </a:solidFill>
                <a:latin typeface="Arial"/>
              </a:rPr>
              <a:t>EUA, Canadá e México</a:t>
            </a:r>
            <a:endParaRPr lang="pt-BR" sz="1600" dirty="0"/>
          </a:p>
        </p:txBody>
      </p:sp>
    </p:spTree>
    <p:extLst>
      <p:ext uri="{BB962C8B-B14F-4D97-AF65-F5344CB8AC3E}">
        <p14:creationId xmlns:p14="http://schemas.microsoft.com/office/powerpoint/2010/main" val="27967641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68" y="5082"/>
            <a:ext cx="10700800" cy="7564990"/>
          </a:xfrm>
          <a:prstGeom prst="rect">
            <a:avLst/>
          </a:prstGeom>
        </p:spPr>
      </p:pic>
      <p:sp>
        <p:nvSpPr>
          <p:cNvPr id="2" name="Rettangolo 1"/>
          <p:cNvSpPr/>
          <p:nvPr/>
        </p:nvSpPr>
        <p:spPr>
          <a:xfrm>
            <a:off x="279204" y="179991"/>
            <a:ext cx="10016041" cy="1046440"/>
          </a:xfrm>
          <a:prstGeom prst="rect">
            <a:avLst/>
          </a:prstGeom>
        </p:spPr>
        <p:txBody>
          <a:bodyPr wrap="square">
            <a:spAutoFit/>
          </a:bodyPr>
          <a:lstStyle/>
          <a:p>
            <a:r>
              <a:rPr lang="en-US" sz="3000" b="1" cap="all" spc="-150" dirty="0">
                <a:ln w="19050">
                  <a:noFill/>
                </a:ln>
                <a:solidFill>
                  <a:srgbClr val="163D28"/>
                </a:solidFill>
                <a:latin typeface="Arial" pitchFamily="34" charset="0"/>
                <a:cs typeface="Arial" pitchFamily="34" charset="0"/>
              </a:rPr>
              <a:t>PRINCIPAIS </a:t>
            </a:r>
            <a:r>
              <a:rPr lang="en-US" sz="3000" cap="all" spc="-150" dirty="0">
                <a:ln w="19050">
                  <a:noFill/>
                </a:ln>
                <a:solidFill>
                  <a:srgbClr val="163D28"/>
                </a:solidFill>
                <a:latin typeface="Arial" pitchFamily="34" charset="0"/>
                <a:cs typeface="Arial" pitchFamily="34" charset="0"/>
              </a:rPr>
              <a:t>SITES PRODUTIVOS | </a:t>
            </a:r>
            <a:r>
              <a:rPr lang="de-DE" sz="2400" cap="all" spc="-150" dirty="0">
                <a:ln w="19050">
                  <a:noFill/>
                </a:ln>
                <a:solidFill>
                  <a:srgbClr val="163D28"/>
                </a:solidFill>
                <a:latin typeface="Arial" pitchFamily="34" charset="0"/>
                <a:cs typeface="Arial" pitchFamily="34" charset="0"/>
              </a:rPr>
              <a:t>NEW PLANT IN BRAZIL</a:t>
            </a:r>
          </a:p>
          <a:p>
            <a:pPr lvl="0"/>
            <a:endParaRPr lang="en-US" sz="3000" cap="all" spc="-150" dirty="0">
              <a:ln w="19050">
                <a:noFill/>
              </a:ln>
              <a:solidFill>
                <a:srgbClr val="163D28"/>
              </a:solidFill>
              <a:latin typeface="Arial" pitchFamily="34" charset="0"/>
              <a:cs typeface="Arial" pitchFamily="34" charset="0"/>
            </a:endParaRP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6" name="CasellaDiTesto 5"/>
          <p:cNvSpPr txBox="1"/>
          <p:nvPr/>
        </p:nvSpPr>
        <p:spPr>
          <a:xfrm>
            <a:off x="12415790" y="2189750"/>
            <a:ext cx="184666" cy="415498"/>
          </a:xfrm>
          <a:prstGeom prst="rect">
            <a:avLst/>
          </a:prstGeom>
          <a:noFill/>
        </p:spPr>
        <p:txBody>
          <a:bodyPr wrap="none" rtlCol="0">
            <a:spAutoFit/>
          </a:bodyPr>
          <a:lstStyle/>
          <a:p>
            <a:endParaRPr lang="it-IT" dirty="0"/>
          </a:p>
        </p:txBody>
      </p:sp>
      <p:sp>
        <p:nvSpPr>
          <p:cNvPr id="29" name="CasellaDiTesto 28"/>
          <p:cNvSpPr txBox="1"/>
          <p:nvPr/>
        </p:nvSpPr>
        <p:spPr>
          <a:xfrm>
            <a:off x="2285966" y="1671659"/>
            <a:ext cx="2180863" cy="1085425"/>
          </a:xfrm>
          <a:prstGeom prst="rect">
            <a:avLst/>
          </a:prstGeom>
          <a:noFill/>
        </p:spPr>
        <p:txBody>
          <a:bodyPr wrap="square" rtlCol="0">
            <a:spAutoFit/>
          </a:bodyPr>
          <a:lstStyle/>
          <a:p>
            <a:pPr algn="ctr" defTabSz="914400" fontAlgn="auto">
              <a:lnSpc>
                <a:spcPct val="80000"/>
              </a:lnSpc>
              <a:spcBef>
                <a:spcPts val="0"/>
              </a:spcBef>
              <a:spcAft>
                <a:spcPts val="0"/>
              </a:spcAft>
              <a:defRPr/>
            </a:pPr>
            <a:r>
              <a:rPr lang="tr-TR" sz="2800" b="1" kern="0" dirty="0">
                <a:solidFill>
                  <a:schemeClr val="accent5">
                    <a:lumMod val="40000"/>
                    <a:lumOff val="60000"/>
                  </a:schemeClr>
                </a:solidFill>
                <a:latin typeface="Arial"/>
              </a:rPr>
              <a:t>N</a:t>
            </a:r>
            <a:r>
              <a:rPr lang="pt-BR" sz="2800" b="1" kern="0" dirty="0">
                <a:solidFill>
                  <a:schemeClr val="accent5">
                    <a:lumMod val="40000"/>
                    <a:lumOff val="60000"/>
                  </a:schemeClr>
                </a:solidFill>
                <a:latin typeface="Arial"/>
              </a:rPr>
              <a:t>ova</a:t>
            </a:r>
            <a:endParaRPr lang="tr-TR" sz="2800" b="1" kern="0" dirty="0">
              <a:solidFill>
                <a:schemeClr val="accent5">
                  <a:lumMod val="40000"/>
                  <a:lumOff val="60000"/>
                </a:schemeClr>
              </a:solidFill>
              <a:latin typeface="Arial"/>
            </a:endParaRPr>
          </a:p>
          <a:p>
            <a:pPr algn="ctr" defTabSz="914400" fontAlgn="auto">
              <a:spcBef>
                <a:spcPts val="0"/>
              </a:spcBef>
              <a:spcAft>
                <a:spcPts val="0"/>
              </a:spcAft>
              <a:defRPr/>
            </a:pPr>
            <a:r>
              <a:rPr lang="tr-TR" sz="1600" b="1" kern="0" dirty="0">
                <a:solidFill>
                  <a:srgbClr val="FFFFFF"/>
                </a:solidFill>
                <a:latin typeface="Arial"/>
              </a:rPr>
              <a:t>PIRASSUNUNGA</a:t>
            </a:r>
          </a:p>
          <a:p>
            <a:pPr algn="ctr" defTabSz="914400" fontAlgn="auto">
              <a:lnSpc>
                <a:spcPct val="80000"/>
              </a:lnSpc>
              <a:spcBef>
                <a:spcPts val="0"/>
              </a:spcBef>
              <a:spcAft>
                <a:spcPts val="0"/>
              </a:spcAft>
              <a:defRPr/>
            </a:pPr>
            <a:r>
              <a:rPr lang="pt-BR" sz="1600" b="1" kern="0" dirty="0">
                <a:solidFill>
                  <a:srgbClr val="FFFFFF"/>
                </a:solidFill>
                <a:latin typeface="Arial"/>
              </a:rPr>
              <a:t>SÃO PAULO,</a:t>
            </a:r>
          </a:p>
          <a:p>
            <a:pPr algn="ctr" defTabSz="914400" fontAlgn="auto">
              <a:lnSpc>
                <a:spcPct val="80000"/>
              </a:lnSpc>
              <a:spcBef>
                <a:spcPts val="0"/>
              </a:spcBef>
              <a:spcAft>
                <a:spcPts val="0"/>
              </a:spcAft>
              <a:defRPr/>
            </a:pPr>
            <a:r>
              <a:rPr lang="pt-BR" sz="1600" b="1" kern="0" dirty="0">
                <a:solidFill>
                  <a:srgbClr val="FFFFFF"/>
                </a:solidFill>
                <a:latin typeface="Arial"/>
              </a:rPr>
              <a:t>BRASIL.</a:t>
            </a:r>
            <a:endParaRPr lang="en-US" sz="1600" b="1" kern="0" dirty="0">
              <a:solidFill>
                <a:srgbClr val="FFFFFF"/>
              </a:solidFill>
              <a:latin typeface="Arial"/>
            </a:endParaRPr>
          </a:p>
        </p:txBody>
      </p:sp>
      <p:cxnSp>
        <p:nvCxnSpPr>
          <p:cNvPr id="5" name="Connettore 1 4"/>
          <p:cNvCxnSpPr/>
          <p:nvPr/>
        </p:nvCxnSpPr>
        <p:spPr>
          <a:xfrm>
            <a:off x="3380778" y="3879957"/>
            <a:ext cx="0" cy="2215867"/>
          </a:xfrm>
          <a:prstGeom prst="line">
            <a:avLst/>
          </a:prstGeom>
          <a:ln>
            <a:solidFill>
              <a:schemeClr val="accent5">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2" name="Rettangolo 11"/>
          <p:cNvSpPr/>
          <p:nvPr/>
        </p:nvSpPr>
        <p:spPr>
          <a:xfrm>
            <a:off x="303759" y="6964608"/>
            <a:ext cx="885097" cy="220573"/>
          </a:xfrm>
          <a:prstGeom prst="rect">
            <a:avLst/>
          </a:prstGeom>
        </p:spPr>
        <p:txBody>
          <a:bodyPr wrap="square">
            <a:spAutoFit/>
          </a:bodyPr>
          <a:lstStyle/>
          <a:p>
            <a:pPr>
              <a:lnSpc>
                <a:spcPct val="80000"/>
              </a:lnSpc>
            </a:pPr>
            <a:r>
              <a:rPr lang="it-IT" sz="1000" dirty="0">
                <a:solidFill>
                  <a:srgbClr val="375B49"/>
                </a:solidFill>
                <a:latin typeface="Arial" pitchFamily="34" charset="0"/>
                <a:cs typeface="Arial" pitchFamily="34" charset="0"/>
              </a:rPr>
              <a:t>34</a:t>
            </a:r>
            <a:endParaRPr lang="en-US" sz="1000" dirty="0">
              <a:solidFill>
                <a:srgbClr val="375B49"/>
              </a:solidFill>
              <a:latin typeface="Arial" pitchFamily="34" charset="0"/>
              <a:cs typeface="Arial" pitchFamily="34" charset="0"/>
            </a:endParaRPr>
          </a:p>
        </p:txBody>
      </p:sp>
      <p:sp>
        <p:nvSpPr>
          <p:cNvPr id="25" name="CasellaDiTesto 22">
            <a:extLst>
              <a:ext uri="{FF2B5EF4-FFF2-40B4-BE49-F238E27FC236}">
                <a16:creationId xmlns:a16="http://schemas.microsoft.com/office/drawing/2014/main" id="{CCEDA0B6-6A02-4001-87B8-46CE5ED41BC2}"/>
              </a:ext>
            </a:extLst>
          </p:cNvPr>
          <p:cNvSpPr txBox="1"/>
          <p:nvPr/>
        </p:nvSpPr>
        <p:spPr>
          <a:xfrm flipH="1">
            <a:off x="3467633" y="4034038"/>
            <a:ext cx="1585628" cy="2062103"/>
          </a:xfrm>
          <a:prstGeom prst="rect">
            <a:avLst/>
          </a:prstGeom>
          <a:noFill/>
        </p:spPr>
        <p:txBody>
          <a:bodyPr wrap="square" rtlCol="0">
            <a:spAutoFit/>
          </a:bodyPr>
          <a:lstStyle/>
          <a:p>
            <a:pPr marR="0" lvl="0" defTabSz="914400" eaLnBrk="1" fontAlgn="auto" latinLnBrk="0" hangingPunct="1">
              <a:lnSpc>
                <a:spcPct val="80000"/>
              </a:lnSpc>
              <a:spcBef>
                <a:spcPts val="0"/>
              </a:spcBef>
              <a:spcAft>
                <a:spcPts val="0"/>
              </a:spcAft>
              <a:buClrTx/>
              <a:buSzTx/>
              <a:tabLst/>
              <a:defRPr/>
            </a:pPr>
            <a:r>
              <a:rPr lang="pt-BR" sz="1600" kern="0" dirty="0">
                <a:solidFill>
                  <a:srgbClr val="375B49"/>
                </a:solidFill>
                <a:latin typeface="Arial"/>
              </a:rPr>
              <a:t>Em </a:t>
            </a:r>
            <a:r>
              <a:rPr lang="pt-BR" sz="1600" b="1" kern="0" dirty="0">
                <a:solidFill>
                  <a:srgbClr val="375B49"/>
                </a:solidFill>
                <a:latin typeface="Arial"/>
              </a:rPr>
              <a:t>maio de 2017</a:t>
            </a:r>
            <a:r>
              <a:rPr lang="pt-BR" sz="1600" kern="0" dirty="0">
                <a:solidFill>
                  <a:srgbClr val="375B49"/>
                </a:solidFill>
                <a:latin typeface="Arial"/>
              </a:rPr>
              <a:t>, a </a:t>
            </a:r>
            <a:r>
              <a:rPr lang="pt-BR" sz="1600" kern="0" dirty="0" err="1">
                <a:solidFill>
                  <a:srgbClr val="375B49"/>
                </a:solidFill>
                <a:latin typeface="Arial"/>
              </a:rPr>
              <a:t>Valagro</a:t>
            </a:r>
            <a:r>
              <a:rPr lang="pt-BR" sz="1600" kern="0" dirty="0">
                <a:solidFill>
                  <a:srgbClr val="375B49"/>
                </a:solidFill>
                <a:latin typeface="Arial"/>
              </a:rPr>
              <a:t> inaugurou oficialmente a </a:t>
            </a:r>
            <a:r>
              <a:rPr lang="pt-BR" sz="1600" b="1" kern="0" dirty="0">
                <a:solidFill>
                  <a:srgbClr val="375B49"/>
                </a:solidFill>
                <a:latin typeface="Arial"/>
              </a:rPr>
              <a:t>fábrica de Pirassununga</a:t>
            </a:r>
            <a:r>
              <a:rPr lang="pt-BR" sz="1600" kern="0" dirty="0">
                <a:solidFill>
                  <a:srgbClr val="375B49"/>
                </a:solidFill>
                <a:latin typeface="Arial"/>
              </a:rPr>
              <a:t>, no estado de São Paulo, Brasil</a:t>
            </a:r>
            <a:r>
              <a:rPr lang="en-US" sz="1600" b="1" kern="0" dirty="0">
                <a:solidFill>
                  <a:srgbClr val="375B49"/>
                </a:solidFill>
                <a:latin typeface="Arial"/>
              </a:rPr>
              <a:t>.</a:t>
            </a:r>
          </a:p>
        </p:txBody>
      </p:sp>
    </p:spTree>
    <p:extLst>
      <p:ext uri="{BB962C8B-B14F-4D97-AF65-F5344CB8AC3E}">
        <p14:creationId xmlns:p14="http://schemas.microsoft.com/office/powerpoint/2010/main" val="7103905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0"/>
            <a:ext cx="10700809" cy="7571857"/>
          </a:xfrm>
          <a:prstGeom prst="rect">
            <a:avLst/>
          </a:prstGeom>
        </p:spPr>
      </p:pic>
      <p:sp>
        <p:nvSpPr>
          <p:cNvPr id="4" name="CasellaDiTesto 3"/>
          <p:cNvSpPr txBox="1"/>
          <p:nvPr/>
        </p:nvSpPr>
        <p:spPr>
          <a:xfrm>
            <a:off x="317623" y="2522921"/>
            <a:ext cx="9620461" cy="2695738"/>
          </a:xfrm>
          <a:prstGeom prst="rect">
            <a:avLst/>
          </a:prstGeom>
          <a:noFill/>
        </p:spPr>
        <p:txBody>
          <a:bodyPr wrap="square" rtlCol="0">
            <a:spAutoFit/>
          </a:bodyPr>
          <a:lstStyle/>
          <a:p>
            <a:pPr>
              <a:lnSpc>
                <a:spcPct val="70000"/>
              </a:lnSpc>
            </a:pPr>
            <a:r>
              <a:rPr lang="en-US" altLang="en-US" sz="8000" b="1" spc="-300" dirty="0" err="1">
                <a:ln w="19050">
                  <a:noFill/>
                </a:ln>
                <a:solidFill>
                  <a:schemeClr val="bg1"/>
                </a:solidFill>
                <a:latin typeface="Arial" pitchFamily="34" charset="0"/>
                <a:cs typeface="Arial" pitchFamily="34" charset="0"/>
              </a:rPr>
              <a:t>Valagro</a:t>
            </a:r>
            <a:r>
              <a:rPr lang="en-US" altLang="en-US" sz="8000" b="1" spc="-300" dirty="0">
                <a:ln w="19050">
                  <a:noFill/>
                </a:ln>
                <a:solidFill>
                  <a:schemeClr val="bg1"/>
                </a:solidFill>
                <a:latin typeface="Arial" pitchFamily="34" charset="0"/>
                <a:cs typeface="Arial" pitchFamily="34" charset="0"/>
              </a:rPr>
              <a:t> do Brasil</a:t>
            </a:r>
          </a:p>
          <a:p>
            <a:pPr>
              <a:lnSpc>
                <a:spcPct val="70000"/>
              </a:lnSpc>
            </a:pPr>
            <a:r>
              <a:rPr lang="en-US" altLang="en-US" sz="8000" b="1" spc="-300" dirty="0" err="1">
                <a:ln w="19050">
                  <a:noFill/>
                </a:ln>
                <a:solidFill>
                  <a:schemeClr val="bg1"/>
                </a:solidFill>
                <a:latin typeface="Arial" pitchFamily="34" charset="0"/>
                <a:cs typeface="Arial" pitchFamily="34" charset="0"/>
              </a:rPr>
              <a:t>Perspectivas</a:t>
            </a:r>
            <a:r>
              <a:rPr lang="en-US" altLang="en-US" sz="8000" b="1" spc="-300" dirty="0">
                <a:ln w="19050">
                  <a:noFill/>
                </a:ln>
                <a:solidFill>
                  <a:schemeClr val="bg1"/>
                </a:solidFill>
                <a:latin typeface="Arial" pitchFamily="34" charset="0"/>
                <a:cs typeface="Arial" pitchFamily="34" charset="0"/>
              </a:rPr>
              <a:t> de </a:t>
            </a:r>
            <a:r>
              <a:rPr lang="en-US" altLang="en-US" sz="8000" b="1" spc="-300" dirty="0" err="1">
                <a:ln w="19050">
                  <a:noFill/>
                </a:ln>
                <a:solidFill>
                  <a:schemeClr val="bg1"/>
                </a:solidFill>
                <a:latin typeface="Arial" pitchFamily="34" charset="0"/>
                <a:cs typeface="Arial" pitchFamily="34" charset="0"/>
              </a:rPr>
              <a:t>crescimento</a:t>
            </a:r>
            <a:endParaRPr lang="en-US" altLang="en-US" sz="8000" b="1" spc="-300" dirty="0">
              <a:ln w="19050">
                <a:noFill/>
              </a:ln>
              <a:solidFill>
                <a:schemeClr val="bg1"/>
              </a:solidFill>
              <a:latin typeface="Arial" pitchFamily="34" charset="0"/>
              <a:cs typeface="Arial" pitchFamily="34" charset="0"/>
            </a:endParaRPr>
          </a:p>
        </p:txBody>
      </p:sp>
      <p:pic>
        <p:nvPicPr>
          <p:cNvPr id="7" name="Immagin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822365" y="6976136"/>
            <a:ext cx="1488807" cy="420503"/>
          </a:xfrm>
          <a:prstGeom prst="rect">
            <a:avLst/>
          </a:prstGeom>
        </p:spPr>
      </p:pic>
    </p:spTree>
    <p:extLst>
      <p:ext uri="{BB962C8B-B14F-4D97-AF65-F5344CB8AC3E}">
        <p14:creationId xmlns:p14="http://schemas.microsoft.com/office/powerpoint/2010/main" val="24578556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magine 25">
            <a:extLst>
              <a:ext uri="{FF2B5EF4-FFF2-40B4-BE49-F238E27FC236}">
                <a16:creationId xmlns:a16="http://schemas.microsoft.com/office/drawing/2014/main" id="{3442C059-A496-462E-A4D8-5FB6AC2FA31C}"/>
              </a:ext>
            </a:extLst>
          </p:cNvPr>
          <p:cNvPicPr>
            <a:picLocks noChangeAspect="1"/>
          </p:cNvPicPr>
          <p:nvPr/>
        </p:nvPicPr>
        <p:blipFill>
          <a:blip r:embed="rId3"/>
          <a:stretch>
            <a:fillRect/>
          </a:stretch>
        </p:blipFill>
        <p:spPr>
          <a:xfrm>
            <a:off x="-8118" y="166843"/>
            <a:ext cx="10692700" cy="7562310"/>
          </a:xfrm>
          <a:prstGeom prst="rect">
            <a:avLst/>
          </a:prstGeom>
        </p:spPr>
      </p:pic>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4" name="CasellaDiTesto 23"/>
          <p:cNvSpPr txBox="1"/>
          <p:nvPr/>
        </p:nvSpPr>
        <p:spPr>
          <a:xfrm>
            <a:off x="1049951" y="3965828"/>
            <a:ext cx="964500" cy="220573"/>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USA</a:t>
            </a:r>
            <a:endParaRPr lang="pt-BR" sz="1000" kern="0">
              <a:solidFill>
                <a:srgbClr val="608D26"/>
              </a:solidFill>
              <a:latin typeface="Arial"/>
            </a:endParaRPr>
          </a:p>
        </p:txBody>
      </p:sp>
      <p:sp>
        <p:nvSpPr>
          <p:cNvPr id="6" name="CasellaDiTesto 5"/>
          <p:cNvSpPr txBox="1"/>
          <p:nvPr/>
        </p:nvSpPr>
        <p:spPr>
          <a:xfrm>
            <a:off x="12415790" y="2189750"/>
            <a:ext cx="184666" cy="415498"/>
          </a:xfrm>
          <a:prstGeom prst="rect">
            <a:avLst/>
          </a:prstGeom>
          <a:noFill/>
        </p:spPr>
        <p:txBody>
          <a:bodyPr wrap="none" rtlCol="0">
            <a:spAutoFit/>
          </a:bodyPr>
          <a:lstStyle/>
          <a:p>
            <a:endParaRPr lang="pt-BR"/>
          </a:p>
        </p:txBody>
      </p:sp>
      <p:sp>
        <p:nvSpPr>
          <p:cNvPr id="23" name="CasellaDiTesto 22"/>
          <p:cNvSpPr txBox="1"/>
          <p:nvPr/>
        </p:nvSpPr>
        <p:spPr>
          <a:xfrm>
            <a:off x="359099" y="6134193"/>
            <a:ext cx="5088679" cy="738664"/>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pt-BR" sz="1400" kern="0">
                <a:solidFill>
                  <a:srgbClr val="375B49"/>
                </a:solidFill>
                <a:latin typeface="Arial"/>
              </a:rPr>
              <a:t>De um ampla cobertura global, focaremos esforços e investimentos em mercados prioritários chave </a:t>
            </a:r>
            <a:r>
              <a:rPr lang="pt-BR" sz="1400" b="1" kern="0">
                <a:solidFill>
                  <a:srgbClr val="375B49"/>
                </a:solidFill>
                <a:latin typeface="Arial"/>
              </a:rPr>
              <a:t>(Prioridade A) </a:t>
            </a:r>
            <a:r>
              <a:rPr lang="pt-BR" sz="1400" kern="0">
                <a:solidFill>
                  <a:srgbClr val="375B49"/>
                </a:solidFill>
                <a:latin typeface="Arial"/>
              </a:rPr>
              <a:t>fortalecndo distribuição e ampliando participação de mercado</a:t>
            </a:r>
          </a:p>
        </p:txBody>
      </p:sp>
      <p:sp>
        <p:nvSpPr>
          <p:cNvPr id="31" name="CasellaDiTesto 30"/>
          <p:cNvSpPr txBox="1"/>
          <p:nvPr/>
        </p:nvSpPr>
        <p:spPr>
          <a:xfrm>
            <a:off x="3651159" y="5021986"/>
            <a:ext cx="964500" cy="220573"/>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BRAZIL</a:t>
            </a:r>
            <a:endParaRPr lang="pt-BR" sz="1000" kern="0">
              <a:solidFill>
                <a:srgbClr val="608D26"/>
              </a:solidFill>
              <a:latin typeface="Arial"/>
            </a:endParaRPr>
          </a:p>
        </p:txBody>
      </p:sp>
      <p:sp>
        <p:nvSpPr>
          <p:cNvPr id="32" name="CasellaDiTesto 31"/>
          <p:cNvSpPr txBox="1"/>
          <p:nvPr/>
        </p:nvSpPr>
        <p:spPr>
          <a:xfrm>
            <a:off x="6443899" y="4609398"/>
            <a:ext cx="964500" cy="220573"/>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INDIA</a:t>
            </a:r>
            <a:endParaRPr lang="pt-BR" sz="1000" kern="0">
              <a:solidFill>
                <a:srgbClr val="608D26"/>
              </a:solidFill>
              <a:latin typeface="Arial"/>
            </a:endParaRPr>
          </a:p>
        </p:txBody>
      </p:sp>
      <p:sp>
        <p:nvSpPr>
          <p:cNvPr id="33" name="CasellaDiTesto 32"/>
          <p:cNvSpPr txBox="1"/>
          <p:nvPr/>
        </p:nvSpPr>
        <p:spPr>
          <a:xfrm>
            <a:off x="8135115" y="3826068"/>
            <a:ext cx="964500" cy="220573"/>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CHINA</a:t>
            </a:r>
            <a:endParaRPr lang="pt-BR" sz="1000" kern="0">
              <a:solidFill>
                <a:srgbClr val="608D26"/>
              </a:solidFill>
              <a:latin typeface="Arial"/>
            </a:endParaRPr>
          </a:p>
        </p:txBody>
      </p:sp>
      <p:sp>
        <p:nvSpPr>
          <p:cNvPr id="36" name="CasellaDiTesto 35"/>
          <p:cNvSpPr txBox="1"/>
          <p:nvPr/>
        </p:nvSpPr>
        <p:spPr>
          <a:xfrm>
            <a:off x="7648576" y="6059126"/>
            <a:ext cx="1784314" cy="307777"/>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pt-BR" sz="1400" b="1" kern="0" dirty="0">
                <a:solidFill>
                  <a:srgbClr val="375B49"/>
                </a:solidFill>
                <a:latin typeface="Arial"/>
              </a:rPr>
              <a:t>Prioridade A</a:t>
            </a:r>
          </a:p>
        </p:txBody>
      </p:sp>
      <p:sp>
        <p:nvSpPr>
          <p:cNvPr id="37" name="Rectangle 19"/>
          <p:cNvSpPr/>
          <p:nvPr/>
        </p:nvSpPr>
        <p:spPr>
          <a:xfrm>
            <a:off x="181229" y="1366280"/>
            <a:ext cx="3019167" cy="523220"/>
          </a:xfrm>
          <a:prstGeom prst="rect">
            <a:avLst/>
          </a:prstGeom>
        </p:spPr>
        <p:txBody>
          <a:bodyPr wrap="square">
            <a:spAutoFit/>
          </a:bodyPr>
          <a:lstStyle/>
          <a:p>
            <a:pPr lvl="0" defTabSz="914400">
              <a:defRPr/>
            </a:pPr>
            <a:r>
              <a:rPr lang="pt-BR" sz="1400" kern="0" dirty="0">
                <a:solidFill>
                  <a:prstClr val="white"/>
                </a:solidFill>
                <a:latin typeface="Arial"/>
              </a:rPr>
              <a:t>ESTRATEGIA DE DISTRIBUIÇÃO</a:t>
            </a:r>
          </a:p>
          <a:p>
            <a:pPr lvl="0" defTabSz="914400">
              <a:defRPr/>
            </a:pPr>
            <a:r>
              <a:rPr lang="pt-BR" sz="1400" b="1" kern="0" dirty="0">
                <a:solidFill>
                  <a:prstClr val="white"/>
                </a:solidFill>
                <a:latin typeface="Arial"/>
              </a:rPr>
              <a:t>PRIORIDADES GEOGRÁFICAS</a:t>
            </a:r>
          </a:p>
        </p:txBody>
      </p:sp>
      <p:sp>
        <p:nvSpPr>
          <p:cNvPr id="38" name="CasellaDiTesto 37"/>
          <p:cNvSpPr txBox="1"/>
          <p:nvPr/>
        </p:nvSpPr>
        <p:spPr>
          <a:xfrm>
            <a:off x="7648576" y="6278393"/>
            <a:ext cx="1784314" cy="307777"/>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pt-BR" sz="1400" b="1" kern="0" dirty="0">
                <a:solidFill>
                  <a:srgbClr val="375B49"/>
                </a:solidFill>
                <a:latin typeface="Arial"/>
              </a:rPr>
              <a:t>Prioridade B</a:t>
            </a:r>
          </a:p>
        </p:txBody>
      </p:sp>
      <p:sp>
        <p:nvSpPr>
          <p:cNvPr id="39" name="CasellaDiTesto 38"/>
          <p:cNvSpPr txBox="1"/>
          <p:nvPr/>
        </p:nvSpPr>
        <p:spPr>
          <a:xfrm>
            <a:off x="7648576" y="6496361"/>
            <a:ext cx="1784314" cy="307777"/>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pt-BR" sz="1400" b="1" kern="0" dirty="0">
                <a:solidFill>
                  <a:srgbClr val="375B49"/>
                </a:solidFill>
                <a:latin typeface="Arial"/>
              </a:rPr>
              <a:t>Outros</a:t>
            </a:r>
          </a:p>
        </p:txBody>
      </p:sp>
      <p:sp>
        <p:nvSpPr>
          <p:cNvPr id="25" name="Rettangolo 9">
            <a:extLst>
              <a:ext uri="{FF2B5EF4-FFF2-40B4-BE49-F238E27FC236}">
                <a16:creationId xmlns:a16="http://schemas.microsoft.com/office/drawing/2014/main" id="{D4036221-4654-4C52-B8EB-9B37924B9DBD}"/>
              </a:ext>
            </a:extLst>
          </p:cNvPr>
          <p:cNvSpPr/>
          <p:nvPr/>
        </p:nvSpPr>
        <p:spPr>
          <a:xfrm>
            <a:off x="279204" y="179991"/>
            <a:ext cx="10016041" cy="992579"/>
          </a:xfrm>
          <a:prstGeom prst="rect">
            <a:avLst/>
          </a:prstGeom>
        </p:spPr>
        <p:txBody>
          <a:bodyPr wrap="square">
            <a:spAutoFit/>
          </a:bodyPr>
          <a:lstStyle/>
          <a:p>
            <a:pPr lvl="0"/>
            <a:r>
              <a:rPr lang="pt-BR" sz="3000" b="1" cap="all">
                <a:ln w="19050">
                  <a:noFill/>
                </a:ln>
                <a:solidFill>
                  <a:srgbClr val="163D28"/>
                </a:solidFill>
                <a:latin typeface="Arial" pitchFamily="34" charset="0"/>
                <a:cs typeface="Arial" pitchFamily="34" charset="0"/>
              </a:rPr>
              <a:t>Valagro do brasil</a:t>
            </a:r>
          </a:p>
          <a:p>
            <a:pPr lvl="0"/>
            <a:r>
              <a:rPr lang="pt-BR" sz="1800" cap="all">
                <a:ln w="19050">
                  <a:noFill/>
                </a:ln>
                <a:solidFill>
                  <a:srgbClr val="163D28"/>
                </a:solidFill>
                <a:latin typeface="Arial" pitchFamily="34" charset="0"/>
                <a:cs typeface="Arial" pitchFamily="34" charset="0"/>
              </a:rPr>
              <a:t>Um dos mercados prioritários para a valagro mundial</a:t>
            </a:r>
            <a:endParaRPr lang="pt-BR" sz="3200" cap="all">
              <a:ln w="19050">
                <a:noFill/>
              </a:ln>
              <a:solidFill>
                <a:srgbClr val="163D28"/>
              </a:solidFill>
              <a:latin typeface="Arial" pitchFamily="34" charset="0"/>
              <a:cs typeface="Arial" pitchFamily="34" charset="0"/>
            </a:endParaRPr>
          </a:p>
          <a:p>
            <a:pPr lvl="0"/>
            <a:endParaRPr lang="pt-BR" sz="1050">
              <a:ln w="19050">
                <a:noFill/>
              </a:ln>
              <a:solidFill>
                <a:schemeClr val="tx1">
                  <a:lumMod val="65000"/>
                  <a:lumOff val="35000"/>
                </a:schemeClr>
              </a:solidFill>
              <a:latin typeface="Arial" pitchFamily="34" charset="0"/>
              <a:cs typeface="Arial" pitchFamily="34" charset="0"/>
            </a:endParaRPr>
          </a:p>
        </p:txBody>
      </p:sp>
      <p:sp>
        <p:nvSpPr>
          <p:cNvPr id="2" name="Elipse 1">
            <a:extLst>
              <a:ext uri="{FF2B5EF4-FFF2-40B4-BE49-F238E27FC236}">
                <a16:creationId xmlns:a16="http://schemas.microsoft.com/office/drawing/2014/main" id="{BCA239AF-54F1-459A-A67F-81AEBFF7F931}"/>
              </a:ext>
            </a:extLst>
          </p:cNvPr>
          <p:cNvSpPr/>
          <p:nvPr/>
        </p:nvSpPr>
        <p:spPr>
          <a:xfrm>
            <a:off x="5428728" y="1533180"/>
            <a:ext cx="660462" cy="73866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
        <p:nvSpPr>
          <p:cNvPr id="20" name="Elipse 19">
            <a:extLst>
              <a:ext uri="{FF2B5EF4-FFF2-40B4-BE49-F238E27FC236}">
                <a16:creationId xmlns:a16="http://schemas.microsoft.com/office/drawing/2014/main" id="{FD5B7515-934E-4E55-998B-46E51D1250FD}"/>
              </a:ext>
            </a:extLst>
          </p:cNvPr>
          <p:cNvSpPr/>
          <p:nvPr/>
        </p:nvSpPr>
        <p:spPr>
          <a:xfrm>
            <a:off x="3936147" y="2454252"/>
            <a:ext cx="660462" cy="738664"/>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38280450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39" name="CasellaDiTesto 38"/>
          <p:cNvSpPr txBox="1"/>
          <p:nvPr/>
        </p:nvSpPr>
        <p:spPr>
          <a:xfrm>
            <a:off x="7648576" y="6496361"/>
            <a:ext cx="1784314" cy="307777"/>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en-US" sz="1400" b="1" kern="0" dirty="0">
                <a:solidFill>
                  <a:srgbClr val="375B49"/>
                </a:solidFill>
                <a:latin typeface="Arial"/>
              </a:rPr>
              <a:t>Others priority</a:t>
            </a:r>
          </a:p>
        </p:txBody>
      </p:sp>
      <p:sp>
        <p:nvSpPr>
          <p:cNvPr id="25" name="Rettangolo 9">
            <a:extLst>
              <a:ext uri="{FF2B5EF4-FFF2-40B4-BE49-F238E27FC236}">
                <a16:creationId xmlns:a16="http://schemas.microsoft.com/office/drawing/2014/main" id="{D4036221-4654-4C52-B8EB-9B37924B9DBD}"/>
              </a:ext>
            </a:extLst>
          </p:cNvPr>
          <p:cNvSpPr/>
          <p:nvPr/>
        </p:nvSpPr>
        <p:spPr>
          <a:xfrm>
            <a:off x="279204" y="179991"/>
            <a:ext cx="10016041" cy="992579"/>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Valagro do brasil</a:t>
            </a:r>
          </a:p>
          <a:p>
            <a:pPr lvl="0"/>
            <a:r>
              <a:rPr lang="pt-BR" sz="1800" cap="all" dirty="0">
                <a:ln w="19050">
                  <a:noFill/>
                </a:ln>
                <a:solidFill>
                  <a:srgbClr val="163D28"/>
                </a:solidFill>
                <a:latin typeface="Arial" pitchFamily="34" charset="0"/>
                <a:cs typeface="Arial" pitchFamily="34" charset="0"/>
              </a:rPr>
              <a:t>Um dos mercados prioritários para a </a:t>
            </a:r>
            <a:r>
              <a:rPr lang="pt-BR" sz="1800" cap="all" dirty="0" err="1">
                <a:ln w="19050">
                  <a:noFill/>
                </a:ln>
                <a:solidFill>
                  <a:srgbClr val="163D28"/>
                </a:solidFill>
                <a:latin typeface="Arial" pitchFamily="34" charset="0"/>
                <a:cs typeface="Arial" pitchFamily="34" charset="0"/>
              </a:rPr>
              <a:t>valagro</a:t>
            </a:r>
            <a:r>
              <a:rPr lang="pt-BR" sz="1800" cap="all" dirty="0">
                <a:ln w="19050">
                  <a:noFill/>
                </a:ln>
                <a:solidFill>
                  <a:srgbClr val="163D28"/>
                </a:solidFill>
                <a:latin typeface="Arial" pitchFamily="34" charset="0"/>
                <a:cs typeface="Arial" pitchFamily="34" charset="0"/>
              </a:rPr>
              <a:t> mundial</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pic>
        <p:nvPicPr>
          <p:cNvPr id="20" name="Imagem 19">
            <a:extLst>
              <a:ext uri="{FF2B5EF4-FFF2-40B4-BE49-F238E27FC236}">
                <a16:creationId xmlns:a16="http://schemas.microsoft.com/office/drawing/2014/main" id="{843B557C-3DB8-43D4-BB17-BE7957ADEE8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0927" y="2974515"/>
            <a:ext cx="5255539" cy="2949883"/>
          </a:xfrm>
          <a:prstGeom prst="rect">
            <a:avLst/>
          </a:prstGeom>
        </p:spPr>
      </p:pic>
      <p:pic>
        <p:nvPicPr>
          <p:cNvPr id="21" name="Imagem 20">
            <a:extLst>
              <a:ext uri="{FF2B5EF4-FFF2-40B4-BE49-F238E27FC236}">
                <a16:creationId xmlns:a16="http://schemas.microsoft.com/office/drawing/2014/main" id="{18ADF594-E1D3-4F27-8FAA-2E87CC2AD9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09761" y="3094710"/>
            <a:ext cx="5315413" cy="2830754"/>
          </a:xfrm>
          <a:prstGeom prst="rect">
            <a:avLst/>
          </a:prstGeom>
        </p:spPr>
      </p:pic>
      <p:pic>
        <p:nvPicPr>
          <p:cNvPr id="27" name="Picture 2" descr="C:\Users\c.torriero\Desktop\Senza titolo-1.png">
            <a:extLst>
              <a:ext uri="{FF2B5EF4-FFF2-40B4-BE49-F238E27FC236}">
                <a16:creationId xmlns:a16="http://schemas.microsoft.com/office/drawing/2014/main" id="{A6679873-D5CE-431B-8D6B-DC7B579D2911}"/>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375602" y="1066118"/>
            <a:ext cx="1793432" cy="2025189"/>
          </a:xfrm>
          <a:prstGeom prst="rect">
            <a:avLst/>
          </a:prstGeom>
          <a:noFill/>
        </p:spPr>
      </p:pic>
      <p:sp>
        <p:nvSpPr>
          <p:cNvPr id="2" name="CaixaDeTexto 1">
            <a:extLst>
              <a:ext uri="{FF2B5EF4-FFF2-40B4-BE49-F238E27FC236}">
                <a16:creationId xmlns:a16="http://schemas.microsoft.com/office/drawing/2014/main" id="{599EF0B8-C725-41D4-BF28-97E1627AA58F}"/>
              </a:ext>
            </a:extLst>
          </p:cNvPr>
          <p:cNvSpPr txBox="1"/>
          <p:nvPr/>
        </p:nvSpPr>
        <p:spPr>
          <a:xfrm>
            <a:off x="457199" y="1268054"/>
            <a:ext cx="8515351" cy="1061829"/>
          </a:xfrm>
          <a:prstGeom prst="rect">
            <a:avLst/>
          </a:prstGeom>
          <a:noFill/>
        </p:spPr>
        <p:txBody>
          <a:bodyPr wrap="square" rtlCol="0">
            <a:spAutoFit/>
          </a:bodyPr>
          <a:lstStyle/>
          <a:p>
            <a:pPr marL="342900" indent="-342900">
              <a:buFont typeface="Arial" panose="020B0604020202020204" pitchFamily="34" charset="0"/>
              <a:buChar char="•"/>
            </a:pPr>
            <a:r>
              <a:rPr lang="pt-BR" dirty="0"/>
              <a:t>Investimento de EUR 10 milhões</a:t>
            </a:r>
          </a:p>
          <a:p>
            <a:pPr marL="342900" indent="-342900">
              <a:buFont typeface="Arial" panose="020B0604020202020204" pitchFamily="34" charset="0"/>
              <a:buChar char="•"/>
            </a:pPr>
            <a:r>
              <a:rPr lang="pt-BR" dirty="0"/>
              <a:t>Inicio de operações em Maio – 2017</a:t>
            </a:r>
          </a:p>
          <a:p>
            <a:pPr marL="342900" indent="-342900">
              <a:buFont typeface="Arial" panose="020B0604020202020204" pitchFamily="34" charset="0"/>
              <a:buChar char="•"/>
            </a:pPr>
            <a:r>
              <a:rPr lang="pt-BR" dirty="0"/>
              <a:t>Capacidade de atendimento – Brasil – LATAM</a:t>
            </a:r>
          </a:p>
        </p:txBody>
      </p:sp>
    </p:spTree>
    <p:extLst>
      <p:ext uri="{BB962C8B-B14F-4D97-AF65-F5344CB8AC3E}">
        <p14:creationId xmlns:p14="http://schemas.microsoft.com/office/powerpoint/2010/main" val="2056401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1292662"/>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Mercado de tecnologia e nutrição especial</a:t>
            </a:r>
          </a:p>
          <a:p>
            <a:pPr lvl="0"/>
            <a:r>
              <a:rPr lang="it-IT" sz="1800" cap="all" dirty="0">
                <a:ln w="19050">
                  <a:noFill/>
                </a:ln>
                <a:solidFill>
                  <a:srgbClr val="163D28"/>
                </a:solidFill>
                <a:latin typeface="Arial" pitchFamily="34" charset="0"/>
                <a:cs typeface="Arial" pitchFamily="34" charset="0"/>
              </a:rPr>
              <a:t>Pesquisa abisolo (2018) </a:t>
            </a:r>
            <a:endParaRPr lang="es-ES_tradnl" sz="2400" cap="all" dirty="0">
              <a:ln w="19050">
                <a:noFill/>
              </a:ln>
              <a:solidFill>
                <a:srgbClr val="163D28"/>
              </a:solidFill>
              <a:latin typeface="Arial" pitchFamily="34" charset="0"/>
              <a:cs typeface="Arial" pitchFamily="34" charset="0"/>
            </a:endParaRPr>
          </a:p>
          <a:p>
            <a:pPr lvl="0"/>
            <a:r>
              <a:rPr lang="de-DE" sz="3000" b="1" cap="all" dirty="0">
                <a:ln w="19050">
                  <a:noFill/>
                </a:ln>
                <a:solidFill>
                  <a:srgbClr val="163D28"/>
                </a:solidFill>
                <a:latin typeface="Arial" pitchFamily="34" charset="0"/>
                <a:cs typeface="Arial" pitchFamily="34" charset="0"/>
              </a:rPr>
              <a:t>  </a:t>
            </a:r>
            <a:endParaRPr lang="it-IT" sz="1000" dirty="0">
              <a:ln w="19050">
                <a:noFill/>
              </a:ln>
              <a:solidFill>
                <a:schemeClr val="tx1">
                  <a:lumMod val="65000"/>
                  <a:lumOff val="35000"/>
                </a:schemeClr>
              </a:solidFill>
              <a:latin typeface="Arial" pitchFamily="34" charset="0"/>
              <a:cs typeface="Arial" pitchFamily="34" charset="0"/>
            </a:endParaRPr>
          </a:p>
        </p:txBody>
      </p:sp>
      <p:sp>
        <p:nvSpPr>
          <p:cNvPr id="11" name="CaixaDeTexto 10">
            <a:extLst>
              <a:ext uri="{FF2B5EF4-FFF2-40B4-BE49-F238E27FC236}">
                <a16:creationId xmlns:a16="http://schemas.microsoft.com/office/drawing/2014/main" id="{E1300EFC-D205-4031-AC7C-2C035FA92313}"/>
              </a:ext>
            </a:extLst>
          </p:cNvPr>
          <p:cNvSpPr txBox="1"/>
          <p:nvPr/>
        </p:nvSpPr>
        <p:spPr>
          <a:xfrm>
            <a:off x="279204" y="6312876"/>
            <a:ext cx="10409434" cy="307777"/>
          </a:xfrm>
          <a:prstGeom prst="rect">
            <a:avLst/>
          </a:prstGeom>
          <a:noFill/>
        </p:spPr>
        <p:txBody>
          <a:bodyPr wrap="square" rtlCol="0">
            <a:spAutoFit/>
          </a:bodyPr>
          <a:lstStyle/>
          <a:p>
            <a:r>
              <a:rPr lang="pt-BR" sz="1400" dirty="0"/>
              <a:t>Fonte: </a:t>
            </a:r>
            <a:r>
              <a:rPr lang="pt-BR" sz="1400" dirty="0" err="1"/>
              <a:t>Abisolo</a:t>
            </a:r>
            <a:endParaRPr lang="pt-BR" sz="1400" dirty="0"/>
          </a:p>
        </p:txBody>
      </p:sp>
      <p:grpSp>
        <p:nvGrpSpPr>
          <p:cNvPr id="12" name="Agrupar 11">
            <a:extLst>
              <a:ext uri="{FF2B5EF4-FFF2-40B4-BE49-F238E27FC236}">
                <a16:creationId xmlns:a16="http://schemas.microsoft.com/office/drawing/2014/main" id="{F7DB2FE8-5ECF-4117-9E69-63429CF6F8D3}"/>
              </a:ext>
            </a:extLst>
          </p:cNvPr>
          <p:cNvGrpSpPr/>
          <p:nvPr/>
        </p:nvGrpSpPr>
        <p:grpSpPr>
          <a:xfrm>
            <a:off x="5344320" y="1939458"/>
            <a:ext cx="4936152" cy="4799977"/>
            <a:chOff x="5625491" y="824338"/>
            <a:chExt cx="6059974" cy="5892805"/>
          </a:xfrm>
        </p:grpSpPr>
        <p:sp>
          <p:nvSpPr>
            <p:cNvPr id="15" name="Freeform 1">
              <a:extLst>
                <a:ext uri="{FF2B5EF4-FFF2-40B4-BE49-F238E27FC236}">
                  <a16:creationId xmlns:a16="http://schemas.microsoft.com/office/drawing/2014/main" id="{BFF50DF6-287A-4273-B50B-45A6976DD155}"/>
                </a:ext>
              </a:extLst>
            </p:cNvPr>
            <p:cNvSpPr/>
            <p:nvPr/>
          </p:nvSpPr>
          <p:spPr>
            <a:xfrm>
              <a:off x="8424250" y="932288"/>
              <a:ext cx="714375" cy="827088"/>
            </a:xfrm>
            <a:custGeom>
              <a:avLst/>
              <a:gdLst>
                <a:gd name="connsiteX0" fmla="*/ 489284 w 713874"/>
                <a:gd name="connsiteY0" fmla="*/ 0 h 826169"/>
                <a:gd name="connsiteX1" fmla="*/ 421105 w 713874"/>
                <a:gd name="connsiteY1" fmla="*/ 72190 h 826169"/>
                <a:gd name="connsiteX2" fmla="*/ 429126 w 713874"/>
                <a:gd name="connsiteY2" fmla="*/ 96253 h 826169"/>
                <a:gd name="connsiteX3" fmla="*/ 364958 w 713874"/>
                <a:gd name="connsiteY3" fmla="*/ 168442 h 826169"/>
                <a:gd name="connsiteX4" fmla="*/ 328863 w 713874"/>
                <a:gd name="connsiteY4" fmla="*/ 292769 h 826169"/>
                <a:gd name="connsiteX5" fmla="*/ 252663 w 713874"/>
                <a:gd name="connsiteY5" fmla="*/ 352926 h 826169"/>
                <a:gd name="connsiteX6" fmla="*/ 188495 w 713874"/>
                <a:gd name="connsiteY6" fmla="*/ 356937 h 826169"/>
                <a:gd name="connsiteX7" fmla="*/ 128337 w 713874"/>
                <a:gd name="connsiteY7" fmla="*/ 389021 h 826169"/>
                <a:gd name="connsiteX8" fmla="*/ 40105 w 713874"/>
                <a:gd name="connsiteY8" fmla="*/ 368969 h 826169"/>
                <a:gd name="connsiteX9" fmla="*/ 0 w 713874"/>
                <a:gd name="connsiteY9" fmla="*/ 312821 h 826169"/>
                <a:gd name="connsiteX10" fmla="*/ 16042 w 713874"/>
                <a:gd name="connsiteY10" fmla="*/ 413084 h 826169"/>
                <a:gd name="connsiteX11" fmla="*/ 156410 w 713874"/>
                <a:gd name="connsiteY11" fmla="*/ 465221 h 826169"/>
                <a:gd name="connsiteX12" fmla="*/ 164431 w 713874"/>
                <a:gd name="connsiteY12" fmla="*/ 521369 h 826169"/>
                <a:gd name="connsiteX13" fmla="*/ 232610 w 713874"/>
                <a:gd name="connsiteY13" fmla="*/ 565484 h 826169"/>
                <a:gd name="connsiteX14" fmla="*/ 240631 w 713874"/>
                <a:gd name="connsiteY14" fmla="*/ 649705 h 826169"/>
                <a:gd name="connsiteX15" fmla="*/ 328863 w 713874"/>
                <a:gd name="connsiteY15" fmla="*/ 701842 h 826169"/>
                <a:gd name="connsiteX16" fmla="*/ 324852 w 713874"/>
                <a:gd name="connsiteY16" fmla="*/ 741948 h 826169"/>
                <a:gd name="connsiteX17" fmla="*/ 356937 w 713874"/>
                <a:gd name="connsiteY17" fmla="*/ 774032 h 826169"/>
                <a:gd name="connsiteX18" fmla="*/ 360947 w 713874"/>
                <a:gd name="connsiteY18" fmla="*/ 822158 h 826169"/>
                <a:gd name="connsiteX19" fmla="*/ 401052 w 713874"/>
                <a:gd name="connsiteY19" fmla="*/ 826169 h 826169"/>
                <a:gd name="connsiteX20" fmla="*/ 481263 w 713874"/>
                <a:gd name="connsiteY20" fmla="*/ 709863 h 826169"/>
                <a:gd name="connsiteX21" fmla="*/ 553452 w 713874"/>
                <a:gd name="connsiteY21" fmla="*/ 665748 h 826169"/>
                <a:gd name="connsiteX22" fmla="*/ 597568 w 713874"/>
                <a:gd name="connsiteY22" fmla="*/ 593558 h 826169"/>
                <a:gd name="connsiteX23" fmla="*/ 681789 w 713874"/>
                <a:gd name="connsiteY23" fmla="*/ 493295 h 826169"/>
                <a:gd name="connsiteX24" fmla="*/ 713874 w 713874"/>
                <a:gd name="connsiteY24" fmla="*/ 385011 h 826169"/>
                <a:gd name="connsiteX25" fmla="*/ 641684 w 713874"/>
                <a:gd name="connsiteY25" fmla="*/ 372979 h 826169"/>
                <a:gd name="connsiteX26" fmla="*/ 641684 w 713874"/>
                <a:gd name="connsiteY26" fmla="*/ 372979 h 826169"/>
                <a:gd name="connsiteX27" fmla="*/ 573505 w 713874"/>
                <a:gd name="connsiteY27" fmla="*/ 220579 h 826169"/>
                <a:gd name="connsiteX28" fmla="*/ 557463 w 713874"/>
                <a:gd name="connsiteY28" fmla="*/ 76200 h 826169"/>
                <a:gd name="connsiteX29" fmla="*/ 533400 w 713874"/>
                <a:gd name="connsiteY29" fmla="*/ 112295 h 826169"/>
                <a:gd name="connsiteX30" fmla="*/ 521368 w 713874"/>
                <a:gd name="connsiteY30" fmla="*/ 40105 h 826169"/>
                <a:gd name="connsiteX31" fmla="*/ 489284 w 713874"/>
                <a:gd name="connsiteY31" fmla="*/ 0 h 826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3874" h="826169">
                  <a:moveTo>
                    <a:pt x="489284" y="0"/>
                  </a:moveTo>
                  <a:lnTo>
                    <a:pt x="421105" y="72190"/>
                  </a:lnTo>
                  <a:lnTo>
                    <a:pt x="429126" y="96253"/>
                  </a:lnTo>
                  <a:lnTo>
                    <a:pt x="364958" y="168442"/>
                  </a:lnTo>
                  <a:lnTo>
                    <a:pt x="328863" y="292769"/>
                  </a:lnTo>
                  <a:lnTo>
                    <a:pt x="252663" y="352926"/>
                  </a:lnTo>
                  <a:lnTo>
                    <a:pt x="188495" y="356937"/>
                  </a:lnTo>
                  <a:lnTo>
                    <a:pt x="128337" y="389021"/>
                  </a:lnTo>
                  <a:lnTo>
                    <a:pt x="40105" y="368969"/>
                  </a:lnTo>
                  <a:lnTo>
                    <a:pt x="0" y="312821"/>
                  </a:lnTo>
                  <a:lnTo>
                    <a:pt x="16042" y="413084"/>
                  </a:lnTo>
                  <a:lnTo>
                    <a:pt x="156410" y="465221"/>
                  </a:lnTo>
                  <a:lnTo>
                    <a:pt x="164431" y="521369"/>
                  </a:lnTo>
                  <a:lnTo>
                    <a:pt x="232610" y="565484"/>
                  </a:lnTo>
                  <a:lnTo>
                    <a:pt x="240631" y="649705"/>
                  </a:lnTo>
                  <a:lnTo>
                    <a:pt x="328863" y="701842"/>
                  </a:lnTo>
                  <a:lnTo>
                    <a:pt x="324852" y="741948"/>
                  </a:lnTo>
                  <a:lnTo>
                    <a:pt x="356937" y="774032"/>
                  </a:lnTo>
                  <a:lnTo>
                    <a:pt x="360947" y="822158"/>
                  </a:lnTo>
                  <a:lnTo>
                    <a:pt x="401052" y="826169"/>
                  </a:lnTo>
                  <a:lnTo>
                    <a:pt x="481263" y="709863"/>
                  </a:lnTo>
                  <a:lnTo>
                    <a:pt x="553452" y="665748"/>
                  </a:lnTo>
                  <a:lnTo>
                    <a:pt x="597568" y="593558"/>
                  </a:lnTo>
                  <a:lnTo>
                    <a:pt x="681789" y="493295"/>
                  </a:lnTo>
                  <a:lnTo>
                    <a:pt x="713874" y="385011"/>
                  </a:lnTo>
                  <a:lnTo>
                    <a:pt x="641684" y="372979"/>
                  </a:lnTo>
                  <a:lnTo>
                    <a:pt x="641684" y="372979"/>
                  </a:lnTo>
                  <a:lnTo>
                    <a:pt x="573505" y="220579"/>
                  </a:lnTo>
                  <a:lnTo>
                    <a:pt x="557463" y="76200"/>
                  </a:lnTo>
                  <a:lnTo>
                    <a:pt x="533400" y="112295"/>
                  </a:lnTo>
                  <a:lnTo>
                    <a:pt x="521368" y="40105"/>
                  </a:lnTo>
                  <a:lnTo>
                    <a:pt x="489284"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16" name="Freeform 2">
              <a:extLst>
                <a:ext uri="{FF2B5EF4-FFF2-40B4-BE49-F238E27FC236}">
                  <a16:creationId xmlns:a16="http://schemas.microsoft.com/office/drawing/2014/main" id="{6A4B8BCA-BB49-4A56-94AB-E17023A24AAB}"/>
                </a:ext>
              </a:extLst>
            </p:cNvPr>
            <p:cNvSpPr/>
            <p:nvPr/>
          </p:nvSpPr>
          <p:spPr>
            <a:xfrm>
              <a:off x="9081475" y="1233913"/>
              <a:ext cx="23813" cy="50800"/>
            </a:xfrm>
            <a:custGeom>
              <a:avLst/>
              <a:gdLst>
                <a:gd name="connsiteX0" fmla="*/ 4011 w 24063"/>
                <a:gd name="connsiteY0" fmla="*/ 0 h 52136"/>
                <a:gd name="connsiteX1" fmla="*/ 0 w 24063"/>
                <a:gd name="connsiteY1" fmla="*/ 52136 h 52136"/>
                <a:gd name="connsiteX2" fmla="*/ 24063 w 24063"/>
                <a:gd name="connsiteY2" fmla="*/ 48126 h 52136"/>
                <a:gd name="connsiteX3" fmla="*/ 4011 w 24063"/>
                <a:gd name="connsiteY3" fmla="*/ 0 h 52136"/>
              </a:gdLst>
              <a:ahLst/>
              <a:cxnLst>
                <a:cxn ang="0">
                  <a:pos x="connsiteX0" y="connsiteY0"/>
                </a:cxn>
                <a:cxn ang="0">
                  <a:pos x="connsiteX1" y="connsiteY1"/>
                </a:cxn>
                <a:cxn ang="0">
                  <a:pos x="connsiteX2" y="connsiteY2"/>
                </a:cxn>
                <a:cxn ang="0">
                  <a:pos x="connsiteX3" y="connsiteY3"/>
                </a:cxn>
              </a:cxnLst>
              <a:rect l="l" t="t" r="r" b="b"/>
              <a:pathLst>
                <a:path w="24063" h="52136">
                  <a:moveTo>
                    <a:pt x="4011" y="0"/>
                  </a:moveTo>
                  <a:lnTo>
                    <a:pt x="0" y="52136"/>
                  </a:lnTo>
                  <a:lnTo>
                    <a:pt x="24063" y="48126"/>
                  </a:lnTo>
                  <a:lnTo>
                    <a:pt x="4011"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17" name="Freeform 3">
              <a:extLst>
                <a:ext uri="{FF2B5EF4-FFF2-40B4-BE49-F238E27FC236}">
                  <a16:creationId xmlns:a16="http://schemas.microsoft.com/office/drawing/2014/main" id="{EEA34CC7-2E03-4248-84E3-D798FEB9CBA1}"/>
                </a:ext>
              </a:extLst>
            </p:cNvPr>
            <p:cNvSpPr/>
            <p:nvPr/>
          </p:nvSpPr>
          <p:spPr>
            <a:xfrm>
              <a:off x="7830526" y="1233913"/>
              <a:ext cx="1884362" cy="1760538"/>
            </a:xfrm>
            <a:custGeom>
              <a:avLst/>
              <a:gdLst>
                <a:gd name="connsiteX0" fmla="*/ 589547 w 1816768"/>
                <a:gd name="connsiteY0" fmla="*/ 12031 h 1760621"/>
                <a:gd name="connsiteX1" fmla="*/ 537410 w 1816768"/>
                <a:gd name="connsiteY1" fmla="*/ 0 h 1760621"/>
                <a:gd name="connsiteX2" fmla="*/ 477253 w 1816768"/>
                <a:gd name="connsiteY2" fmla="*/ 16042 h 1760621"/>
                <a:gd name="connsiteX3" fmla="*/ 437147 w 1816768"/>
                <a:gd name="connsiteY3" fmla="*/ 4010 h 1760621"/>
                <a:gd name="connsiteX4" fmla="*/ 449179 w 1816768"/>
                <a:gd name="connsiteY4" fmla="*/ 52136 h 1760621"/>
                <a:gd name="connsiteX5" fmla="*/ 429126 w 1816768"/>
                <a:gd name="connsiteY5" fmla="*/ 84221 h 1760621"/>
                <a:gd name="connsiteX6" fmla="*/ 344905 w 1816768"/>
                <a:gd name="connsiteY6" fmla="*/ 80210 h 1760621"/>
                <a:gd name="connsiteX7" fmla="*/ 316832 w 1816768"/>
                <a:gd name="connsiteY7" fmla="*/ 100263 h 1760621"/>
                <a:gd name="connsiteX8" fmla="*/ 268705 w 1816768"/>
                <a:gd name="connsiteY8" fmla="*/ 104273 h 1760621"/>
                <a:gd name="connsiteX9" fmla="*/ 216568 w 1816768"/>
                <a:gd name="connsiteY9" fmla="*/ 68179 h 1760621"/>
                <a:gd name="connsiteX10" fmla="*/ 204537 w 1816768"/>
                <a:gd name="connsiteY10" fmla="*/ 100263 h 1760621"/>
                <a:gd name="connsiteX11" fmla="*/ 128337 w 1816768"/>
                <a:gd name="connsiteY11" fmla="*/ 128336 h 1760621"/>
                <a:gd name="connsiteX12" fmla="*/ 100263 w 1816768"/>
                <a:gd name="connsiteY12" fmla="*/ 124326 h 1760621"/>
                <a:gd name="connsiteX13" fmla="*/ 60158 w 1816768"/>
                <a:gd name="connsiteY13" fmla="*/ 140368 h 1760621"/>
                <a:gd name="connsiteX14" fmla="*/ 68179 w 1816768"/>
                <a:gd name="connsiteY14" fmla="*/ 168442 h 1760621"/>
                <a:gd name="connsiteX15" fmla="*/ 44116 w 1816768"/>
                <a:gd name="connsiteY15" fmla="*/ 184484 h 1760621"/>
                <a:gd name="connsiteX16" fmla="*/ 0 w 1816768"/>
                <a:gd name="connsiteY16" fmla="*/ 176463 h 1760621"/>
                <a:gd name="connsiteX17" fmla="*/ 36095 w 1816768"/>
                <a:gd name="connsiteY17" fmla="*/ 429126 h 1760621"/>
                <a:gd name="connsiteX18" fmla="*/ 100263 w 1816768"/>
                <a:gd name="connsiteY18" fmla="*/ 485273 h 1760621"/>
                <a:gd name="connsiteX19" fmla="*/ 132347 w 1816768"/>
                <a:gd name="connsiteY19" fmla="*/ 573505 h 1760621"/>
                <a:gd name="connsiteX20" fmla="*/ 268705 w 1816768"/>
                <a:gd name="connsiteY20" fmla="*/ 589547 h 1760621"/>
                <a:gd name="connsiteX21" fmla="*/ 308810 w 1816768"/>
                <a:gd name="connsiteY21" fmla="*/ 633663 h 1760621"/>
                <a:gd name="connsiteX22" fmla="*/ 372979 w 1816768"/>
                <a:gd name="connsiteY22" fmla="*/ 601579 h 1760621"/>
                <a:gd name="connsiteX23" fmla="*/ 417095 w 1816768"/>
                <a:gd name="connsiteY23" fmla="*/ 597568 h 1760621"/>
                <a:gd name="connsiteX24" fmla="*/ 389021 w 1816768"/>
                <a:gd name="connsiteY24" fmla="*/ 593558 h 1760621"/>
                <a:gd name="connsiteX25" fmla="*/ 332874 w 1816768"/>
                <a:gd name="connsiteY25" fmla="*/ 589547 h 1760621"/>
                <a:gd name="connsiteX26" fmla="*/ 276726 w 1816768"/>
                <a:gd name="connsiteY26" fmla="*/ 561473 h 1760621"/>
                <a:gd name="connsiteX27" fmla="*/ 256674 w 1816768"/>
                <a:gd name="connsiteY27" fmla="*/ 521368 h 1760621"/>
                <a:gd name="connsiteX28" fmla="*/ 292768 w 1816768"/>
                <a:gd name="connsiteY28" fmla="*/ 553452 h 1760621"/>
                <a:gd name="connsiteX29" fmla="*/ 328863 w 1816768"/>
                <a:gd name="connsiteY29" fmla="*/ 541421 h 1760621"/>
                <a:gd name="connsiteX30" fmla="*/ 356937 w 1816768"/>
                <a:gd name="connsiteY30" fmla="*/ 569494 h 1760621"/>
                <a:gd name="connsiteX31" fmla="*/ 397042 w 1816768"/>
                <a:gd name="connsiteY31" fmla="*/ 569494 h 1760621"/>
                <a:gd name="connsiteX32" fmla="*/ 449179 w 1816768"/>
                <a:gd name="connsiteY32" fmla="*/ 549442 h 1760621"/>
                <a:gd name="connsiteX33" fmla="*/ 453189 w 1816768"/>
                <a:gd name="connsiteY33" fmla="*/ 597568 h 1760621"/>
                <a:gd name="connsiteX34" fmla="*/ 469232 w 1816768"/>
                <a:gd name="connsiteY34" fmla="*/ 613610 h 1760621"/>
                <a:gd name="connsiteX35" fmla="*/ 521368 w 1816768"/>
                <a:gd name="connsiteY35" fmla="*/ 617621 h 1760621"/>
                <a:gd name="connsiteX36" fmla="*/ 513347 w 1816768"/>
                <a:gd name="connsiteY36" fmla="*/ 637673 h 1760621"/>
                <a:gd name="connsiteX37" fmla="*/ 453189 w 1816768"/>
                <a:gd name="connsiteY37" fmla="*/ 637673 h 1760621"/>
                <a:gd name="connsiteX38" fmla="*/ 409074 w 1816768"/>
                <a:gd name="connsiteY38" fmla="*/ 629652 h 1760621"/>
                <a:gd name="connsiteX39" fmla="*/ 324853 w 1816768"/>
                <a:gd name="connsiteY39" fmla="*/ 725905 h 1760621"/>
                <a:gd name="connsiteX40" fmla="*/ 56147 w 1816768"/>
                <a:gd name="connsiteY40" fmla="*/ 1291389 h 1760621"/>
                <a:gd name="connsiteX41" fmla="*/ 108284 w 1816768"/>
                <a:gd name="connsiteY41" fmla="*/ 1471863 h 1760621"/>
                <a:gd name="connsiteX42" fmla="*/ 184484 w 1816768"/>
                <a:gd name="connsiteY42" fmla="*/ 1640305 h 1760621"/>
                <a:gd name="connsiteX43" fmla="*/ 284747 w 1816768"/>
                <a:gd name="connsiteY43" fmla="*/ 1740568 h 1760621"/>
                <a:gd name="connsiteX44" fmla="*/ 360947 w 1816768"/>
                <a:gd name="connsiteY44" fmla="*/ 1752600 h 1760621"/>
                <a:gd name="connsiteX45" fmla="*/ 1303421 w 1816768"/>
                <a:gd name="connsiteY45" fmla="*/ 1760621 h 1760621"/>
                <a:gd name="connsiteX46" fmla="*/ 1427747 w 1816768"/>
                <a:gd name="connsiteY46" fmla="*/ 1556084 h 1760621"/>
                <a:gd name="connsiteX47" fmla="*/ 1407695 w 1816768"/>
                <a:gd name="connsiteY47" fmla="*/ 1499936 h 1760621"/>
                <a:gd name="connsiteX48" fmla="*/ 1431758 w 1816768"/>
                <a:gd name="connsiteY48" fmla="*/ 1403684 h 1760621"/>
                <a:gd name="connsiteX49" fmla="*/ 1407695 w 1816768"/>
                <a:gd name="connsiteY49" fmla="*/ 1359568 h 1760621"/>
                <a:gd name="connsiteX50" fmla="*/ 1511968 w 1816768"/>
                <a:gd name="connsiteY50" fmla="*/ 1323473 h 1760621"/>
                <a:gd name="connsiteX51" fmla="*/ 1544053 w 1816768"/>
                <a:gd name="connsiteY51" fmla="*/ 1187115 h 1760621"/>
                <a:gd name="connsiteX52" fmla="*/ 1487905 w 1816768"/>
                <a:gd name="connsiteY52" fmla="*/ 1143000 h 1760621"/>
                <a:gd name="connsiteX53" fmla="*/ 1495926 w 1816768"/>
                <a:gd name="connsiteY53" fmla="*/ 1082842 h 1760621"/>
                <a:gd name="connsiteX54" fmla="*/ 1592179 w 1816768"/>
                <a:gd name="connsiteY54" fmla="*/ 1050758 h 1760621"/>
                <a:gd name="connsiteX55" fmla="*/ 1716505 w 1816768"/>
                <a:gd name="connsiteY55" fmla="*/ 894347 h 1760621"/>
                <a:gd name="connsiteX56" fmla="*/ 1700463 w 1816768"/>
                <a:gd name="connsiteY56" fmla="*/ 798094 h 1760621"/>
                <a:gd name="connsiteX57" fmla="*/ 1816768 w 1816768"/>
                <a:gd name="connsiteY57" fmla="*/ 677779 h 1760621"/>
                <a:gd name="connsiteX58" fmla="*/ 1816768 w 1816768"/>
                <a:gd name="connsiteY58" fmla="*/ 497305 h 1760621"/>
                <a:gd name="connsiteX59" fmla="*/ 1752600 w 1816768"/>
                <a:gd name="connsiteY59" fmla="*/ 449179 h 1760621"/>
                <a:gd name="connsiteX60" fmla="*/ 1656347 w 1816768"/>
                <a:gd name="connsiteY60" fmla="*/ 417094 h 1760621"/>
                <a:gd name="connsiteX61" fmla="*/ 1580147 w 1816768"/>
                <a:gd name="connsiteY61" fmla="*/ 429126 h 1760621"/>
                <a:gd name="connsiteX62" fmla="*/ 1524000 w 1816768"/>
                <a:gd name="connsiteY62" fmla="*/ 489284 h 1760621"/>
                <a:gd name="connsiteX63" fmla="*/ 1524000 w 1816768"/>
                <a:gd name="connsiteY63" fmla="*/ 537410 h 1760621"/>
                <a:gd name="connsiteX64" fmla="*/ 1536032 w 1816768"/>
                <a:gd name="connsiteY64" fmla="*/ 549442 h 1760621"/>
                <a:gd name="connsiteX65" fmla="*/ 1503947 w 1816768"/>
                <a:gd name="connsiteY65" fmla="*/ 557463 h 1760621"/>
                <a:gd name="connsiteX66" fmla="*/ 1483895 w 1816768"/>
                <a:gd name="connsiteY66" fmla="*/ 545431 h 1760621"/>
                <a:gd name="connsiteX67" fmla="*/ 1371600 w 1816768"/>
                <a:gd name="connsiteY67" fmla="*/ 697831 h 1760621"/>
                <a:gd name="connsiteX68" fmla="*/ 1395663 w 1816768"/>
                <a:gd name="connsiteY68" fmla="*/ 593558 h 1760621"/>
                <a:gd name="connsiteX69" fmla="*/ 1155032 w 1816768"/>
                <a:gd name="connsiteY69" fmla="*/ 605589 h 1760621"/>
                <a:gd name="connsiteX70" fmla="*/ 1471863 w 1816768"/>
                <a:gd name="connsiteY70" fmla="*/ 533400 h 1760621"/>
                <a:gd name="connsiteX71" fmla="*/ 1524000 w 1816768"/>
                <a:gd name="connsiteY71" fmla="*/ 376989 h 1760621"/>
                <a:gd name="connsiteX72" fmla="*/ 1447800 w 1816768"/>
                <a:gd name="connsiteY72" fmla="*/ 352926 h 1760621"/>
                <a:gd name="connsiteX73" fmla="*/ 1251284 w 1816768"/>
                <a:gd name="connsiteY73" fmla="*/ 372979 h 1760621"/>
                <a:gd name="connsiteX74" fmla="*/ 1207168 w 1816768"/>
                <a:gd name="connsiteY74" fmla="*/ 501315 h 1760621"/>
                <a:gd name="connsiteX75" fmla="*/ 1167063 w 1816768"/>
                <a:gd name="connsiteY75" fmla="*/ 485273 h 1760621"/>
                <a:gd name="connsiteX76" fmla="*/ 986589 w 1816768"/>
                <a:gd name="connsiteY76" fmla="*/ 577515 h 1760621"/>
                <a:gd name="connsiteX77" fmla="*/ 966537 w 1816768"/>
                <a:gd name="connsiteY77" fmla="*/ 697831 h 1760621"/>
                <a:gd name="connsiteX78" fmla="*/ 946484 w 1816768"/>
                <a:gd name="connsiteY78" fmla="*/ 625642 h 1760621"/>
                <a:gd name="connsiteX79" fmla="*/ 970547 w 1816768"/>
                <a:gd name="connsiteY79" fmla="*/ 561473 h 1760621"/>
                <a:gd name="connsiteX80" fmla="*/ 830179 w 1816768"/>
                <a:gd name="connsiteY80" fmla="*/ 601579 h 1760621"/>
                <a:gd name="connsiteX81" fmla="*/ 962526 w 1816768"/>
                <a:gd name="connsiteY81" fmla="*/ 537410 h 1760621"/>
                <a:gd name="connsiteX82" fmla="*/ 946484 w 1816768"/>
                <a:gd name="connsiteY82" fmla="*/ 469231 h 1760621"/>
                <a:gd name="connsiteX83" fmla="*/ 922421 w 1816768"/>
                <a:gd name="connsiteY83" fmla="*/ 449179 h 1760621"/>
                <a:gd name="connsiteX84" fmla="*/ 918410 w 1816768"/>
                <a:gd name="connsiteY84" fmla="*/ 397042 h 1760621"/>
                <a:gd name="connsiteX85" fmla="*/ 830179 w 1816768"/>
                <a:gd name="connsiteY85" fmla="*/ 356936 h 1760621"/>
                <a:gd name="connsiteX86" fmla="*/ 818147 w 1816768"/>
                <a:gd name="connsiteY86" fmla="*/ 252663 h 1760621"/>
                <a:gd name="connsiteX87" fmla="*/ 774032 w 1816768"/>
                <a:gd name="connsiteY87" fmla="*/ 224589 h 1760621"/>
                <a:gd name="connsiteX88" fmla="*/ 737937 w 1816768"/>
                <a:gd name="connsiteY88" fmla="*/ 164431 h 1760621"/>
                <a:gd name="connsiteX89" fmla="*/ 605589 w 1816768"/>
                <a:gd name="connsiteY89" fmla="*/ 116305 h 1760621"/>
                <a:gd name="connsiteX90" fmla="*/ 589547 w 1816768"/>
                <a:gd name="connsiteY90" fmla="*/ 12031 h 1760621"/>
                <a:gd name="connsiteX0" fmla="*/ 589547 w 1816768"/>
                <a:gd name="connsiteY0" fmla="*/ 12031 h 1760621"/>
                <a:gd name="connsiteX1" fmla="*/ 537410 w 1816768"/>
                <a:gd name="connsiteY1" fmla="*/ 0 h 1760621"/>
                <a:gd name="connsiteX2" fmla="*/ 477253 w 1816768"/>
                <a:gd name="connsiteY2" fmla="*/ 16042 h 1760621"/>
                <a:gd name="connsiteX3" fmla="*/ 437147 w 1816768"/>
                <a:gd name="connsiteY3" fmla="*/ 4010 h 1760621"/>
                <a:gd name="connsiteX4" fmla="*/ 449179 w 1816768"/>
                <a:gd name="connsiteY4" fmla="*/ 52136 h 1760621"/>
                <a:gd name="connsiteX5" fmla="*/ 429126 w 1816768"/>
                <a:gd name="connsiteY5" fmla="*/ 84221 h 1760621"/>
                <a:gd name="connsiteX6" fmla="*/ 344905 w 1816768"/>
                <a:gd name="connsiteY6" fmla="*/ 80210 h 1760621"/>
                <a:gd name="connsiteX7" fmla="*/ 316832 w 1816768"/>
                <a:gd name="connsiteY7" fmla="*/ 100263 h 1760621"/>
                <a:gd name="connsiteX8" fmla="*/ 268705 w 1816768"/>
                <a:gd name="connsiteY8" fmla="*/ 104273 h 1760621"/>
                <a:gd name="connsiteX9" fmla="*/ 216568 w 1816768"/>
                <a:gd name="connsiteY9" fmla="*/ 68179 h 1760621"/>
                <a:gd name="connsiteX10" fmla="*/ 204537 w 1816768"/>
                <a:gd name="connsiteY10" fmla="*/ 100263 h 1760621"/>
                <a:gd name="connsiteX11" fmla="*/ 128337 w 1816768"/>
                <a:gd name="connsiteY11" fmla="*/ 128336 h 1760621"/>
                <a:gd name="connsiteX12" fmla="*/ 100263 w 1816768"/>
                <a:gd name="connsiteY12" fmla="*/ 124326 h 1760621"/>
                <a:gd name="connsiteX13" fmla="*/ 60158 w 1816768"/>
                <a:gd name="connsiteY13" fmla="*/ 140368 h 1760621"/>
                <a:gd name="connsiteX14" fmla="*/ 68179 w 1816768"/>
                <a:gd name="connsiteY14" fmla="*/ 168442 h 1760621"/>
                <a:gd name="connsiteX15" fmla="*/ 44116 w 1816768"/>
                <a:gd name="connsiteY15" fmla="*/ 184484 h 1760621"/>
                <a:gd name="connsiteX16" fmla="*/ 0 w 1816768"/>
                <a:gd name="connsiteY16" fmla="*/ 176463 h 1760621"/>
                <a:gd name="connsiteX17" fmla="*/ 36095 w 1816768"/>
                <a:gd name="connsiteY17" fmla="*/ 429126 h 1760621"/>
                <a:gd name="connsiteX18" fmla="*/ 100263 w 1816768"/>
                <a:gd name="connsiteY18" fmla="*/ 485273 h 1760621"/>
                <a:gd name="connsiteX19" fmla="*/ 132347 w 1816768"/>
                <a:gd name="connsiteY19" fmla="*/ 573505 h 1760621"/>
                <a:gd name="connsiteX20" fmla="*/ 268705 w 1816768"/>
                <a:gd name="connsiteY20" fmla="*/ 589547 h 1760621"/>
                <a:gd name="connsiteX21" fmla="*/ 308810 w 1816768"/>
                <a:gd name="connsiteY21" fmla="*/ 633663 h 1760621"/>
                <a:gd name="connsiteX22" fmla="*/ 372979 w 1816768"/>
                <a:gd name="connsiteY22" fmla="*/ 601579 h 1760621"/>
                <a:gd name="connsiteX23" fmla="*/ 417095 w 1816768"/>
                <a:gd name="connsiteY23" fmla="*/ 597568 h 1760621"/>
                <a:gd name="connsiteX24" fmla="*/ 389021 w 1816768"/>
                <a:gd name="connsiteY24" fmla="*/ 593558 h 1760621"/>
                <a:gd name="connsiteX25" fmla="*/ 332874 w 1816768"/>
                <a:gd name="connsiteY25" fmla="*/ 589547 h 1760621"/>
                <a:gd name="connsiteX26" fmla="*/ 276726 w 1816768"/>
                <a:gd name="connsiteY26" fmla="*/ 561473 h 1760621"/>
                <a:gd name="connsiteX27" fmla="*/ 256674 w 1816768"/>
                <a:gd name="connsiteY27" fmla="*/ 521368 h 1760621"/>
                <a:gd name="connsiteX28" fmla="*/ 292768 w 1816768"/>
                <a:gd name="connsiteY28" fmla="*/ 553452 h 1760621"/>
                <a:gd name="connsiteX29" fmla="*/ 328863 w 1816768"/>
                <a:gd name="connsiteY29" fmla="*/ 541421 h 1760621"/>
                <a:gd name="connsiteX30" fmla="*/ 356937 w 1816768"/>
                <a:gd name="connsiteY30" fmla="*/ 569494 h 1760621"/>
                <a:gd name="connsiteX31" fmla="*/ 397042 w 1816768"/>
                <a:gd name="connsiteY31" fmla="*/ 569494 h 1760621"/>
                <a:gd name="connsiteX32" fmla="*/ 449179 w 1816768"/>
                <a:gd name="connsiteY32" fmla="*/ 549442 h 1760621"/>
                <a:gd name="connsiteX33" fmla="*/ 453189 w 1816768"/>
                <a:gd name="connsiteY33" fmla="*/ 597568 h 1760621"/>
                <a:gd name="connsiteX34" fmla="*/ 469232 w 1816768"/>
                <a:gd name="connsiteY34" fmla="*/ 613610 h 1760621"/>
                <a:gd name="connsiteX35" fmla="*/ 521368 w 1816768"/>
                <a:gd name="connsiteY35" fmla="*/ 617621 h 1760621"/>
                <a:gd name="connsiteX36" fmla="*/ 513347 w 1816768"/>
                <a:gd name="connsiteY36" fmla="*/ 637673 h 1760621"/>
                <a:gd name="connsiteX37" fmla="*/ 453189 w 1816768"/>
                <a:gd name="connsiteY37" fmla="*/ 637673 h 1760621"/>
                <a:gd name="connsiteX38" fmla="*/ 409074 w 1816768"/>
                <a:gd name="connsiteY38" fmla="*/ 629652 h 1760621"/>
                <a:gd name="connsiteX39" fmla="*/ 324853 w 1816768"/>
                <a:gd name="connsiteY39" fmla="*/ 725905 h 1760621"/>
                <a:gd name="connsiteX40" fmla="*/ 56147 w 1816768"/>
                <a:gd name="connsiteY40" fmla="*/ 1291389 h 1760621"/>
                <a:gd name="connsiteX41" fmla="*/ 108284 w 1816768"/>
                <a:gd name="connsiteY41" fmla="*/ 1471863 h 1760621"/>
                <a:gd name="connsiteX42" fmla="*/ 184484 w 1816768"/>
                <a:gd name="connsiteY42" fmla="*/ 1640305 h 1760621"/>
                <a:gd name="connsiteX43" fmla="*/ 284747 w 1816768"/>
                <a:gd name="connsiteY43" fmla="*/ 1740568 h 1760621"/>
                <a:gd name="connsiteX44" fmla="*/ 360947 w 1816768"/>
                <a:gd name="connsiteY44" fmla="*/ 1752600 h 1760621"/>
                <a:gd name="connsiteX45" fmla="*/ 1303421 w 1816768"/>
                <a:gd name="connsiteY45" fmla="*/ 1760621 h 1760621"/>
                <a:gd name="connsiteX46" fmla="*/ 1427747 w 1816768"/>
                <a:gd name="connsiteY46" fmla="*/ 1556084 h 1760621"/>
                <a:gd name="connsiteX47" fmla="*/ 1407695 w 1816768"/>
                <a:gd name="connsiteY47" fmla="*/ 1499936 h 1760621"/>
                <a:gd name="connsiteX48" fmla="*/ 1431758 w 1816768"/>
                <a:gd name="connsiteY48" fmla="*/ 1403684 h 1760621"/>
                <a:gd name="connsiteX49" fmla="*/ 1407695 w 1816768"/>
                <a:gd name="connsiteY49" fmla="*/ 1359568 h 1760621"/>
                <a:gd name="connsiteX50" fmla="*/ 1511968 w 1816768"/>
                <a:gd name="connsiteY50" fmla="*/ 1323473 h 1760621"/>
                <a:gd name="connsiteX51" fmla="*/ 1544053 w 1816768"/>
                <a:gd name="connsiteY51" fmla="*/ 1187115 h 1760621"/>
                <a:gd name="connsiteX52" fmla="*/ 1487905 w 1816768"/>
                <a:gd name="connsiteY52" fmla="*/ 1143000 h 1760621"/>
                <a:gd name="connsiteX53" fmla="*/ 1495926 w 1816768"/>
                <a:gd name="connsiteY53" fmla="*/ 1082842 h 1760621"/>
                <a:gd name="connsiteX54" fmla="*/ 1592179 w 1816768"/>
                <a:gd name="connsiteY54" fmla="*/ 1050758 h 1760621"/>
                <a:gd name="connsiteX55" fmla="*/ 1716505 w 1816768"/>
                <a:gd name="connsiteY55" fmla="*/ 894347 h 1760621"/>
                <a:gd name="connsiteX56" fmla="*/ 1700463 w 1816768"/>
                <a:gd name="connsiteY56" fmla="*/ 798094 h 1760621"/>
                <a:gd name="connsiteX57" fmla="*/ 1816768 w 1816768"/>
                <a:gd name="connsiteY57" fmla="*/ 677779 h 1760621"/>
                <a:gd name="connsiteX58" fmla="*/ 1812758 w 1816768"/>
                <a:gd name="connsiteY58" fmla="*/ 577515 h 1760621"/>
                <a:gd name="connsiteX59" fmla="*/ 1816768 w 1816768"/>
                <a:gd name="connsiteY59" fmla="*/ 497305 h 1760621"/>
                <a:gd name="connsiteX60" fmla="*/ 1752600 w 1816768"/>
                <a:gd name="connsiteY60" fmla="*/ 449179 h 1760621"/>
                <a:gd name="connsiteX61" fmla="*/ 1656347 w 1816768"/>
                <a:gd name="connsiteY61" fmla="*/ 417094 h 1760621"/>
                <a:gd name="connsiteX62" fmla="*/ 1580147 w 1816768"/>
                <a:gd name="connsiteY62" fmla="*/ 429126 h 1760621"/>
                <a:gd name="connsiteX63" fmla="*/ 1524000 w 1816768"/>
                <a:gd name="connsiteY63" fmla="*/ 489284 h 1760621"/>
                <a:gd name="connsiteX64" fmla="*/ 1524000 w 1816768"/>
                <a:gd name="connsiteY64" fmla="*/ 537410 h 1760621"/>
                <a:gd name="connsiteX65" fmla="*/ 1536032 w 1816768"/>
                <a:gd name="connsiteY65" fmla="*/ 549442 h 1760621"/>
                <a:gd name="connsiteX66" fmla="*/ 1503947 w 1816768"/>
                <a:gd name="connsiteY66" fmla="*/ 557463 h 1760621"/>
                <a:gd name="connsiteX67" fmla="*/ 1483895 w 1816768"/>
                <a:gd name="connsiteY67" fmla="*/ 545431 h 1760621"/>
                <a:gd name="connsiteX68" fmla="*/ 1371600 w 1816768"/>
                <a:gd name="connsiteY68" fmla="*/ 697831 h 1760621"/>
                <a:gd name="connsiteX69" fmla="*/ 1395663 w 1816768"/>
                <a:gd name="connsiteY69" fmla="*/ 593558 h 1760621"/>
                <a:gd name="connsiteX70" fmla="*/ 1155032 w 1816768"/>
                <a:gd name="connsiteY70" fmla="*/ 605589 h 1760621"/>
                <a:gd name="connsiteX71" fmla="*/ 1471863 w 1816768"/>
                <a:gd name="connsiteY71" fmla="*/ 533400 h 1760621"/>
                <a:gd name="connsiteX72" fmla="*/ 1524000 w 1816768"/>
                <a:gd name="connsiteY72" fmla="*/ 376989 h 1760621"/>
                <a:gd name="connsiteX73" fmla="*/ 1447800 w 1816768"/>
                <a:gd name="connsiteY73" fmla="*/ 352926 h 1760621"/>
                <a:gd name="connsiteX74" fmla="*/ 1251284 w 1816768"/>
                <a:gd name="connsiteY74" fmla="*/ 372979 h 1760621"/>
                <a:gd name="connsiteX75" fmla="*/ 1207168 w 1816768"/>
                <a:gd name="connsiteY75" fmla="*/ 501315 h 1760621"/>
                <a:gd name="connsiteX76" fmla="*/ 1167063 w 1816768"/>
                <a:gd name="connsiteY76" fmla="*/ 485273 h 1760621"/>
                <a:gd name="connsiteX77" fmla="*/ 986589 w 1816768"/>
                <a:gd name="connsiteY77" fmla="*/ 577515 h 1760621"/>
                <a:gd name="connsiteX78" fmla="*/ 966537 w 1816768"/>
                <a:gd name="connsiteY78" fmla="*/ 697831 h 1760621"/>
                <a:gd name="connsiteX79" fmla="*/ 946484 w 1816768"/>
                <a:gd name="connsiteY79" fmla="*/ 625642 h 1760621"/>
                <a:gd name="connsiteX80" fmla="*/ 970547 w 1816768"/>
                <a:gd name="connsiteY80" fmla="*/ 561473 h 1760621"/>
                <a:gd name="connsiteX81" fmla="*/ 830179 w 1816768"/>
                <a:gd name="connsiteY81" fmla="*/ 601579 h 1760621"/>
                <a:gd name="connsiteX82" fmla="*/ 962526 w 1816768"/>
                <a:gd name="connsiteY82" fmla="*/ 537410 h 1760621"/>
                <a:gd name="connsiteX83" fmla="*/ 946484 w 1816768"/>
                <a:gd name="connsiteY83" fmla="*/ 469231 h 1760621"/>
                <a:gd name="connsiteX84" fmla="*/ 922421 w 1816768"/>
                <a:gd name="connsiteY84" fmla="*/ 449179 h 1760621"/>
                <a:gd name="connsiteX85" fmla="*/ 918410 w 1816768"/>
                <a:gd name="connsiteY85" fmla="*/ 397042 h 1760621"/>
                <a:gd name="connsiteX86" fmla="*/ 830179 w 1816768"/>
                <a:gd name="connsiteY86" fmla="*/ 356936 h 1760621"/>
                <a:gd name="connsiteX87" fmla="*/ 818147 w 1816768"/>
                <a:gd name="connsiteY87" fmla="*/ 252663 h 1760621"/>
                <a:gd name="connsiteX88" fmla="*/ 774032 w 1816768"/>
                <a:gd name="connsiteY88" fmla="*/ 224589 h 1760621"/>
                <a:gd name="connsiteX89" fmla="*/ 737937 w 1816768"/>
                <a:gd name="connsiteY89" fmla="*/ 164431 h 1760621"/>
                <a:gd name="connsiteX90" fmla="*/ 605589 w 1816768"/>
                <a:gd name="connsiteY90" fmla="*/ 116305 h 1760621"/>
                <a:gd name="connsiteX91" fmla="*/ 589547 w 1816768"/>
                <a:gd name="connsiteY91" fmla="*/ 12031 h 1760621"/>
                <a:gd name="connsiteX0" fmla="*/ 589547 w 1868906"/>
                <a:gd name="connsiteY0" fmla="*/ 12031 h 1760621"/>
                <a:gd name="connsiteX1" fmla="*/ 537410 w 1868906"/>
                <a:gd name="connsiteY1" fmla="*/ 0 h 1760621"/>
                <a:gd name="connsiteX2" fmla="*/ 477253 w 1868906"/>
                <a:gd name="connsiteY2" fmla="*/ 16042 h 1760621"/>
                <a:gd name="connsiteX3" fmla="*/ 437147 w 1868906"/>
                <a:gd name="connsiteY3" fmla="*/ 4010 h 1760621"/>
                <a:gd name="connsiteX4" fmla="*/ 449179 w 1868906"/>
                <a:gd name="connsiteY4" fmla="*/ 52136 h 1760621"/>
                <a:gd name="connsiteX5" fmla="*/ 429126 w 1868906"/>
                <a:gd name="connsiteY5" fmla="*/ 84221 h 1760621"/>
                <a:gd name="connsiteX6" fmla="*/ 344905 w 1868906"/>
                <a:gd name="connsiteY6" fmla="*/ 80210 h 1760621"/>
                <a:gd name="connsiteX7" fmla="*/ 316832 w 1868906"/>
                <a:gd name="connsiteY7" fmla="*/ 100263 h 1760621"/>
                <a:gd name="connsiteX8" fmla="*/ 268705 w 1868906"/>
                <a:gd name="connsiteY8" fmla="*/ 104273 h 1760621"/>
                <a:gd name="connsiteX9" fmla="*/ 216568 w 1868906"/>
                <a:gd name="connsiteY9" fmla="*/ 68179 h 1760621"/>
                <a:gd name="connsiteX10" fmla="*/ 204537 w 1868906"/>
                <a:gd name="connsiteY10" fmla="*/ 100263 h 1760621"/>
                <a:gd name="connsiteX11" fmla="*/ 128337 w 1868906"/>
                <a:gd name="connsiteY11" fmla="*/ 128336 h 1760621"/>
                <a:gd name="connsiteX12" fmla="*/ 100263 w 1868906"/>
                <a:gd name="connsiteY12" fmla="*/ 124326 h 1760621"/>
                <a:gd name="connsiteX13" fmla="*/ 60158 w 1868906"/>
                <a:gd name="connsiteY13" fmla="*/ 140368 h 1760621"/>
                <a:gd name="connsiteX14" fmla="*/ 68179 w 1868906"/>
                <a:gd name="connsiteY14" fmla="*/ 168442 h 1760621"/>
                <a:gd name="connsiteX15" fmla="*/ 44116 w 1868906"/>
                <a:gd name="connsiteY15" fmla="*/ 184484 h 1760621"/>
                <a:gd name="connsiteX16" fmla="*/ 0 w 1868906"/>
                <a:gd name="connsiteY16" fmla="*/ 176463 h 1760621"/>
                <a:gd name="connsiteX17" fmla="*/ 36095 w 1868906"/>
                <a:gd name="connsiteY17" fmla="*/ 429126 h 1760621"/>
                <a:gd name="connsiteX18" fmla="*/ 100263 w 1868906"/>
                <a:gd name="connsiteY18" fmla="*/ 485273 h 1760621"/>
                <a:gd name="connsiteX19" fmla="*/ 132347 w 1868906"/>
                <a:gd name="connsiteY19" fmla="*/ 573505 h 1760621"/>
                <a:gd name="connsiteX20" fmla="*/ 268705 w 1868906"/>
                <a:gd name="connsiteY20" fmla="*/ 589547 h 1760621"/>
                <a:gd name="connsiteX21" fmla="*/ 308810 w 1868906"/>
                <a:gd name="connsiteY21" fmla="*/ 633663 h 1760621"/>
                <a:gd name="connsiteX22" fmla="*/ 372979 w 1868906"/>
                <a:gd name="connsiteY22" fmla="*/ 601579 h 1760621"/>
                <a:gd name="connsiteX23" fmla="*/ 417095 w 1868906"/>
                <a:gd name="connsiteY23" fmla="*/ 597568 h 1760621"/>
                <a:gd name="connsiteX24" fmla="*/ 389021 w 1868906"/>
                <a:gd name="connsiteY24" fmla="*/ 593558 h 1760621"/>
                <a:gd name="connsiteX25" fmla="*/ 332874 w 1868906"/>
                <a:gd name="connsiteY25" fmla="*/ 589547 h 1760621"/>
                <a:gd name="connsiteX26" fmla="*/ 276726 w 1868906"/>
                <a:gd name="connsiteY26" fmla="*/ 561473 h 1760621"/>
                <a:gd name="connsiteX27" fmla="*/ 256674 w 1868906"/>
                <a:gd name="connsiteY27" fmla="*/ 521368 h 1760621"/>
                <a:gd name="connsiteX28" fmla="*/ 292768 w 1868906"/>
                <a:gd name="connsiteY28" fmla="*/ 553452 h 1760621"/>
                <a:gd name="connsiteX29" fmla="*/ 328863 w 1868906"/>
                <a:gd name="connsiteY29" fmla="*/ 541421 h 1760621"/>
                <a:gd name="connsiteX30" fmla="*/ 356937 w 1868906"/>
                <a:gd name="connsiteY30" fmla="*/ 569494 h 1760621"/>
                <a:gd name="connsiteX31" fmla="*/ 397042 w 1868906"/>
                <a:gd name="connsiteY31" fmla="*/ 569494 h 1760621"/>
                <a:gd name="connsiteX32" fmla="*/ 449179 w 1868906"/>
                <a:gd name="connsiteY32" fmla="*/ 549442 h 1760621"/>
                <a:gd name="connsiteX33" fmla="*/ 453189 w 1868906"/>
                <a:gd name="connsiteY33" fmla="*/ 597568 h 1760621"/>
                <a:gd name="connsiteX34" fmla="*/ 469232 w 1868906"/>
                <a:gd name="connsiteY34" fmla="*/ 613610 h 1760621"/>
                <a:gd name="connsiteX35" fmla="*/ 521368 w 1868906"/>
                <a:gd name="connsiteY35" fmla="*/ 617621 h 1760621"/>
                <a:gd name="connsiteX36" fmla="*/ 513347 w 1868906"/>
                <a:gd name="connsiteY36" fmla="*/ 637673 h 1760621"/>
                <a:gd name="connsiteX37" fmla="*/ 453189 w 1868906"/>
                <a:gd name="connsiteY37" fmla="*/ 637673 h 1760621"/>
                <a:gd name="connsiteX38" fmla="*/ 409074 w 1868906"/>
                <a:gd name="connsiteY38" fmla="*/ 629652 h 1760621"/>
                <a:gd name="connsiteX39" fmla="*/ 324853 w 1868906"/>
                <a:gd name="connsiteY39" fmla="*/ 725905 h 1760621"/>
                <a:gd name="connsiteX40" fmla="*/ 56147 w 1868906"/>
                <a:gd name="connsiteY40" fmla="*/ 1291389 h 1760621"/>
                <a:gd name="connsiteX41" fmla="*/ 108284 w 1868906"/>
                <a:gd name="connsiteY41" fmla="*/ 1471863 h 1760621"/>
                <a:gd name="connsiteX42" fmla="*/ 184484 w 1868906"/>
                <a:gd name="connsiteY42" fmla="*/ 1640305 h 1760621"/>
                <a:gd name="connsiteX43" fmla="*/ 284747 w 1868906"/>
                <a:gd name="connsiteY43" fmla="*/ 1740568 h 1760621"/>
                <a:gd name="connsiteX44" fmla="*/ 360947 w 1868906"/>
                <a:gd name="connsiteY44" fmla="*/ 1752600 h 1760621"/>
                <a:gd name="connsiteX45" fmla="*/ 1303421 w 1868906"/>
                <a:gd name="connsiteY45" fmla="*/ 1760621 h 1760621"/>
                <a:gd name="connsiteX46" fmla="*/ 1427747 w 1868906"/>
                <a:gd name="connsiteY46" fmla="*/ 1556084 h 1760621"/>
                <a:gd name="connsiteX47" fmla="*/ 1407695 w 1868906"/>
                <a:gd name="connsiteY47" fmla="*/ 1499936 h 1760621"/>
                <a:gd name="connsiteX48" fmla="*/ 1431758 w 1868906"/>
                <a:gd name="connsiteY48" fmla="*/ 1403684 h 1760621"/>
                <a:gd name="connsiteX49" fmla="*/ 1407695 w 1868906"/>
                <a:gd name="connsiteY49" fmla="*/ 1359568 h 1760621"/>
                <a:gd name="connsiteX50" fmla="*/ 1511968 w 1868906"/>
                <a:gd name="connsiteY50" fmla="*/ 1323473 h 1760621"/>
                <a:gd name="connsiteX51" fmla="*/ 1544053 w 1868906"/>
                <a:gd name="connsiteY51" fmla="*/ 1187115 h 1760621"/>
                <a:gd name="connsiteX52" fmla="*/ 1487905 w 1868906"/>
                <a:gd name="connsiteY52" fmla="*/ 1143000 h 1760621"/>
                <a:gd name="connsiteX53" fmla="*/ 1495926 w 1868906"/>
                <a:gd name="connsiteY53" fmla="*/ 1082842 h 1760621"/>
                <a:gd name="connsiteX54" fmla="*/ 1592179 w 1868906"/>
                <a:gd name="connsiteY54" fmla="*/ 1050758 h 1760621"/>
                <a:gd name="connsiteX55" fmla="*/ 1716505 w 1868906"/>
                <a:gd name="connsiteY55" fmla="*/ 894347 h 1760621"/>
                <a:gd name="connsiteX56" fmla="*/ 1700463 w 1868906"/>
                <a:gd name="connsiteY56" fmla="*/ 798094 h 1760621"/>
                <a:gd name="connsiteX57" fmla="*/ 1816768 w 1868906"/>
                <a:gd name="connsiteY57" fmla="*/ 677779 h 1760621"/>
                <a:gd name="connsiteX58" fmla="*/ 1868906 w 1868906"/>
                <a:gd name="connsiteY58" fmla="*/ 521368 h 1760621"/>
                <a:gd name="connsiteX59" fmla="*/ 1816768 w 1868906"/>
                <a:gd name="connsiteY59" fmla="*/ 497305 h 1760621"/>
                <a:gd name="connsiteX60" fmla="*/ 1752600 w 1868906"/>
                <a:gd name="connsiteY60" fmla="*/ 449179 h 1760621"/>
                <a:gd name="connsiteX61" fmla="*/ 1656347 w 1868906"/>
                <a:gd name="connsiteY61" fmla="*/ 417094 h 1760621"/>
                <a:gd name="connsiteX62" fmla="*/ 1580147 w 1868906"/>
                <a:gd name="connsiteY62" fmla="*/ 429126 h 1760621"/>
                <a:gd name="connsiteX63" fmla="*/ 1524000 w 1868906"/>
                <a:gd name="connsiteY63" fmla="*/ 489284 h 1760621"/>
                <a:gd name="connsiteX64" fmla="*/ 1524000 w 1868906"/>
                <a:gd name="connsiteY64" fmla="*/ 537410 h 1760621"/>
                <a:gd name="connsiteX65" fmla="*/ 1536032 w 1868906"/>
                <a:gd name="connsiteY65" fmla="*/ 549442 h 1760621"/>
                <a:gd name="connsiteX66" fmla="*/ 1503947 w 1868906"/>
                <a:gd name="connsiteY66" fmla="*/ 557463 h 1760621"/>
                <a:gd name="connsiteX67" fmla="*/ 1483895 w 1868906"/>
                <a:gd name="connsiteY67" fmla="*/ 545431 h 1760621"/>
                <a:gd name="connsiteX68" fmla="*/ 1371600 w 1868906"/>
                <a:gd name="connsiteY68" fmla="*/ 697831 h 1760621"/>
                <a:gd name="connsiteX69" fmla="*/ 1395663 w 1868906"/>
                <a:gd name="connsiteY69" fmla="*/ 593558 h 1760621"/>
                <a:gd name="connsiteX70" fmla="*/ 1155032 w 1868906"/>
                <a:gd name="connsiteY70" fmla="*/ 605589 h 1760621"/>
                <a:gd name="connsiteX71" fmla="*/ 1471863 w 1868906"/>
                <a:gd name="connsiteY71" fmla="*/ 533400 h 1760621"/>
                <a:gd name="connsiteX72" fmla="*/ 1524000 w 1868906"/>
                <a:gd name="connsiteY72" fmla="*/ 376989 h 1760621"/>
                <a:gd name="connsiteX73" fmla="*/ 1447800 w 1868906"/>
                <a:gd name="connsiteY73" fmla="*/ 352926 h 1760621"/>
                <a:gd name="connsiteX74" fmla="*/ 1251284 w 1868906"/>
                <a:gd name="connsiteY74" fmla="*/ 372979 h 1760621"/>
                <a:gd name="connsiteX75" fmla="*/ 1207168 w 1868906"/>
                <a:gd name="connsiteY75" fmla="*/ 501315 h 1760621"/>
                <a:gd name="connsiteX76" fmla="*/ 1167063 w 1868906"/>
                <a:gd name="connsiteY76" fmla="*/ 485273 h 1760621"/>
                <a:gd name="connsiteX77" fmla="*/ 986589 w 1868906"/>
                <a:gd name="connsiteY77" fmla="*/ 577515 h 1760621"/>
                <a:gd name="connsiteX78" fmla="*/ 966537 w 1868906"/>
                <a:gd name="connsiteY78" fmla="*/ 697831 h 1760621"/>
                <a:gd name="connsiteX79" fmla="*/ 946484 w 1868906"/>
                <a:gd name="connsiteY79" fmla="*/ 625642 h 1760621"/>
                <a:gd name="connsiteX80" fmla="*/ 970547 w 1868906"/>
                <a:gd name="connsiteY80" fmla="*/ 561473 h 1760621"/>
                <a:gd name="connsiteX81" fmla="*/ 830179 w 1868906"/>
                <a:gd name="connsiteY81" fmla="*/ 601579 h 1760621"/>
                <a:gd name="connsiteX82" fmla="*/ 962526 w 1868906"/>
                <a:gd name="connsiteY82" fmla="*/ 537410 h 1760621"/>
                <a:gd name="connsiteX83" fmla="*/ 946484 w 1868906"/>
                <a:gd name="connsiteY83" fmla="*/ 469231 h 1760621"/>
                <a:gd name="connsiteX84" fmla="*/ 922421 w 1868906"/>
                <a:gd name="connsiteY84" fmla="*/ 449179 h 1760621"/>
                <a:gd name="connsiteX85" fmla="*/ 918410 w 1868906"/>
                <a:gd name="connsiteY85" fmla="*/ 397042 h 1760621"/>
                <a:gd name="connsiteX86" fmla="*/ 830179 w 1868906"/>
                <a:gd name="connsiteY86" fmla="*/ 356936 h 1760621"/>
                <a:gd name="connsiteX87" fmla="*/ 818147 w 1868906"/>
                <a:gd name="connsiteY87" fmla="*/ 252663 h 1760621"/>
                <a:gd name="connsiteX88" fmla="*/ 774032 w 1868906"/>
                <a:gd name="connsiteY88" fmla="*/ 224589 h 1760621"/>
                <a:gd name="connsiteX89" fmla="*/ 737937 w 1868906"/>
                <a:gd name="connsiteY89" fmla="*/ 164431 h 1760621"/>
                <a:gd name="connsiteX90" fmla="*/ 605589 w 1868906"/>
                <a:gd name="connsiteY90" fmla="*/ 116305 h 1760621"/>
                <a:gd name="connsiteX91" fmla="*/ 589547 w 1868906"/>
                <a:gd name="connsiteY91" fmla="*/ 12031 h 1760621"/>
                <a:gd name="connsiteX0" fmla="*/ 589547 w 1868906"/>
                <a:gd name="connsiteY0" fmla="*/ 12031 h 1760621"/>
                <a:gd name="connsiteX1" fmla="*/ 537410 w 1868906"/>
                <a:gd name="connsiteY1" fmla="*/ 0 h 1760621"/>
                <a:gd name="connsiteX2" fmla="*/ 477253 w 1868906"/>
                <a:gd name="connsiteY2" fmla="*/ 16042 h 1760621"/>
                <a:gd name="connsiteX3" fmla="*/ 437147 w 1868906"/>
                <a:gd name="connsiteY3" fmla="*/ 4010 h 1760621"/>
                <a:gd name="connsiteX4" fmla="*/ 449179 w 1868906"/>
                <a:gd name="connsiteY4" fmla="*/ 52136 h 1760621"/>
                <a:gd name="connsiteX5" fmla="*/ 429126 w 1868906"/>
                <a:gd name="connsiteY5" fmla="*/ 84221 h 1760621"/>
                <a:gd name="connsiteX6" fmla="*/ 344905 w 1868906"/>
                <a:gd name="connsiteY6" fmla="*/ 80210 h 1760621"/>
                <a:gd name="connsiteX7" fmla="*/ 316832 w 1868906"/>
                <a:gd name="connsiteY7" fmla="*/ 100263 h 1760621"/>
                <a:gd name="connsiteX8" fmla="*/ 268705 w 1868906"/>
                <a:gd name="connsiteY8" fmla="*/ 104273 h 1760621"/>
                <a:gd name="connsiteX9" fmla="*/ 216568 w 1868906"/>
                <a:gd name="connsiteY9" fmla="*/ 68179 h 1760621"/>
                <a:gd name="connsiteX10" fmla="*/ 204537 w 1868906"/>
                <a:gd name="connsiteY10" fmla="*/ 100263 h 1760621"/>
                <a:gd name="connsiteX11" fmla="*/ 128337 w 1868906"/>
                <a:gd name="connsiteY11" fmla="*/ 128336 h 1760621"/>
                <a:gd name="connsiteX12" fmla="*/ 100263 w 1868906"/>
                <a:gd name="connsiteY12" fmla="*/ 124326 h 1760621"/>
                <a:gd name="connsiteX13" fmla="*/ 60158 w 1868906"/>
                <a:gd name="connsiteY13" fmla="*/ 140368 h 1760621"/>
                <a:gd name="connsiteX14" fmla="*/ 68179 w 1868906"/>
                <a:gd name="connsiteY14" fmla="*/ 168442 h 1760621"/>
                <a:gd name="connsiteX15" fmla="*/ 44116 w 1868906"/>
                <a:gd name="connsiteY15" fmla="*/ 184484 h 1760621"/>
                <a:gd name="connsiteX16" fmla="*/ 0 w 1868906"/>
                <a:gd name="connsiteY16" fmla="*/ 176463 h 1760621"/>
                <a:gd name="connsiteX17" fmla="*/ 36095 w 1868906"/>
                <a:gd name="connsiteY17" fmla="*/ 429126 h 1760621"/>
                <a:gd name="connsiteX18" fmla="*/ 100263 w 1868906"/>
                <a:gd name="connsiteY18" fmla="*/ 485273 h 1760621"/>
                <a:gd name="connsiteX19" fmla="*/ 132347 w 1868906"/>
                <a:gd name="connsiteY19" fmla="*/ 573505 h 1760621"/>
                <a:gd name="connsiteX20" fmla="*/ 268705 w 1868906"/>
                <a:gd name="connsiteY20" fmla="*/ 589547 h 1760621"/>
                <a:gd name="connsiteX21" fmla="*/ 308810 w 1868906"/>
                <a:gd name="connsiteY21" fmla="*/ 633663 h 1760621"/>
                <a:gd name="connsiteX22" fmla="*/ 372979 w 1868906"/>
                <a:gd name="connsiteY22" fmla="*/ 601579 h 1760621"/>
                <a:gd name="connsiteX23" fmla="*/ 417095 w 1868906"/>
                <a:gd name="connsiteY23" fmla="*/ 597568 h 1760621"/>
                <a:gd name="connsiteX24" fmla="*/ 389021 w 1868906"/>
                <a:gd name="connsiteY24" fmla="*/ 593558 h 1760621"/>
                <a:gd name="connsiteX25" fmla="*/ 332874 w 1868906"/>
                <a:gd name="connsiteY25" fmla="*/ 589547 h 1760621"/>
                <a:gd name="connsiteX26" fmla="*/ 276726 w 1868906"/>
                <a:gd name="connsiteY26" fmla="*/ 561473 h 1760621"/>
                <a:gd name="connsiteX27" fmla="*/ 256674 w 1868906"/>
                <a:gd name="connsiteY27" fmla="*/ 521368 h 1760621"/>
                <a:gd name="connsiteX28" fmla="*/ 292768 w 1868906"/>
                <a:gd name="connsiteY28" fmla="*/ 553452 h 1760621"/>
                <a:gd name="connsiteX29" fmla="*/ 328863 w 1868906"/>
                <a:gd name="connsiteY29" fmla="*/ 541421 h 1760621"/>
                <a:gd name="connsiteX30" fmla="*/ 356937 w 1868906"/>
                <a:gd name="connsiteY30" fmla="*/ 569494 h 1760621"/>
                <a:gd name="connsiteX31" fmla="*/ 397042 w 1868906"/>
                <a:gd name="connsiteY31" fmla="*/ 569494 h 1760621"/>
                <a:gd name="connsiteX32" fmla="*/ 449179 w 1868906"/>
                <a:gd name="connsiteY32" fmla="*/ 549442 h 1760621"/>
                <a:gd name="connsiteX33" fmla="*/ 453189 w 1868906"/>
                <a:gd name="connsiteY33" fmla="*/ 597568 h 1760621"/>
                <a:gd name="connsiteX34" fmla="*/ 469232 w 1868906"/>
                <a:gd name="connsiteY34" fmla="*/ 613610 h 1760621"/>
                <a:gd name="connsiteX35" fmla="*/ 521368 w 1868906"/>
                <a:gd name="connsiteY35" fmla="*/ 617621 h 1760621"/>
                <a:gd name="connsiteX36" fmla="*/ 513347 w 1868906"/>
                <a:gd name="connsiteY36" fmla="*/ 637673 h 1760621"/>
                <a:gd name="connsiteX37" fmla="*/ 453189 w 1868906"/>
                <a:gd name="connsiteY37" fmla="*/ 637673 h 1760621"/>
                <a:gd name="connsiteX38" fmla="*/ 409074 w 1868906"/>
                <a:gd name="connsiteY38" fmla="*/ 629652 h 1760621"/>
                <a:gd name="connsiteX39" fmla="*/ 324853 w 1868906"/>
                <a:gd name="connsiteY39" fmla="*/ 725905 h 1760621"/>
                <a:gd name="connsiteX40" fmla="*/ 56147 w 1868906"/>
                <a:gd name="connsiteY40" fmla="*/ 1291389 h 1760621"/>
                <a:gd name="connsiteX41" fmla="*/ 108284 w 1868906"/>
                <a:gd name="connsiteY41" fmla="*/ 1471863 h 1760621"/>
                <a:gd name="connsiteX42" fmla="*/ 184484 w 1868906"/>
                <a:gd name="connsiteY42" fmla="*/ 1640305 h 1760621"/>
                <a:gd name="connsiteX43" fmla="*/ 284747 w 1868906"/>
                <a:gd name="connsiteY43" fmla="*/ 1740568 h 1760621"/>
                <a:gd name="connsiteX44" fmla="*/ 360947 w 1868906"/>
                <a:gd name="connsiteY44" fmla="*/ 1752600 h 1760621"/>
                <a:gd name="connsiteX45" fmla="*/ 1303421 w 1868906"/>
                <a:gd name="connsiteY45" fmla="*/ 1760621 h 1760621"/>
                <a:gd name="connsiteX46" fmla="*/ 1427747 w 1868906"/>
                <a:gd name="connsiteY46" fmla="*/ 1556084 h 1760621"/>
                <a:gd name="connsiteX47" fmla="*/ 1407695 w 1868906"/>
                <a:gd name="connsiteY47" fmla="*/ 1499936 h 1760621"/>
                <a:gd name="connsiteX48" fmla="*/ 1431758 w 1868906"/>
                <a:gd name="connsiteY48" fmla="*/ 1403684 h 1760621"/>
                <a:gd name="connsiteX49" fmla="*/ 1407695 w 1868906"/>
                <a:gd name="connsiteY49" fmla="*/ 1359568 h 1760621"/>
                <a:gd name="connsiteX50" fmla="*/ 1511968 w 1868906"/>
                <a:gd name="connsiteY50" fmla="*/ 1323473 h 1760621"/>
                <a:gd name="connsiteX51" fmla="*/ 1544053 w 1868906"/>
                <a:gd name="connsiteY51" fmla="*/ 1187115 h 1760621"/>
                <a:gd name="connsiteX52" fmla="*/ 1487905 w 1868906"/>
                <a:gd name="connsiteY52" fmla="*/ 1143000 h 1760621"/>
                <a:gd name="connsiteX53" fmla="*/ 1495926 w 1868906"/>
                <a:gd name="connsiteY53" fmla="*/ 1082842 h 1760621"/>
                <a:gd name="connsiteX54" fmla="*/ 1592179 w 1868906"/>
                <a:gd name="connsiteY54" fmla="*/ 1050758 h 1760621"/>
                <a:gd name="connsiteX55" fmla="*/ 1716505 w 1868906"/>
                <a:gd name="connsiteY55" fmla="*/ 894347 h 1760621"/>
                <a:gd name="connsiteX56" fmla="*/ 1700463 w 1868906"/>
                <a:gd name="connsiteY56" fmla="*/ 798094 h 1760621"/>
                <a:gd name="connsiteX57" fmla="*/ 1816768 w 1868906"/>
                <a:gd name="connsiteY57" fmla="*/ 677779 h 1760621"/>
                <a:gd name="connsiteX58" fmla="*/ 1868906 w 1868906"/>
                <a:gd name="connsiteY58" fmla="*/ 521368 h 1760621"/>
                <a:gd name="connsiteX59" fmla="*/ 1822100 w 1868906"/>
                <a:gd name="connsiteY59" fmla="*/ 481309 h 1760621"/>
                <a:gd name="connsiteX60" fmla="*/ 1752600 w 1868906"/>
                <a:gd name="connsiteY60" fmla="*/ 449179 h 1760621"/>
                <a:gd name="connsiteX61" fmla="*/ 1656347 w 1868906"/>
                <a:gd name="connsiteY61" fmla="*/ 417094 h 1760621"/>
                <a:gd name="connsiteX62" fmla="*/ 1580147 w 1868906"/>
                <a:gd name="connsiteY62" fmla="*/ 429126 h 1760621"/>
                <a:gd name="connsiteX63" fmla="*/ 1524000 w 1868906"/>
                <a:gd name="connsiteY63" fmla="*/ 489284 h 1760621"/>
                <a:gd name="connsiteX64" fmla="*/ 1524000 w 1868906"/>
                <a:gd name="connsiteY64" fmla="*/ 537410 h 1760621"/>
                <a:gd name="connsiteX65" fmla="*/ 1536032 w 1868906"/>
                <a:gd name="connsiteY65" fmla="*/ 549442 h 1760621"/>
                <a:gd name="connsiteX66" fmla="*/ 1503947 w 1868906"/>
                <a:gd name="connsiteY66" fmla="*/ 557463 h 1760621"/>
                <a:gd name="connsiteX67" fmla="*/ 1483895 w 1868906"/>
                <a:gd name="connsiteY67" fmla="*/ 545431 h 1760621"/>
                <a:gd name="connsiteX68" fmla="*/ 1371600 w 1868906"/>
                <a:gd name="connsiteY68" fmla="*/ 697831 h 1760621"/>
                <a:gd name="connsiteX69" fmla="*/ 1395663 w 1868906"/>
                <a:gd name="connsiteY69" fmla="*/ 593558 h 1760621"/>
                <a:gd name="connsiteX70" fmla="*/ 1155032 w 1868906"/>
                <a:gd name="connsiteY70" fmla="*/ 605589 h 1760621"/>
                <a:gd name="connsiteX71" fmla="*/ 1471863 w 1868906"/>
                <a:gd name="connsiteY71" fmla="*/ 533400 h 1760621"/>
                <a:gd name="connsiteX72" fmla="*/ 1524000 w 1868906"/>
                <a:gd name="connsiteY72" fmla="*/ 376989 h 1760621"/>
                <a:gd name="connsiteX73" fmla="*/ 1447800 w 1868906"/>
                <a:gd name="connsiteY73" fmla="*/ 352926 h 1760621"/>
                <a:gd name="connsiteX74" fmla="*/ 1251284 w 1868906"/>
                <a:gd name="connsiteY74" fmla="*/ 372979 h 1760621"/>
                <a:gd name="connsiteX75" fmla="*/ 1207168 w 1868906"/>
                <a:gd name="connsiteY75" fmla="*/ 501315 h 1760621"/>
                <a:gd name="connsiteX76" fmla="*/ 1167063 w 1868906"/>
                <a:gd name="connsiteY76" fmla="*/ 485273 h 1760621"/>
                <a:gd name="connsiteX77" fmla="*/ 986589 w 1868906"/>
                <a:gd name="connsiteY77" fmla="*/ 577515 h 1760621"/>
                <a:gd name="connsiteX78" fmla="*/ 966537 w 1868906"/>
                <a:gd name="connsiteY78" fmla="*/ 697831 h 1760621"/>
                <a:gd name="connsiteX79" fmla="*/ 946484 w 1868906"/>
                <a:gd name="connsiteY79" fmla="*/ 625642 h 1760621"/>
                <a:gd name="connsiteX80" fmla="*/ 970547 w 1868906"/>
                <a:gd name="connsiteY80" fmla="*/ 561473 h 1760621"/>
                <a:gd name="connsiteX81" fmla="*/ 830179 w 1868906"/>
                <a:gd name="connsiteY81" fmla="*/ 601579 h 1760621"/>
                <a:gd name="connsiteX82" fmla="*/ 962526 w 1868906"/>
                <a:gd name="connsiteY82" fmla="*/ 537410 h 1760621"/>
                <a:gd name="connsiteX83" fmla="*/ 946484 w 1868906"/>
                <a:gd name="connsiteY83" fmla="*/ 469231 h 1760621"/>
                <a:gd name="connsiteX84" fmla="*/ 922421 w 1868906"/>
                <a:gd name="connsiteY84" fmla="*/ 449179 h 1760621"/>
                <a:gd name="connsiteX85" fmla="*/ 918410 w 1868906"/>
                <a:gd name="connsiteY85" fmla="*/ 397042 h 1760621"/>
                <a:gd name="connsiteX86" fmla="*/ 830179 w 1868906"/>
                <a:gd name="connsiteY86" fmla="*/ 356936 h 1760621"/>
                <a:gd name="connsiteX87" fmla="*/ 818147 w 1868906"/>
                <a:gd name="connsiteY87" fmla="*/ 252663 h 1760621"/>
                <a:gd name="connsiteX88" fmla="*/ 774032 w 1868906"/>
                <a:gd name="connsiteY88" fmla="*/ 224589 h 1760621"/>
                <a:gd name="connsiteX89" fmla="*/ 737937 w 1868906"/>
                <a:gd name="connsiteY89" fmla="*/ 164431 h 1760621"/>
                <a:gd name="connsiteX90" fmla="*/ 605589 w 1868906"/>
                <a:gd name="connsiteY90" fmla="*/ 116305 h 1760621"/>
                <a:gd name="connsiteX91" fmla="*/ 589547 w 1868906"/>
                <a:gd name="connsiteY91" fmla="*/ 12031 h 1760621"/>
                <a:gd name="connsiteX0" fmla="*/ 589547 w 1868906"/>
                <a:gd name="connsiteY0" fmla="*/ 12031 h 1760621"/>
                <a:gd name="connsiteX1" fmla="*/ 537410 w 1868906"/>
                <a:gd name="connsiteY1" fmla="*/ 0 h 1760621"/>
                <a:gd name="connsiteX2" fmla="*/ 477253 w 1868906"/>
                <a:gd name="connsiteY2" fmla="*/ 16042 h 1760621"/>
                <a:gd name="connsiteX3" fmla="*/ 437147 w 1868906"/>
                <a:gd name="connsiteY3" fmla="*/ 4010 h 1760621"/>
                <a:gd name="connsiteX4" fmla="*/ 449179 w 1868906"/>
                <a:gd name="connsiteY4" fmla="*/ 52136 h 1760621"/>
                <a:gd name="connsiteX5" fmla="*/ 429126 w 1868906"/>
                <a:gd name="connsiteY5" fmla="*/ 84221 h 1760621"/>
                <a:gd name="connsiteX6" fmla="*/ 344905 w 1868906"/>
                <a:gd name="connsiteY6" fmla="*/ 80210 h 1760621"/>
                <a:gd name="connsiteX7" fmla="*/ 316832 w 1868906"/>
                <a:gd name="connsiteY7" fmla="*/ 100263 h 1760621"/>
                <a:gd name="connsiteX8" fmla="*/ 268705 w 1868906"/>
                <a:gd name="connsiteY8" fmla="*/ 104273 h 1760621"/>
                <a:gd name="connsiteX9" fmla="*/ 216568 w 1868906"/>
                <a:gd name="connsiteY9" fmla="*/ 68179 h 1760621"/>
                <a:gd name="connsiteX10" fmla="*/ 204537 w 1868906"/>
                <a:gd name="connsiteY10" fmla="*/ 100263 h 1760621"/>
                <a:gd name="connsiteX11" fmla="*/ 128337 w 1868906"/>
                <a:gd name="connsiteY11" fmla="*/ 128336 h 1760621"/>
                <a:gd name="connsiteX12" fmla="*/ 100263 w 1868906"/>
                <a:gd name="connsiteY12" fmla="*/ 124326 h 1760621"/>
                <a:gd name="connsiteX13" fmla="*/ 60158 w 1868906"/>
                <a:gd name="connsiteY13" fmla="*/ 140368 h 1760621"/>
                <a:gd name="connsiteX14" fmla="*/ 68179 w 1868906"/>
                <a:gd name="connsiteY14" fmla="*/ 168442 h 1760621"/>
                <a:gd name="connsiteX15" fmla="*/ 44116 w 1868906"/>
                <a:gd name="connsiteY15" fmla="*/ 184484 h 1760621"/>
                <a:gd name="connsiteX16" fmla="*/ 0 w 1868906"/>
                <a:gd name="connsiteY16" fmla="*/ 176463 h 1760621"/>
                <a:gd name="connsiteX17" fmla="*/ 36095 w 1868906"/>
                <a:gd name="connsiteY17" fmla="*/ 429126 h 1760621"/>
                <a:gd name="connsiteX18" fmla="*/ 100263 w 1868906"/>
                <a:gd name="connsiteY18" fmla="*/ 485273 h 1760621"/>
                <a:gd name="connsiteX19" fmla="*/ 132347 w 1868906"/>
                <a:gd name="connsiteY19" fmla="*/ 573505 h 1760621"/>
                <a:gd name="connsiteX20" fmla="*/ 268705 w 1868906"/>
                <a:gd name="connsiteY20" fmla="*/ 589547 h 1760621"/>
                <a:gd name="connsiteX21" fmla="*/ 308810 w 1868906"/>
                <a:gd name="connsiteY21" fmla="*/ 633663 h 1760621"/>
                <a:gd name="connsiteX22" fmla="*/ 372979 w 1868906"/>
                <a:gd name="connsiteY22" fmla="*/ 601579 h 1760621"/>
                <a:gd name="connsiteX23" fmla="*/ 417095 w 1868906"/>
                <a:gd name="connsiteY23" fmla="*/ 597568 h 1760621"/>
                <a:gd name="connsiteX24" fmla="*/ 389021 w 1868906"/>
                <a:gd name="connsiteY24" fmla="*/ 593558 h 1760621"/>
                <a:gd name="connsiteX25" fmla="*/ 332874 w 1868906"/>
                <a:gd name="connsiteY25" fmla="*/ 589547 h 1760621"/>
                <a:gd name="connsiteX26" fmla="*/ 276726 w 1868906"/>
                <a:gd name="connsiteY26" fmla="*/ 561473 h 1760621"/>
                <a:gd name="connsiteX27" fmla="*/ 256674 w 1868906"/>
                <a:gd name="connsiteY27" fmla="*/ 521368 h 1760621"/>
                <a:gd name="connsiteX28" fmla="*/ 292768 w 1868906"/>
                <a:gd name="connsiteY28" fmla="*/ 553452 h 1760621"/>
                <a:gd name="connsiteX29" fmla="*/ 328863 w 1868906"/>
                <a:gd name="connsiteY29" fmla="*/ 541421 h 1760621"/>
                <a:gd name="connsiteX30" fmla="*/ 356937 w 1868906"/>
                <a:gd name="connsiteY30" fmla="*/ 569494 h 1760621"/>
                <a:gd name="connsiteX31" fmla="*/ 397042 w 1868906"/>
                <a:gd name="connsiteY31" fmla="*/ 569494 h 1760621"/>
                <a:gd name="connsiteX32" fmla="*/ 449179 w 1868906"/>
                <a:gd name="connsiteY32" fmla="*/ 549442 h 1760621"/>
                <a:gd name="connsiteX33" fmla="*/ 453189 w 1868906"/>
                <a:gd name="connsiteY33" fmla="*/ 597568 h 1760621"/>
                <a:gd name="connsiteX34" fmla="*/ 469232 w 1868906"/>
                <a:gd name="connsiteY34" fmla="*/ 613610 h 1760621"/>
                <a:gd name="connsiteX35" fmla="*/ 521368 w 1868906"/>
                <a:gd name="connsiteY35" fmla="*/ 617621 h 1760621"/>
                <a:gd name="connsiteX36" fmla="*/ 513347 w 1868906"/>
                <a:gd name="connsiteY36" fmla="*/ 637673 h 1760621"/>
                <a:gd name="connsiteX37" fmla="*/ 453189 w 1868906"/>
                <a:gd name="connsiteY37" fmla="*/ 637673 h 1760621"/>
                <a:gd name="connsiteX38" fmla="*/ 409074 w 1868906"/>
                <a:gd name="connsiteY38" fmla="*/ 629652 h 1760621"/>
                <a:gd name="connsiteX39" fmla="*/ 324853 w 1868906"/>
                <a:gd name="connsiteY39" fmla="*/ 725905 h 1760621"/>
                <a:gd name="connsiteX40" fmla="*/ 56147 w 1868906"/>
                <a:gd name="connsiteY40" fmla="*/ 1291389 h 1760621"/>
                <a:gd name="connsiteX41" fmla="*/ 108284 w 1868906"/>
                <a:gd name="connsiteY41" fmla="*/ 1471863 h 1760621"/>
                <a:gd name="connsiteX42" fmla="*/ 184484 w 1868906"/>
                <a:gd name="connsiteY42" fmla="*/ 1640305 h 1760621"/>
                <a:gd name="connsiteX43" fmla="*/ 284747 w 1868906"/>
                <a:gd name="connsiteY43" fmla="*/ 1740568 h 1760621"/>
                <a:gd name="connsiteX44" fmla="*/ 360947 w 1868906"/>
                <a:gd name="connsiteY44" fmla="*/ 1752600 h 1760621"/>
                <a:gd name="connsiteX45" fmla="*/ 1303421 w 1868906"/>
                <a:gd name="connsiteY45" fmla="*/ 1760621 h 1760621"/>
                <a:gd name="connsiteX46" fmla="*/ 1427747 w 1868906"/>
                <a:gd name="connsiteY46" fmla="*/ 1556084 h 1760621"/>
                <a:gd name="connsiteX47" fmla="*/ 1407695 w 1868906"/>
                <a:gd name="connsiteY47" fmla="*/ 1499936 h 1760621"/>
                <a:gd name="connsiteX48" fmla="*/ 1431758 w 1868906"/>
                <a:gd name="connsiteY48" fmla="*/ 1403684 h 1760621"/>
                <a:gd name="connsiteX49" fmla="*/ 1407695 w 1868906"/>
                <a:gd name="connsiteY49" fmla="*/ 1359568 h 1760621"/>
                <a:gd name="connsiteX50" fmla="*/ 1511968 w 1868906"/>
                <a:gd name="connsiteY50" fmla="*/ 1323473 h 1760621"/>
                <a:gd name="connsiteX51" fmla="*/ 1544053 w 1868906"/>
                <a:gd name="connsiteY51" fmla="*/ 1187115 h 1760621"/>
                <a:gd name="connsiteX52" fmla="*/ 1487905 w 1868906"/>
                <a:gd name="connsiteY52" fmla="*/ 1143000 h 1760621"/>
                <a:gd name="connsiteX53" fmla="*/ 1495926 w 1868906"/>
                <a:gd name="connsiteY53" fmla="*/ 1082842 h 1760621"/>
                <a:gd name="connsiteX54" fmla="*/ 1592179 w 1868906"/>
                <a:gd name="connsiteY54" fmla="*/ 1050758 h 1760621"/>
                <a:gd name="connsiteX55" fmla="*/ 1716505 w 1868906"/>
                <a:gd name="connsiteY55" fmla="*/ 894347 h 1760621"/>
                <a:gd name="connsiteX56" fmla="*/ 1700463 w 1868906"/>
                <a:gd name="connsiteY56" fmla="*/ 798094 h 1760621"/>
                <a:gd name="connsiteX57" fmla="*/ 1816768 w 1868906"/>
                <a:gd name="connsiteY57" fmla="*/ 677779 h 1760621"/>
                <a:gd name="connsiteX58" fmla="*/ 1868906 w 1868906"/>
                <a:gd name="connsiteY58" fmla="*/ 521368 h 1760621"/>
                <a:gd name="connsiteX59" fmla="*/ 1822100 w 1868906"/>
                <a:gd name="connsiteY59" fmla="*/ 481309 h 1760621"/>
                <a:gd name="connsiteX60" fmla="*/ 1843930 w 1868906"/>
                <a:gd name="connsiteY60" fmla="*/ 501350 h 1760621"/>
                <a:gd name="connsiteX61" fmla="*/ 1752600 w 1868906"/>
                <a:gd name="connsiteY61" fmla="*/ 449179 h 1760621"/>
                <a:gd name="connsiteX62" fmla="*/ 1656347 w 1868906"/>
                <a:gd name="connsiteY62" fmla="*/ 417094 h 1760621"/>
                <a:gd name="connsiteX63" fmla="*/ 1580147 w 1868906"/>
                <a:gd name="connsiteY63" fmla="*/ 429126 h 1760621"/>
                <a:gd name="connsiteX64" fmla="*/ 1524000 w 1868906"/>
                <a:gd name="connsiteY64" fmla="*/ 489284 h 1760621"/>
                <a:gd name="connsiteX65" fmla="*/ 1524000 w 1868906"/>
                <a:gd name="connsiteY65" fmla="*/ 537410 h 1760621"/>
                <a:gd name="connsiteX66" fmla="*/ 1536032 w 1868906"/>
                <a:gd name="connsiteY66" fmla="*/ 549442 h 1760621"/>
                <a:gd name="connsiteX67" fmla="*/ 1503947 w 1868906"/>
                <a:gd name="connsiteY67" fmla="*/ 557463 h 1760621"/>
                <a:gd name="connsiteX68" fmla="*/ 1483895 w 1868906"/>
                <a:gd name="connsiteY68" fmla="*/ 545431 h 1760621"/>
                <a:gd name="connsiteX69" fmla="*/ 1371600 w 1868906"/>
                <a:gd name="connsiteY69" fmla="*/ 697831 h 1760621"/>
                <a:gd name="connsiteX70" fmla="*/ 1395663 w 1868906"/>
                <a:gd name="connsiteY70" fmla="*/ 593558 h 1760621"/>
                <a:gd name="connsiteX71" fmla="*/ 1155032 w 1868906"/>
                <a:gd name="connsiteY71" fmla="*/ 605589 h 1760621"/>
                <a:gd name="connsiteX72" fmla="*/ 1471863 w 1868906"/>
                <a:gd name="connsiteY72" fmla="*/ 533400 h 1760621"/>
                <a:gd name="connsiteX73" fmla="*/ 1524000 w 1868906"/>
                <a:gd name="connsiteY73" fmla="*/ 376989 h 1760621"/>
                <a:gd name="connsiteX74" fmla="*/ 1447800 w 1868906"/>
                <a:gd name="connsiteY74" fmla="*/ 352926 h 1760621"/>
                <a:gd name="connsiteX75" fmla="*/ 1251284 w 1868906"/>
                <a:gd name="connsiteY75" fmla="*/ 372979 h 1760621"/>
                <a:gd name="connsiteX76" fmla="*/ 1207168 w 1868906"/>
                <a:gd name="connsiteY76" fmla="*/ 501315 h 1760621"/>
                <a:gd name="connsiteX77" fmla="*/ 1167063 w 1868906"/>
                <a:gd name="connsiteY77" fmla="*/ 485273 h 1760621"/>
                <a:gd name="connsiteX78" fmla="*/ 986589 w 1868906"/>
                <a:gd name="connsiteY78" fmla="*/ 577515 h 1760621"/>
                <a:gd name="connsiteX79" fmla="*/ 966537 w 1868906"/>
                <a:gd name="connsiteY79" fmla="*/ 697831 h 1760621"/>
                <a:gd name="connsiteX80" fmla="*/ 946484 w 1868906"/>
                <a:gd name="connsiteY80" fmla="*/ 625642 h 1760621"/>
                <a:gd name="connsiteX81" fmla="*/ 970547 w 1868906"/>
                <a:gd name="connsiteY81" fmla="*/ 561473 h 1760621"/>
                <a:gd name="connsiteX82" fmla="*/ 830179 w 1868906"/>
                <a:gd name="connsiteY82" fmla="*/ 601579 h 1760621"/>
                <a:gd name="connsiteX83" fmla="*/ 962526 w 1868906"/>
                <a:gd name="connsiteY83" fmla="*/ 537410 h 1760621"/>
                <a:gd name="connsiteX84" fmla="*/ 946484 w 1868906"/>
                <a:gd name="connsiteY84" fmla="*/ 469231 h 1760621"/>
                <a:gd name="connsiteX85" fmla="*/ 922421 w 1868906"/>
                <a:gd name="connsiteY85" fmla="*/ 449179 h 1760621"/>
                <a:gd name="connsiteX86" fmla="*/ 918410 w 1868906"/>
                <a:gd name="connsiteY86" fmla="*/ 397042 h 1760621"/>
                <a:gd name="connsiteX87" fmla="*/ 830179 w 1868906"/>
                <a:gd name="connsiteY87" fmla="*/ 356936 h 1760621"/>
                <a:gd name="connsiteX88" fmla="*/ 818147 w 1868906"/>
                <a:gd name="connsiteY88" fmla="*/ 252663 h 1760621"/>
                <a:gd name="connsiteX89" fmla="*/ 774032 w 1868906"/>
                <a:gd name="connsiteY89" fmla="*/ 224589 h 1760621"/>
                <a:gd name="connsiteX90" fmla="*/ 737937 w 1868906"/>
                <a:gd name="connsiteY90" fmla="*/ 164431 h 1760621"/>
                <a:gd name="connsiteX91" fmla="*/ 605589 w 1868906"/>
                <a:gd name="connsiteY91" fmla="*/ 116305 h 1760621"/>
                <a:gd name="connsiteX92" fmla="*/ 589547 w 1868906"/>
                <a:gd name="connsiteY92" fmla="*/ 12031 h 1760621"/>
                <a:gd name="connsiteX0" fmla="*/ 589547 w 1868906"/>
                <a:gd name="connsiteY0" fmla="*/ 12031 h 1760621"/>
                <a:gd name="connsiteX1" fmla="*/ 537410 w 1868906"/>
                <a:gd name="connsiteY1" fmla="*/ 0 h 1760621"/>
                <a:gd name="connsiteX2" fmla="*/ 477253 w 1868906"/>
                <a:gd name="connsiteY2" fmla="*/ 16042 h 1760621"/>
                <a:gd name="connsiteX3" fmla="*/ 437147 w 1868906"/>
                <a:gd name="connsiteY3" fmla="*/ 4010 h 1760621"/>
                <a:gd name="connsiteX4" fmla="*/ 449179 w 1868906"/>
                <a:gd name="connsiteY4" fmla="*/ 52136 h 1760621"/>
                <a:gd name="connsiteX5" fmla="*/ 429126 w 1868906"/>
                <a:gd name="connsiteY5" fmla="*/ 84221 h 1760621"/>
                <a:gd name="connsiteX6" fmla="*/ 344905 w 1868906"/>
                <a:gd name="connsiteY6" fmla="*/ 80210 h 1760621"/>
                <a:gd name="connsiteX7" fmla="*/ 316832 w 1868906"/>
                <a:gd name="connsiteY7" fmla="*/ 100263 h 1760621"/>
                <a:gd name="connsiteX8" fmla="*/ 268705 w 1868906"/>
                <a:gd name="connsiteY8" fmla="*/ 104273 h 1760621"/>
                <a:gd name="connsiteX9" fmla="*/ 216568 w 1868906"/>
                <a:gd name="connsiteY9" fmla="*/ 68179 h 1760621"/>
                <a:gd name="connsiteX10" fmla="*/ 204537 w 1868906"/>
                <a:gd name="connsiteY10" fmla="*/ 100263 h 1760621"/>
                <a:gd name="connsiteX11" fmla="*/ 128337 w 1868906"/>
                <a:gd name="connsiteY11" fmla="*/ 128336 h 1760621"/>
                <a:gd name="connsiteX12" fmla="*/ 100263 w 1868906"/>
                <a:gd name="connsiteY12" fmla="*/ 124326 h 1760621"/>
                <a:gd name="connsiteX13" fmla="*/ 60158 w 1868906"/>
                <a:gd name="connsiteY13" fmla="*/ 140368 h 1760621"/>
                <a:gd name="connsiteX14" fmla="*/ 68179 w 1868906"/>
                <a:gd name="connsiteY14" fmla="*/ 168442 h 1760621"/>
                <a:gd name="connsiteX15" fmla="*/ 44116 w 1868906"/>
                <a:gd name="connsiteY15" fmla="*/ 184484 h 1760621"/>
                <a:gd name="connsiteX16" fmla="*/ 0 w 1868906"/>
                <a:gd name="connsiteY16" fmla="*/ 176463 h 1760621"/>
                <a:gd name="connsiteX17" fmla="*/ 36095 w 1868906"/>
                <a:gd name="connsiteY17" fmla="*/ 429126 h 1760621"/>
                <a:gd name="connsiteX18" fmla="*/ 100263 w 1868906"/>
                <a:gd name="connsiteY18" fmla="*/ 485273 h 1760621"/>
                <a:gd name="connsiteX19" fmla="*/ 132347 w 1868906"/>
                <a:gd name="connsiteY19" fmla="*/ 573505 h 1760621"/>
                <a:gd name="connsiteX20" fmla="*/ 268705 w 1868906"/>
                <a:gd name="connsiteY20" fmla="*/ 589547 h 1760621"/>
                <a:gd name="connsiteX21" fmla="*/ 308810 w 1868906"/>
                <a:gd name="connsiteY21" fmla="*/ 633663 h 1760621"/>
                <a:gd name="connsiteX22" fmla="*/ 372979 w 1868906"/>
                <a:gd name="connsiteY22" fmla="*/ 601579 h 1760621"/>
                <a:gd name="connsiteX23" fmla="*/ 417095 w 1868906"/>
                <a:gd name="connsiteY23" fmla="*/ 597568 h 1760621"/>
                <a:gd name="connsiteX24" fmla="*/ 389021 w 1868906"/>
                <a:gd name="connsiteY24" fmla="*/ 593558 h 1760621"/>
                <a:gd name="connsiteX25" fmla="*/ 332874 w 1868906"/>
                <a:gd name="connsiteY25" fmla="*/ 589547 h 1760621"/>
                <a:gd name="connsiteX26" fmla="*/ 276726 w 1868906"/>
                <a:gd name="connsiteY26" fmla="*/ 561473 h 1760621"/>
                <a:gd name="connsiteX27" fmla="*/ 256674 w 1868906"/>
                <a:gd name="connsiteY27" fmla="*/ 521368 h 1760621"/>
                <a:gd name="connsiteX28" fmla="*/ 292768 w 1868906"/>
                <a:gd name="connsiteY28" fmla="*/ 553452 h 1760621"/>
                <a:gd name="connsiteX29" fmla="*/ 328863 w 1868906"/>
                <a:gd name="connsiteY29" fmla="*/ 541421 h 1760621"/>
                <a:gd name="connsiteX30" fmla="*/ 356937 w 1868906"/>
                <a:gd name="connsiteY30" fmla="*/ 569494 h 1760621"/>
                <a:gd name="connsiteX31" fmla="*/ 397042 w 1868906"/>
                <a:gd name="connsiteY31" fmla="*/ 569494 h 1760621"/>
                <a:gd name="connsiteX32" fmla="*/ 449179 w 1868906"/>
                <a:gd name="connsiteY32" fmla="*/ 549442 h 1760621"/>
                <a:gd name="connsiteX33" fmla="*/ 453189 w 1868906"/>
                <a:gd name="connsiteY33" fmla="*/ 597568 h 1760621"/>
                <a:gd name="connsiteX34" fmla="*/ 469232 w 1868906"/>
                <a:gd name="connsiteY34" fmla="*/ 613610 h 1760621"/>
                <a:gd name="connsiteX35" fmla="*/ 521368 w 1868906"/>
                <a:gd name="connsiteY35" fmla="*/ 617621 h 1760621"/>
                <a:gd name="connsiteX36" fmla="*/ 513347 w 1868906"/>
                <a:gd name="connsiteY36" fmla="*/ 637673 h 1760621"/>
                <a:gd name="connsiteX37" fmla="*/ 453189 w 1868906"/>
                <a:gd name="connsiteY37" fmla="*/ 637673 h 1760621"/>
                <a:gd name="connsiteX38" fmla="*/ 409074 w 1868906"/>
                <a:gd name="connsiteY38" fmla="*/ 629652 h 1760621"/>
                <a:gd name="connsiteX39" fmla="*/ 324853 w 1868906"/>
                <a:gd name="connsiteY39" fmla="*/ 725905 h 1760621"/>
                <a:gd name="connsiteX40" fmla="*/ 56147 w 1868906"/>
                <a:gd name="connsiteY40" fmla="*/ 1291389 h 1760621"/>
                <a:gd name="connsiteX41" fmla="*/ 108284 w 1868906"/>
                <a:gd name="connsiteY41" fmla="*/ 1471863 h 1760621"/>
                <a:gd name="connsiteX42" fmla="*/ 184484 w 1868906"/>
                <a:gd name="connsiteY42" fmla="*/ 1640305 h 1760621"/>
                <a:gd name="connsiteX43" fmla="*/ 284747 w 1868906"/>
                <a:gd name="connsiteY43" fmla="*/ 1740568 h 1760621"/>
                <a:gd name="connsiteX44" fmla="*/ 360947 w 1868906"/>
                <a:gd name="connsiteY44" fmla="*/ 1752600 h 1760621"/>
                <a:gd name="connsiteX45" fmla="*/ 1303421 w 1868906"/>
                <a:gd name="connsiteY45" fmla="*/ 1760621 h 1760621"/>
                <a:gd name="connsiteX46" fmla="*/ 1427747 w 1868906"/>
                <a:gd name="connsiteY46" fmla="*/ 1556084 h 1760621"/>
                <a:gd name="connsiteX47" fmla="*/ 1407695 w 1868906"/>
                <a:gd name="connsiteY47" fmla="*/ 1499936 h 1760621"/>
                <a:gd name="connsiteX48" fmla="*/ 1431758 w 1868906"/>
                <a:gd name="connsiteY48" fmla="*/ 1403684 h 1760621"/>
                <a:gd name="connsiteX49" fmla="*/ 1407695 w 1868906"/>
                <a:gd name="connsiteY49" fmla="*/ 1359568 h 1760621"/>
                <a:gd name="connsiteX50" fmla="*/ 1511968 w 1868906"/>
                <a:gd name="connsiteY50" fmla="*/ 1323473 h 1760621"/>
                <a:gd name="connsiteX51" fmla="*/ 1544053 w 1868906"/>
                <a:gd name="connsiteY51" fmla="*/ 1187115 h 1760621"/>
                <a:gd name="connsiteX52" fmla="*/ 1487905 w 1868906"/>
                <a:gd name="connsiteY52" fmla="*/ 1143000 h 1760621"/>
                <a:gd name="connsiteX53" fmla="*/ 1495926 w 1868906"/>
                <a:gd name="connsiteY53" fmla="*/ 1082842 h 1760621"/>
                <a:gd name="connsiteX54" fmla="*/ 1592179 w 1868906"/>
                <a:gd name="connsiteY54" fmla="*/ 1050758 h 1760621"/>
                <a:gd name="connsiteX55" fmla="*/ 1716505 w 1868906"/>
                <a:gd name="connsiteY55" fmla="*/ 894347 h 1760621"/>
                <a:gd name="connsiteX56" fmla="*/ 1700463 w 1868906"/>
                <a:gd name="connsiteY56" fmla="*/ 798094 h 1760621"/>
                <a:gd name="connsiteX57" fmla="*/ 1816768 w 1868906"/>
                <a:gd name="connsiteY57" fmla="*/ 677779 h 1760621"/>
                <a:gd name="connsiteX58" fmla="*/ 1868906 w 1868906"/>
                <a:gd name="connsiteY58" fmla="*/ 521368 h 1760621"/>
                <a:gd name="connsiteX59" fmla="*/ 1822100 w 1868906"/>
                <a:gd name="connsiteY59" fmla="*/ 481309 h 1760621"/>
                <a:gd name="connsiteX60" fmla="*/ 1854594 w 1868906"/>
                <a:gd name="connsiteY60" fmla="*/ 485354 h 1760621"/>
                <a:gd name="connsiteX61" fmla="*/ 1752600 w 1868906"/>
                <a:gd name="connsiteY61" fmla="*/ 449179 h 1760621"/>
                <a:gd name="connsiteX62" fmla="*/ 1656347 w 1868906"/>
                <a:gd name="connsiteY62" fmla="*/ 417094 h 1760621"/>
                <a:gd name="connsiteX63" fmla="*/ 1580147 w 1868906"/>
                <a:gd name="connsiteY63" fmla="*/ 429126 h 1760621"/>
                <a:gd name="connsiteX64" fmla="*/ 1524000 w 1868906"/>
                <a:gd name="connsiteY64" fmla="*/ 489284 h 1760621"/>
                <a:gd name="connsiteX65" fmla="*/ 1524000 w 1868906"/>
                <a:gd name="connsiteY65" fmla="*/ 537410 h 1760621"/>
                <a:gd name="connsiteX66" fmla="*/ 1536032 w 1868906"/>
                <a:gd name="connsiteY66" fmla="*/ 549442 h 1760621"/>
                <a:gd name="connsiteX67" fmla="*/ 1503947 w 1868906"/>
                <a:gd name="connsiteY67" fmla="*/ 557463 h 1760621"/>
                <a:gd name="connsiteX68" fmla="*/ 1483895 w 1868906"/>
                <a:gd name="connsiteY68" fmla="*/ 545431 h 1760621"/>
                <a:gd name="connsiteX69" fmla="*/ 1371600 w 1868906"/>
                <a:gd name="connsiteY69" fmla="*/ 697831 h 1760621"/>
                <a:gd name="connsiteX70" fmla="*/ 1395663 w 1868906"/>
                <a:gd name="connsiteY70" fmla="*/ 593558 h 1760621"/>
                <a:gd name="connsiteX71" fmla="*/ 1155032 w 1868906"/>
                <a:gd name="connsiteY71" fmla="*/ 605589 h 1760621"/>
                <a:gd name="connsiteX72" fmla="*/ 1471863 w 1868906"/>
                <a:gd name="connsiteY72" fmla="*/ 533400 h 1760621"/>
                <a:gd name="connsiteX73" fmla="*/ 1524000 w 1868906"/>
                <a:gd name="connsiteY73" fmla="*/ 376989 h 1760621"/>
                <a:gd name="connsiteX74" fmla="*/ 1447800 w 1868906"/>
                <a:gd name="connsiteY74" fmla="*/ 352926 h 1760621"/>
                <a:gd name="connsiteX75" fmla="*/ 1251284 w 1868906"/>
                <a:gd name="connsiteY75" fmla="*/ 372979 h 1760621"/>
                <a:gd name="connsiteX76" fmla="*/ 1207168 w 1868906"/>
                <a:gd name="connsiteY76" fmla="*/ 501315 h 1760621"/>
                <a:gd name="connsiteX77" fmla="*/ 1167063 w 1868906"/>
                <a:gd name="connsiteY77" fmla="*/ 485273 h 1760621"/>
                <a:gd name="connsiteX78" fmla="*/ 986589 w 1868906"/>
                <a:gd name="connsiteY78" fmla="*/ 577515 h 1760621"/>
                <a:gd name="connsiteX79" fmla="*/ 966537 w 1868906"/>
                <a:gd name="connsiteY79" fmla="*/ 697831 h 1760621"/>
                <a:gd name="connsiteX80" fmla="*/ 946484 w 1868906"/>
                <a:gd name="connsiteY80" fmla="*/ 625642 h 1760621"/>
                <a:gd name="connsiteX81" fmla="*/ 970547 w 1868906"/>
                <a:gd name="connsiteY81" fmla="*/ 561473 h 1760621"/>
                <a:gd name="connsiteX82" fmla="*/ 830179 w 1868906"/>
                <a:gd name="connsiteY82" fmla="*/ 601579 h 1760621"/>
                <a:gd name="connsiteX83" fmla="*/ 962526 w 1868906"/>
                <a:gd name="connsiteY83" fmla="*/ 537410 h 1760621"/>
                <a:gd name="connsiteX84" fmla="*/ 946484 w 1868906"/>
                <a:gd name="connsiteY84" fmla="*/ 469231 h 1760621"/>
                <a:gd name="connsiteX85" fmla="*/ 922421 w 1868906"/>
                <a:gd name="connsiteY85" fmla="*/ 449179 h 1760621"/>
                <a:gd name="connsiteX86" fmla="*/ 918410 w 1868906"/>
                <a:gd name="connsiteY86" fmla="*/ 397042 h 1760621"/>
                <a:gd name="connsiteX87" fmla="*/ 830179 w 1868906"/>
                <a:gd name="connsiteY87" fmla="*/ 356936 h 1760621"/>
                <a:gd name="connsiteX88" fmla="*/ 818147 w 1868906"/>
                <a:gd name="connsiteY88" fmla="*/ 252663 h 1760621"/>
                <a:gd name="connsiteX89" fmla="*/ 774032 w 1868906"/>
                <a:gd name="connsiteY89" fmla="*/ 224589 h 1760621"/>
                <a:gd name="connsiteX90" fmla="*/ 737937 w 1868906"/>
                <a:gd name="connsiteY90" fmla="*/ 164431 h 1760621"/>
                <a:gd name="connsiteX91" fmla="*/ 605589 w 1868906"/>
                <a:gd name="connsiteY91" fmla="*/ 116305 h 1760621"/>
                <a:gd name="connsiteX92" fmla="*/ 589547 w 1868906"/>
                <a:gd name="connsiteY92" fmla="*/ 12031 h 1760621"/>
                <a:gd name="connsiteX0" fmla="*/ 589547 w 1868906"/>
                <a:gd name="connsiteY0" fmla="*/ 12031 h 1760621"/>
                <a:gd name="connsiteX1" fmla="*/ 537410 w 1868906"/>
                <a:gd name="connsiteY1" fmla="*/ 0 h 1760621"/>
                <a:gd name="connsiteX2" fmla="*/ 477253 w 1868906"/>
                <a:gd name="connsiteY2" fmla="*/ 16042 h 1760621"/>
                <a:gd name="connsiteX3" fmla="*/ 437147 w 1868906"/>
                <a:gd name="connsiteY3" fmla="*/ 4010 h 1760621"/>
                <a:gd name="connsiteX4" fmla="*/ 449179 w 1868906"/>
                <a:gd name="connsiteY4" fmla="*/ 52136 h 1760621"/>
                <a:gd name="connsiteX5" fmla="*/ 429126 w 1868906"/>
                <a:gd name="connsiteY5" fmla="*/ 84221 h 1760621"/>
                <a:gd name="connsiteX6" fmla="*/ 344905 w 1868906"/>
                <a:gd name="connsiteY6" fmla="*/ 80210 h 1760621"/>
                <a:gd name="connsiteX7" fmla="*/ 316832 w 1868906"/>
                <a:gd name="connsiteY7" fmla="*/ 100263 h 1760621"/>
                <a:gd name="connsiteX8" fmla="*/ 268705 w 1868906"/>
                <a:gd name="connsiteY8" fmla="*/ 104273 h 1760621"/>
                <a:gd name="connsiteX9" fmla="*/ 216568 w 1868906"/>
                <a:gd name="connsiteY9" fmla="*/ 68179 h 1760621"/>
                <a:gd name="connsiteX10" fmla="*/ 204537 w 1868906"/>
                <a:gd name="connsiteY10" fmla="*/ 100263 h 1760621"/>
                <a:gd name="connsiteX11" fmla="*/ 128337 w 1868906"/>
                <a:gd name="connsiteY11" fmla="*/ 128336 h 1760621"/>
                <a:gd name="connsiteX12" fmla="*/ 100263 w 1868906"/>
                <a:gd name="connsiteY12" fmla="*/ 124326 h 1760621"/>
                <a:gd name="connsiteX13" fmla="*/ 60158 w 1868906"/>
                <a:gd name="connsiteY13" fmla="*/ 140368 h 1760621"/>
                <a:gd name="connsiteX14" fmla="*/ 68179 w 1868906"/>
                <a:gd name="connsiteY14" fmla="*/ 168442 h 1760621"/>
                <a:gd name="connsiteX15" fmla="*/ 44116 w 1868906"/>
                <a:gd name="connsiteY15" fmla="*/ 184484 h 1760621"/>
                <a:gd name="connsiteX16" fmla="*/ 0 w 1868906"/>
                <a:gd name="connsiteY16" fmla="*/ 176463 h 1760621"/>
                <a:gd name="connsiteX17" fmla="*/ 36095 w 1868906"/>
                <a:gd name="connsiteY17" fmla="*/ 429126 h 1760621"/>
                <a:gd name="connsiteX18" fmla="*/ 100263 w 1868906"/>
                <a:gd name="connsiteY18" fmla="*/ 485273 h 1760621"/>
                <a:gd name="connsiteX19" fmla="*/ 132347 w 1868906"/>
                <a:gd name="connsiteY19" fmla="*/ 573505 h 1760621"/>
                <a:gd name="connsiteX20" fmla="*/ 268705 w 1868906"/>
                <a:gd name="connsiteY20" fmla="*/ 589547 h 1760621"/>
                <a:gd name="connsiteX21" fmla="*/ 308810 w 1868906"/>
                <a:gd name="connsiteY21" fmla="*/ 633663 h 1760621"/>
                <a:gd name="connsiteX22" fmla="*/ 372979 w 1868906"/>
                <a:gd name="connsiteY22" fmla="*/ 601579 h 1760621"/>
                <a:gd name="connsiteX23" fmla="*/ 417095 w 1868906"/>
                <a:gd name="connsiteY23" fmla="*/ 597568 h 1760621"/>
                <a:gd name="connsiteX24" fmla="*/ 389021 w 1868906"/>
                <a:gd name="connsiteY24" fmla="*/ 593558 h 1760621"/>
                <a:gd name="connsiteX25" fmla="*/ 332874 w 1868906"/>
                <a:gd name="connsiteY25" fmla="*/ 589547 h 1760621"/>
                <a:gd name="connsiteX26" fmla="*/ 276726 w 1868906"/>
                <a:gd name="connsiteY26" fmla="*/ 561473 h 1760621"/>
                <a:gd name="connsiteX27" fmla="*/ 256674 w 1868906"/>
                <a:gd name="connsiteY27" fmla="*/ 521368 h 1760621"/>
                <a:gd name="connsiteX28" fmla="*/ 292768 w 1868906"/>
                <a:gd name="connsiteY28" fmla="*/ 553452 h 1760621"/>
                <a:gd name="connsiteX29" fmla="*/ 328863 w 1868906"/>
                <a:gd name="connsiteY29" fmla="*/ 541421 h 1760621"/>
                <a:gd name="connsiteX30" fmla="*/ 356937 w 1868906"/>
                <a:gd name="connsiteY30" fmla="*/ 569494 h 1760621"/>
                <a:gd name="connsiteX31" fmla="*/ 397042 w 1868906"/>
                <a:gd name="connsiteY31" fmla="*/ 569494 h 1760621"/>
                <a:gd name="connsiteX32" fmla="*/ 449179 w 1868906"/>
                <a:gd name="connsiteY32" fmla="*/ 549442 h 1760621"/>
                <a:gd name="connsiteX33" fmla="*/ 453189 w 1868906"/>
                <a:gd name="connsiteY33" fmla="*/ 597568 h 1760621"/>
                <a:gd name="connsiteX34" fmla="*/ 469232 w 1868906"/>
                <a:gd name="connsiteY34" fmla="*/ 613610 h 1760621"/>
                <a:gd name="connsiteX35" fmla="*/ 521368 w 1868906"/>
                <a:gd name="connsiteY35" fmla="*/ 617621 h 1760621"/>
                <a:gd name="connsiteX36" fmla="*/ 513347 w 1868906"/>
                <a:gd name="connsiteY36" fmla="*/ 637673 h 1760621"/>
                <a:gd name="connsiteX37" fmla="*/ 453189 w 1868906"/>
                <a:gd name="connsiteY37" fmla="*/ 637673 h 1760621"/>
                <a:gd name="connsiteX38" fmla="*/ 409074 w 1868906"/>
                <a:gd name="connsiteY38" fmla="*/ 629652 h 1760621"/>
                <a:gd name="connsiteX39" fmla="*/ 324853 w 1868906"/>
                <a:gd name="connsiteY39" fmla="*/ 725905 h 1760621"/>
                <a:gd name="connsiteX40" fmla="*/ 56147 w 1868906"/>
                <a:gd name="connsiteY40" fmla="*/ 1291389 h 1760621"/>
                <a:gd name="connsiteX41" fmla="*/ 108284 w 1868906"/>
                <a:gd name="connsiteY41" fmla="*/ 1471863 h 1760621"/>
                <a:gd name="connsiteX42" fmla="*/ 184484 w 1868906"/>
                <a:gd name="connsiteY42" fmla="*/ 1640305 h 1760621"/>
                <a:gd name="connsiteX43" fmla="*/ 284747 w 1868906"/>
                <a:gd name="connsiteY43" fmla="*/ 1740568 h 1760621"/>
                <a:gd name="connsiteX44" fmla="*/ 360947 w 1868906"/>
                <a:gd name="connsiteY44" fmla="*/ 1752600 h 1760621"/>
                <a:gd name="connsiteX45" fmla="*/ 1303421 w 1868906"/>
                <a:gd name="connsiteY45" fmla="*/ 1760621 h 1760621"/>
                <a:gd name="connsiteX46" fmla="*/ 1427747 w 1868906"/>
                <a:gd name="connsiteY46" fmla="*/ 1556084 h 1760621"/>
                <a:gd name="connsiteX47" fmla="*/ 1407695 w 1868906"/>
                <a:gd name="connsiteY47" fmla="*/ 1499936 h 1760621"/>
                <a:gd name="connsiteX48" fmla="*/ 1431758 w 1868906"/>
                <a:gd name="connsiteY48" fmla="*/ 1403684 h 1760621"/>
                <a:gd name="connsiteX49" fmla="*/ 1407695 w 1868906"/>
                <a:gd name="connsiteY49" fmla="*/ 1359568 h 1760621"/>
                <a:gd name="connsiteX50" fmla="*/ 1511968 w 1868906"/>
                <a:gd name="connsiteY50" fmla="*/ 1323473 h 1760621"/>
                <a:gd name="connsiteX51" fmla="*/ 1544053 w 1868906"/>
                <a:gd name="connsiteY51" fmla="*/ 1187115 h 1760621"/>
                <a:gd name="connsiteX52" fmla="*/ 1487905 w 1868906"/>
                <a:gd name="connsiteY52" fmla="*/ 1143000 h 1760621"/>
                <a:gd name="connsiteX53" fmla="*/ 1495926 w 1868906"/>
                <a:gd name="connsiteY53" fmla="*/ 1082842 h 1760621"/>
                <a:gd name="connsiteX54" fmla="*/ 1592179 w 1868906"/>
                <a:gd name="connsiteY54" fmla="*/ 1050758 h 1760621"/>
                <a:gd name="connsiteX55" fmla="*/ 1716505 w 1868906"/>
                <a:gd name="connsiteY55" fmla="*/ 894347 h 1760621"/>
                <a:gd name="connsiteX56" fmla="*/ 1700463 w 1868906"/>
                <a:gd name="connsiteY56" fmla="*/ 798094 h 1760621"/>
                <a:gd name="connsiteX57" fmla="*/ 1816768 w 1868906"/>
                <a:gd name="connsiteY57" fmla="*/ 677779 h 1760621"/>
                <a:gd name="connsiteX58" fmla="*/ 1868906 w 1868906"/>
                <a:gd name="connsiteY58" fmla="*/ 521368 h 1760621"/>
                <a:gd name="connsiteX59" fmla="*/ 1843930 w 1868906"/>
                <a:gd name="connsiteY59" fmla="*/ 501350 h 1760621"/>
                <a:gd name="connsiteX60" fmla="*/ 1822100 w 1868906"/>
                <a:gd name="connsiteY60" fmla="*/ 481309 h 1760621"/>
                <a:gd name="connsiteX61" fmla="*/ 1854594 w 1868906"/>
                <a:gd name="connsiteY61" fmla="*/ 485354 h 1760621"/>
                <a:gd name="connsiteX62" fmla="*/ 1752600 w 1868906"/>
                <a:gd name="connsiteY62" fmla="*/ 449179 h 1760621"/>
                <a:gd name="connsiteX63" fmla="*/ 1656347 w 1868906"/>
                <a:gd name="connsiteY63" fmla="*/ 417094 h 1760621"/>
                <a:gd name="connsiteX64" fmla="*/ 1580147 w 1868906"/>
                <a:gd name="connsiteY64" fmla="*/ 429126 h 1760621"/>
                <a:gd name="connsiteX65" fmla="*/ 1524000 w 1868906"/>
                <a:gd name="connsiteY65" fmla="*/ 489284 h 1760621"/>
                <a:gd name="connsiteX66" fmla="*/ 1524000 w 1868906"/>
                <a:gd name="connsiteY66" fmla="*/ 537410 h 1760621"/>
                <a:gd name="connsiteX67" fmla="*/ 1536032 w 1868906"/>
                <a:gd name="connsiteY67" fmla="*/ 549442 h 1760621"/>
                <a:gd name="connsiteX68" fmla="*/ 1503947 w 1868906"/>
                <a:gd name="connsiteY68" fmla="*/ 557463 h 1760621"/>
                <a:gd name="connsiteX69" fmla="*/ 1483895 w 1868906"/>
                <a:gd name="connsiteY69" fmla="*/ 545431 h 1760621"/>
                <a:gd name="connsiteX70" fmla="*/ 1371600 w 1868906"/>
                <a:gd name="connsiteY70" fmla="*/ 697831 h 1760621"/>
                <a:gd name="connsiteX71" fmla="*/ 1395663 w 1868906"/>
                <a:gd name="connsiteY71" fmla="*/ 593558 h 1760621"/>
                <a:gd name="connsiteX72" fmla="*/ 1155032 w 1868906"/>
                <a:gd name="connsiteY72" fmla="*/ 605589 h 1760621"/>
                <a:gd name="connsiteX73" fmla="*/ 1471863 w 1868906"/>
                <a:gd name="connsiteY73" fmla="*/ 533400 h 1760621"/>
                <a:gd name="connsiteX74" fmla="*/ 1524000 w 1868906"/>
                <a:gd name="connsiteY74" fmla="*/ 376989 h 1760621"/>
                <a:gd name="connsiteX75" fmla="*/ 1447800 w 1868906"/>
                <a:gd name="connsiteY75" fmla="*/ 352926 h 1760621"/>
                <a:gd name="connsiteX76" fmla="*/ 1251284 w 1868906"/>
                <a:gd name="connsiteY76" fmla="*/ 372979 h 1760621"/>
                <a:gd name="connsiteX77" fmla="*/ 1207168 w 1868906"/>
                <a:gd name="connsiteY77" fmla="*/ 501315 h 1760621"/>
                <a:gd name="connsiteX78" fmla="*/ 1167063 w 1868906"/>
                <a:gd name="connsiteY78" fmla="*/ 485273 h 1760621"/>
                <a:gd name="connsiteX79" fmla="*/ 986589 w 1868906"/>
                <a:gd name="connsiteY79" fmla="*/ 577515 h 1760621"/>
                <a:gd name="connsiteX80" fmla="*/ 966537 w 1868906"/>
                <a:gd name="connsiteY80" fmla="*/ 697831 h 1760621"/>
                <a:gd name="connsiteX81" fmla="*/ 946484 w 1868906"/>
                <a:gd name="connsiteY81" fmla="*/ 625642 h 1760621"/>
                <a:gd name="connsiteX82" fmla="*/ 970547 w 1868906"/>
                <a:gd name="connsiteY82" fmla="*/ 561473 h 1760621"/>
                <a:gd name="connsiteX83" fmla="*/ 830179 w 1868906"/>
                <a:gd name="connsiteY83" fmla="*/ 601579 h 1760621"/>
                <a:gd name="connsiteX84" fmla="*/ 962526 w 1868906"/>
                <a:gd name="connsiteY84" fmla="*/ 537410 h 1760621"/>
                <a:gd name="connsiteX85" fmla="*/ 946484 w 1868906"/>
                <a:gd name="connsiteY85" fmla="*/ 469231 h 1760621"/>
                <a:gd name="connsiteX86" fmla="*/ 922421 w 1868906"/>
                <a:gd name="connsiteY86" fmla="*/ 449179 h 1760621"/>
                <a:gd name="connsiteX87" fmla="*/ 918410 w 1868906"/>
                <a:gd name="connsiteY87" fmla="*/ 397042 h 1760621"/>
                <a:gd name="connsiteX88" fmla="*/ 830179 w 1868906"/>
                <a:gd name="connsiteY88" fmla="*/ 356936 h 1760621"/>
                <a:gd name="connsiteX89" fmla="*/ 818147 w 1868906"/>
                <a:gd name="connsiteY89" fmla="*/ 252663 h 1760621"/>
                <a:gd name="connsiteX90" fmla="*/ 774032 w 1868906"/>
                <a:gd name="connsiteY90" fmla="*/ 224589 h 1760621"/>
                <a:gd name="connsiteX91" fmla="*/ 737937 w 1868906"/>
                <a:gd name="connsiteY91" fmla="*/ 164431 h 1760621"/>
                <a:gd name="connsiteX92" fmla="*/ 605589 w 1868906"/>
                <a:gd name="connsiteY92" fmla="*/ 116305 h 1760621"/>
                <a:gd name="connsiteX93" fmla="*/ 589547 w 1868906"/>
                <a:gd name="connsiteY93" fmla="*/ 12031 h 1760621"/>
                <a:gd name="connsiteX0" fmla="*/ 589547 w 1872588"/>
                <a:gd name="connsiteY0" fmla="*/ 12031 h 1760621"/>
                <a:gd name="connsiteX1" fmla="*/ 537410 w 1872588"/>
                <a:gd name="connsiteY1" fmla="*/ 0 h 1760621"/>
                <a:gd name="connsiteX2" fmla="*/ 477253 w 1872588"/>
                <a:gd name="connsiteY2" fmla="*/ 16042 h 1760621"/>
                <a:gd name="connsiteX3" fmla="*/ 437147 w 1872588"/>
                <a:gd name="connsiteY3" fmla="*/ 4010 h 1760621"/>
                <a:gd name="connsiteX4" fmla="*/ 449179 w 1872588"/>
                <a:gd name="connsiteY4" fmla="*/ 52136 h 1760621"/>
                <a:gd name="connsiteX5" fmla="*/ 429126 w 1872588"/>
                <a:gd name="connsiteY5" fmla="*/ 84221 h 1760621"/>
                <a:gd name="connsiteX6" fmla="*/ 344905 w 1872588"/>
                <a:gd name="connsiteY6" fmla="*/ 80210 h 1760621"/>
                <a:gd name="connsiteX7" fmla="*/ 316832 w 1872588"/>
                <a:gd name="connsiteY7" fmla="*/ 100263 h 1760621"/>
                <a:gd name="connsiteX8" fmla="*/ 268705 w 1872588"/>
                <a:gd name="connsiteY8" fmla="*/ 104273 h 1760621"/>
                <a:gd name="connsiteX9" fmla="*/ 216568 w 1872588"/>
                <a:gd name="connsiteY9" fmla="*/ 68179 h 1760621"/>
                <a:gd name="connsiteX10" fmla="*/ 204537 w 1872588"/>
                <a:gd name="connsiteY10" fmla="*/ 100263 h 1760621"/>
                <a:gd name="connsiteX11" fmla="*/ 128337 w 1872588"/>
                <a:gd name="connsiteY11" fmla="*/ 128336 h 1760621"/>
                <a:gd name="connsiteX12" fmla="*/ 100263 w 1872588"/>
                <a:gd name="connsiteY12" fmla="*/ 124326 h 1760621"/>
                <a:gd name="connsiteX13" fmla="*/ 60158 w 1872588"/>
                <a:gd name="connsiteY13" fmla="*/ 140368 h 1760621"/>
                <a:gd name="connsiteX14" fmla="*/ 68179 w 1872588"/>
                <a:gd name="connsiteY14" fmla="*/ 168442 h 1760621"/>
                <a:gd name="connsiteX15" fmla="*/ 44116 w 1872588"/>
                <a:gd name="connsiteY15" fmla="*/ 184484 h 1760621"/>
                <a:gd name="connsiteX16" fmla="*/ 0 w 1872588"/>
                <a:gd name="connsiteY16" fmla="*/ 176463 h 1760621"/>
                <a:gd name="connsiteX17" fmla="*/ 36095 w 1872588"/>
                <a:gd name="connsiteY17" fmla="*/ 429126 h 1760621"/>
                <a:gd name="connsiteX18" fmla="*/ 100263 w 1872588"/>
                <a:gd name="connsiteY18" fmla="*/ 485273 h 1760621"/>
                <a:gd name="connsiteX19" fmla="*/ 132347 w 1872588"/>
                <a:gd name="connsiteY19" fmla="*/ 573505 h 1760621"/>
                <a:gd name="connsiteX20" fmla="*/ 268705 w 1872588"/>
                <a:gd name="connsiteY20" fmla="*/ 589547 h 1760621"/>
                <a:gd name="connsiteX21" fmla="*/ 308810 w 1872588"/>
                <a:gd name="connsiteY21" fmla="*/ 633663 h 1760621"/>
                <a:gd name="connsiteX22" fmla="*/ 372979 w 1872588"/>
                <a:gd name="connsiteY22" fmla="*/ 601579 h 1760621"/>
                <a:gd name="connsiteX23" fmla="*/ 417095 w 1872588"/>
                <a:gd name="connsiteY23" fmla="*/ 597568 h 1760621"/>
                <a:gd name="connsiteX24" fmla="*/ 389021 w 1872588"/>
                <a:gd name="connsiteY24" fmla="*/ 593558 h 1760621"/>
                <a:gd name="connsiteX25" fmla="*/ 332874 w 1872588"/>
                <a:gd name="connsiteY25" fmla="*/ 589547 h 1760621"/>
                <a:gd name="connsiteX26" fmla="*/ 276726 w 1872588"/>
                <a:gd name="connsiteY26" fmla="*/ 561473 h 1760621"/>
                <a:gd name="connsiteX27" fmla="*/ 256674 w 1872588"/>
                <a:gd name="connsiteY27" fmla="*/ 521368 h 1760621"/>
                <a:gd name="connsiteX28" fmla="*/ 292768 w 1872588"/>
                <a:gd name="connsiteY28" fmla="*/ 553452 h 1760621"/>
                <a:gd name="connsiteX29" fmla="*/ 328863 w 1872588"/>
                <a:gd name="connsiteY29" fmla="*/ 541421 h 1760621"/>
                <a:gd name="connsiteX30" fmla="*/ 356937 w 1872588"/>
                <a:gd name="connsiteY30" fmla="*/ 569494 h 1760621"/>
                <a:gd name="connsiteX31" fmla="*/ 397042 w 1872588"/>
                <a:gd name="connsiteY31" fmla="*/ 569494 h 1760621"/>
                <a:gd name="connsiteX32" fmla="*/ 449179 w 1872588"/>
                <a:gd name="connsiteY32" fmla="*/ 549442 h 1760621"/>
                <a:gd name="connsiteX33" fmla="*/ 453189 w 1872588"/>
                <a:gd name="connsiteY33" fmla="*/ 597568 h 1760621"/>
                <a:gd name="connsiteX34" fmla="*/ 469232 w 1872588"/>
                <a:gd name="connsiteY34" fmla="*/ 613610 h 1760621"/>
                <a:gd name="connsiteX35" fmla="*/ 521368 w 1872588"/>
                <a:gd name="connsiteY35" fmla="*/ 617621 h 1760621"/>
                <a:gd name="connsiteX36" fmla="*/ 513347 w 1872588"/>
                <a:gd name="connsiteY36" fmla="*/ 637673 h 1760621"/>
                <a:gd name="connsiteX37" fmla="*/ 453189 w 1872588"/>
                <a:gd name="connsiteY37" fmla="*/ 637673 h 1760621"/>
                <a:gd name="connsiteX38" fmla="*/ 409074 w 1872588"/>
                <a:gd name="connsiteY38" fmla="*/ 629652 h 1760621"/>
                <a:gd name="connsiteX39" fmla="*/ 324853 w 1872588"/>
                <a:gd name="connsiteY39" fmla="*/ 725905 h 1760621"/>
                <a:gd name="connsiteX40" fmla="*/ 56147 w 1872588"/>
                <a:gd name="connsiteY40" fmla="*/ 1291389 h 1760621"/>
                <a:gd name="connsiteX41" fmla="*/ 108284 w 1872588"/>
                <a:gd name="connsiteY41" fmla="*/ 1471863 h 1760621"/>
                <a:gd name="connsiteX42" fmla="*/ 184484 w 1872588"/>
                <a:gd name="connsiteY42" fmla="*/ 1640305 h 1760621"/>
                <a:gd name="connsiteX43" fmla="*/ 284747 w 1872588"/>
                <a:gd name="connsiteY43" fmla="*/ 1740568 h 1760621"/>
                <a:gd name="connsiteX44" fmla="*/ 360947 w 1872588"/>
                <a:gd name="connsiteY44" fmla="*/ 1752600 h 1760621"/>
                <a:gd name="connsiteX45" fmla="*/ 1303421 w 1872588"/>
                <a:gd name="connsiteY45" fmla="*/ 1760621 h 1760621"/>
                <a:gd name="connsiteX46" fmla="*/ 1427747 w 1872588"/>
                <a:gd name="connsiteY46" fmla="*/ 1556084 h 1760621"/>
                <a:gd name="connsiteX47" fmla="*/ 1407695 w 1872588"/>
                <a:gd name="connsiteY47" fmla="*/ 1499936 h 1760621"/>
                <a:gd name="connsiteX48" fmla="*/ 1431758 w 1872588"/>
                <a:gd name="connsiteY48" fmla="*/ 1403684 h 1760621"/>
                <a:gd name="connsiteX49" fmla="*/ 1407695 w 1872588"/>
                <a:gd name="connsiteY49" fmla="*/ 1359568 h 1760621"/>
                <a:gd name="connsiteX50" fmla="*/ 1511968 w 1872588"/>
                <a:gd name="connsiteY50" fmla="*/ 1323473 h 1760621"/>
                <a:gd name="connsiteX51" fmla="*/ 1544053 w 1872588"/>
                <a:gd name="connsiteY51" fmla="*/ 1187115 h 1760621"/>
                <a:gd name="connsiteX52" fmla="*/ 1487905 w 1872588"/>
                <a:gd name="connsiteY52" fmla="*/ 1143000 h 1760621"/>
                <a:gd name="connsiteX53" fmla="*/ 1495926 w 1872588"/>
                <a:gd name="connsiteY53" fmla="*/ 1082842 h 1760621"/>
                <a:gd name="connsiteX54" fmla="*/ 1592179 w 1872588"/>
                <a:gd name="connsiteY54" fmla="*/ 1050758 h 1760621"/>
                <a:gd name="connsiteX55" fmla="*/ 1716505 w 1872588"/>
                <a:gd name="connsiteY55" fmla="*/ 894347 h 1760621"/>
                <a:gd name="connsiteX56" fmla="*/ 1700463 w 1872588"/>
                <a:gd name="connsiteY56" fmla="*/ 798094 h 1760621"/>
                <a:gd name="connsiteX57" fmla="*/ 1816768 w 1872588"/>
                <a:gd name="connsiteY57" fmla="*/ 677779 h 1760621"/>
                <a:gd name="connsiteX58" fmla="*/ 1868906 w 1872588"/>
                <a:gd name="connsiteY58" fmla="*/ 521368 h 1760621"/>
                <a:gd name="connsiteX59" fmla="*/ 1843930 w 1872588"/>
                <a:gd name="connsiteY59" fmla="*/ 501350 h 1760621"/>
                <a:gd name="connsiteX60" fmla="*/ 1822100 w 1872588"/>
                <a:gd name="connsiteY60" fmla="*/ 481309 h 1760621"/>
                <a:gd name="connsiteX61" fmla="*/ 1854594 w 1872588"/>
                <a:gd name="connsiteY61" fmla="*/ 485354 h 1760621"/>
                <a:gd name="connsiteX62" fmla="*/ 1752600 w 1872588"/>
                <a:gd name="connsiteY62" fmla="*/ 449179 h 1760621"/>
                <a:gd name="connsiteX63" fmla="*/ 1656347 w 1872588"/>
                <a:gd name="connsiteY63" fmla="*/ 417094 h 1760621"/>
                <a:gd name="connsiteX64" fmla="*/ 1580147 w 1872588"/>
                <a:gd name="connsiteY64" fmla="*/ 429126 h 1760621"/>
                <a:gd name="connsiteX65" fmla="*/ 1524000 w 1872588"/>
                <a:gd name="connsiteY65" fmla="*/ 489284 h 1760621"/>
                <a:gd name="connsiteX66" fmla="*/ 1524000 w 1872588"/>
                <a:gd name="connsiteY66" fmla="*/ 537410 h 1760621"/>
                <a:gd name="connsiteX67" fmla="*/ 1536032 w 1872588"/>
                <a:gd name="connsiteY67" fmla="*/ 549442 h 1760621"/>
                <a:gd name="connsiteX68" fmla="*/ 1503947 w 1872588"/>
                <a:gd name="connsiteY68" fmla="*/ 557463 h 1760621"/>
                <a:gd name="connsiteX69" fmla="*/ 1483895 w 1872588"/>
                <a:gd name="connsiteY69" fmla="*/ 545431 h 1760621"/>
                <a:gd name="connsiteX70" fmla="*/ 1371600 w 1872588"/>
                <a:gd name="connsiteY70" fmla="*/ 697831 h 1760621"/>
                <a:gd name="connsiteX71" fmla="*/ 1395663 w 1872588"/>
                <a:gd name="connsiteY71" fmla="*/ 593558 h 1760621"/>
                <a:gd name="connsiteX72" fmla="*/ 1155032 w 1872588"/>
                <a:gd name="connsiteY72" fmla="*/ 605589 h 1760621"/>
                <a:gd name="connsiteX73" fmla="*/ 1471863 w 1872588"/>
                <a:gd name="connsiteY73" fmla="*/ 533400 h 1760621"/>
                <a:gd name="connsiteX74" fmla="*/ 1524000 w 1872588"/>
                <a:gd name="connsiteY74" fmla="*/ 376989 h 1760621"/>
                <a:gd name="connsiteX75" fmla="*/ 1447800 w 1872588"/>
                <a:gd name="connsiteY75" fmla="*/ 352926 h 1760621"/>
                <a:gd name="connsiteX76" fmla="*/ 1251284 w 1872588"/>
                <a:gd name="connsiteY76" fmla="*/ 372979 h 1760621"/>
                <a:gd name="connsiteX77" fmla="*/ 1207168 w 1872588"/>
                <a:gd name="connsiteY77" fmla="*/ 501315 h 1760621"/>
                <a:gd name="connsiteX78" fmla="*/ 1167063 w 1872588"/>
                <a:gd name="connsiteY78" fmla="*/ 485273 h 1760621"/>
                <a:gd name="connsiteX79" fmla="*/ 986589 w 1872588"/>
                <a:gd name="connsiteY79" fmla="*/ 577515 h 1760621"/>
                <a:gd name="connsiteX80" fmla="*/ 966537 w 1872588"/>
                <a:gd name="connsiteY80" fmla="*/ 697831 h 1760621"/>
                <a:gd name="connsiteX81" fmla="*/ 946484 w 1872588"/>
                <a:gd name="connsiteY81" fmla="*/ 625642 h 1760621"/>
                <a:gd name="connsiteX82" fmla="*/ 970547 w 1872588"/>
                <a:gd name="connsiteY82" fmla="*/ 561473 h 1760621"/>
                <a:gd name="connsiteX83" fmla="*/ 830179 w 1872588"/>
                <a:gd name="connsiteY83" fmla="*/ 601579 h 1760621"/>
                <a:gd name="connsiteX84" fmla="*/ 962526 w 1872588"/>
                <a:gd name="connsiteY84" fmla="*/ 537410 h 1760621"/>
                <a:gd name="connsiteX85" fmla="*/ 946484 w 1872588"/>
                <a:gd name="connsiteY85" fmla="*/ 469231 h 1760621"/>
                <a:gd name="connsiteX86" fmla="*/ 922421 w 1872588"/>
                <a:gd name="connsiteY86" fmla="*/ 449179 h 1760621"/>
                <a:gd name="connsiteX87" fmla="*/ 918410 w 1872588"/>
                <a:gd name="connsiteY87" fmla="*/ 397042 h 1760621"/>
                <a:gd name="connsiteX88" fmla="*/ 830179 w 1872588"/>
                <a:gd name="connsiteY88" fmla="*/ 356936 h 1760621"/>
                <a:gd name="connsiteX89" fmla="*/ 818147 w 1872588"/>
                <a:gd name="connsiteY89" fmla="*/ 252663 h 1760621"/>
                <a:gd name="connsiteX90" fmla="*/ 774032 w 1872588"/>
                <a:gd name="connsiteY90" fmla="*/ 224589 h 1760621"/>
                <a:gd name="connsiteX91" fmla="*/ 737937 w 1872588"/>
                <a:gd name="connsiteY91" fmla="*/ 164431 h 1760621"/>
                <a:gd name="connsiteX92" fmla="*/ 605589 w 1872588"/>
                <a:gd name="connsiteY92" fmla="*/ 116305 h 1760621"/>
                <a:gd name="connsiteX93" fmla="*/ 589547 w 1872588"/>
                <a:gd name="connsiteY93" fmla="*/ 12031 h 1760621"/>
                <a:gd name="connsiteX0" fmla="*/ 589547 w 1886081"/>
                <a:gd name="connsiteY0" fmla="*/ 12031 h 1760621"/>
                <a:gd name="connsiteX1" fmla="*/ 537410 w 1886081"/>
                <a:gd name="connsiteY1" fmla="*/ 0 h 1760621"/>
                <a:gd name="connsiteX2" fmla="*/ 477253 w 1886081"/>
                <a:gd name="connsiteY2" fmla="*/ 16042 h 1760621"/>
                <a:gd name="connsiteX3" fmla="*/ 437147 w 1886081"/>
                <a:gd name="connsiteY3" fmla="*/ 4010 h 1760621"/>
                <a:gd name="connsiteX4" fmla="*/ 449179 w 1886081"/>
                <a:gd name="connsiteY4" fmla="*/ 52136 h 1760621"/>
                <a:gd name="connsiteX5" fmla="*/ 429126 w 1886081"/>
                <a:gd name="connsiteY5" fmla="*/ 84221 h 1760621"/>
                <a:gd name="connsiteX6" fmla="*/ 344905 w 1886081"/>
                <a:gd name="connsiteY6" fmla="*/ 80210 h 1760621"/>
                <a:gd name="connsiteX7" fmla="*/ 316832 w 1886081"/>
                <a:gd name="connsiteY7" fmla="*/ 100263 h 1760621"/>
                <a:gd name="connsiteX8" fmla="*/ 268705 w 1886081"/>
                <a:gd name="connsiteY8" fmla="*/ 104273 h 1760621"/>
                <a:gd name="connsiteX9" fmla="*/ 216568 w 1886081"/>
                <a:gd name="connsiteY9" fmla="*/ 68179 h 1760621"/>
                <a:gd name="connsiteX10" fmla="*/ 204537 w 1886081"/>
                <a:gd name="connsiteY10" fmla="*/ 100263 h 1760621"/>
                <a:gd name="connsiteX11" fmla="*/ 128337 w 1886081"/>
                <a:gd name="connsiteY11" fmla="*/ 128336 h 1760621"/>
                <a:gd name="connsiteX12" fmla="*/ 100263 w 1886081"/>
                <a:gd name="connsiteY12" fmla="*/ 124326 h 1760621"/>
                <a:gd name="connsiteX13" fmla="*/ 60158 w 1886081"/>
                <a:gd name="connsiteY13" fmla="*/ 140368 h 1760621"/>
                <a:gd name="connsiteX14" fmla="*/ 68179 w 1886081"/>
                <a:gd name="connsiteY14" fmla="*/ 168442 h 1760621"/>
                <a:gd name="connsiteX15" fmla="*/ 44116 w 1886081"/>
                <a:gd name="connsiteY15" fmla="*/ 184484 h 1760621"/>
                <a:gd name="connsiteX16" fmla="*/ 0 w 1886081"/>
                <a:gd name="connsiteY16" fmla="*/ 176463 h 1760621"/>
                <a:gd name="connsiteX17" fmla="*/ 36095 w 1886081"/>
                <a:gd name="connsiteY17" fmla="*/ 429126 h 1760621"/>
                <a:gd name="connsiteX18" fmla="*/ 100263 w 1886081"/>
                <a:gd name="connsiteY18" fmla="*/ 485273 h 1760621"/>
                <a:gd name="connsiteX19" fmla="*/ 132347 w 1886081"/>
                <a:gd name="connsiteY19" fmla="*/ 573505 h 1760621"/>
                <a:gd name="connsiteX20" fmla="*/ 268705 w 1886081"/>
                <a:gd name="connsiteY20" fmla="*/ 589547 h 1760621"/>
                <a:gd name="connsiteX21" fmla="*/ 308810 w 1886081"/>
                <a:gd name="connsiteY21" fmla="*/ 633663 h 1760621"/>
                <a:gd name="connsiteX22" fmla="*/ 372979 w 1886081"/>
                <a:gd name="connsiteY22" fmla="*/ 601579 h 1760621"/>
                <a:gd name="connsiteX23" fmla="*/ 417095 w 1886081"/>
                <a:gd name="connsiteY23" fmla="*/ 597568 h 1760621"/>
                <a:gd name="connsiteX24" fmla="*/ 389021 w 1886081"/>
                <a:gd name="connsiteY24" fmla="*/ 593558 h 1760621"/>
                <a:gd name="connsiteX25" fmla="*/ 332874 w 1886081"/>
                <a:gd name="connsiteY25" fmla="*/ 589547 h 1760621"/>
                <a:gd name="connsiteX26" fmla="*/ 276726 w 1886081"/>
                <a:gd name="connsiteY26" fmla="*/ 561473 h 1760621"/>
                <a:gd name="connsiteX27" fmla="*/ 256674 w 1886081"/>
                <a:gd name="connsiteY27" fmla="*/ 521368 h 1760621"/>
                <a:gd name="connsiteX28" fmla="*/ 292768 w 1886081"/>
                <a:gd name="connsiteY28" fmla="*/ 553452 h 1760621"/>
                <a:gd name="connsiteX29" fmla="*/ 328863 w 1886081"/>
                <a:gd name="connsiteY29" fmla="*/ 541421 h 1760621"/>
                <a:gd name="connsiteX30" fmla="*/ 356937 w 1886081"/>
                <a:gd name="connsiteY30" fmla="*/ 569494 h 1760621"/>
                <a:gd name="connsiteX31" fmla="*/ 397042 w 1886081"/>
                <a:gd name="connsiteY31" fmla="*/ 569494 h 1760621"/>
                <a:gd name="connsiteX32" fmla="*/ 449179 w 1886081"/>
                <a:gd name="connsiteY32" fmla="*/ 549442 h 1760621"/>
                <a:gd name="connsiteX33" fmla="*/ 453189 w 1886081"/>
                <a:gd name="connsiteY33" fmla="*/ 597568 h 1760621"/>
                <a:gd name="connsiteX34" fmla="*/ 469232 w 1886081"/>
                <a:gd name="connsiteY34" fmla="*/ 613610 h 1760621"/>
                <a:gd name="connsiteX35" fmla="*/ 521368 w 1886081"/>
                <a:gd name="connsiteY35" fmla="*/ 617621 h 1760621"/>
                <a:gd name="connsiteX36" fmla="*/ 513347 w 1886081"/>
                <a:gd name="connsiteY36" fmla="*/ 637673 h 1760621"/>
                <a:gd name="connsiteX37" fmla="*/ 453189 w 1886081"/>
                <a:gd name="connsiteY37" fmla="*/ 637673 h 1760621"/>
                <a:gd name="connsiteX38" fmla="*/ 409074 w 1886081"/>
                <a:gd name="connsiteY38" fmla="*/ 629652 h 1760621"/>
                <a:gd name="connsiteX39" fmla="*/ 324853 w 1886081"/>
                <a:gd name="connsiteY39" fmla="*/ 725905 h 1760621"/>
                <a:gd name="connsiteX40" fmla="*/ 56147 w 1886081"/>
                <a:gd name="connsiteY40" fmla="*/ 1291389 h 1760621"/>
                <a:gd name="connsiteX41" fmla="*/ 108284 w 1886081"/>
                <a:gd name="connsiteY41" fmla="*/ 1471863 h 1760621"/>
                <a:gd name="connsiteX42" fmla="*/ 184484 w 1886081"/>
                <a:gd name="connsiteY42" fmla="*/ 1640305 h 1760621"/>
                <a:gd name="connsiteX43" fmla="*/ 284747 w 1886081"/>
                <a:gd name="connsiteY43" fmla="*/ 1740568 h 1760621"/>
                <a:gd name="connsiteX44" fmla="*/ 360947 w 1886081"/>
                <a:gd name="connsiteY44" fmla="*/ 1752600 h 1760621"/>
                <a:gd name="connsiteX45" fmla="*/ 1303421 w 1886081"/>
                <a:gd name="connsiteY45" fmla="*/ 1760621 h 1760621"/>
                <a:gd name="connsiteX46" fmla="*/ 1427747 w 1886081"/>
                <a:gd name="connsiteY46" fmla="*/ 1556084 h 1760621"/>
                <a:gd name="connsiteX47" fmla="*/ 1407695 w 1886081"/>
                <a:gd name="connsiteY47" fmla="*/ 1499936 h 1760621"/>
                <a:gd name="connsiteX48" fmla="*/ 1431758 w 1886081"/>
                <a:gd name="connsiteY48" fmla="*/ 1403684 h 1760621"/>
                <a:gd name="connsiteX49" fmla="*/ 1407695 w 1886081"/>
                <a:gd name="connsiteY49" fmla="*/ 1359568 h 1760621"/>
                <a:gd name="connsiteX50" fmla="*/ 1511968 w 1886081"/>
                <a:gd name="connsiteY50" fmla="*/ 1323473 h 1760621"/>
                <a:gd name="connsiteX51" fmla="*/ 1544053 w 1886081"/>
                <a:gd name="connsiteY51" fmla="*/ 1187115 h 1760621"/>
                <a:gd name="connsiteX52" fmla="*/ 1487905 w 1886081"/>
                <a:gd name="connsiteY52" fmla="*/ 1143000 h 1760621"/>
                <a:gd name="connsiteX53" fmla="*/ 1495926 w 1886081"/>
                <a:gd name="connsiteY53" fmla="*/ 1082842 h 1760621"/>
                <a:gd name="connsiteX54" fmla="*/ 1592179 w 1886081"/>
                <a:gd name="connsiteY54" fmla="*/ 1050758 h 1760621"/>
                <a:gd name="connsiteX55" fmla="*/ 1716505 w 1886081"/>
                <a:gd name="connsiteY55" fmla="*/ 894347 h 1760621"/>
                <a:gd name="connsiteX56" fmla="*/ 1700463 w 1886081"/>
                <a:gd name="connsiteY56" fmla="*/ 798094 h 1760621"/>
                <a:gd name="connsiteX57" fmla="*/ 1816768 w 1886081"/>
                <a:gd name="connsiteY57" fmla="*/ 677779 h 1760621"/>
                <a:gd name="connsiteX58" fmla="*/ 1868906 w 1886081"/>
                <a:gd name="connsiteY58" fmla="*/ 521368 h 1760621"/>
                <a:gd name="connsiteX59" fmla="*/ 1843930 w 1886081"/>
                <a:gd name="connsiteY59" fmla="*/ 501350 h 1760621"/>
                <a:gd name="connsiteX60" fmla="*/ 1886081 w 1886081"/>
                <a:gd name="connsiteY60" fmla="*/ 430658 h 1760621"/>
                <a:gd name="connsiteX61" fmla="*/ 1854594 w 1886081"/>
                <a:gd name="connsiteY61" fmla="*/ 485354 h 1760621"/>
                <a:gd name="connsiteX62" fmla="*/ 1752600 w 1886081"/>
                <a:gd name="connsiteY62" fmla="*/ 449179 h 1760621"/>
                <a:gd name="connsiteX63" fmla="*/ 1656347 w 1886081"/>
                <a:gd name="connsiteY63" fmla="*/ 417094 h 1760621"/>
                <a:gd name="connsiteX64" fmla="*/ 1580147 w 1886081"/>
                <a:gd name="connsiteY64" fmla="*/ 429126 h 1760621"/>
                <a:gd name="connsiteX65" fmla="*/ 1524000 w 1886081"/>
                <a:gd name="connsiteY65" fmla="*/ 489284 h 1760621"/>
                <a:gd name="connsiteX66" fmla="*/ 1524000 w 1886081"/>
                <a:gd name="connsiteY66" fmla="*/ 537410 h 1760621"/>
                <a:gd name="connsiteX67" fmla="*/ 1536032 w 1886081"/>
                <a:gd name="connsiteY67" fmla="*/ 549442 h 1760621"/>
                <a:gd name="connsiteX68" fmla="*/ 1503947 w 1886081"/>
                <a:gd name="connsiteY68" fmla="*/ 557463 h 1760621"/>
                <a:gd name="connsiteX69" fmla="*/ 1483895 w 1886081"/>
                <a:gd name="connsiteY69" fmla="*/ 545431 h 1760621"/>
                <a:gd name="connsiteX70" fmla="*/ 1371600 w 1886081"/>
                <a:gd name="connsiteY70" fmla="*/ 697831 h 1760621"/>
                <a:gd name="connsiteX71" fmla="*/ 1395663 w 1886081"/>
                <a:gd name="connsiteY71" fmla="*/ 593558 h 1760621"/>
                <a:gd name="connsiteX72" fmla="*/ 1155032 w 1886081"/>
                <a:gd name="connsiteY72" fmla="*/ 605589 h 1760621"/>
                <a:gd name="connsiteX73" fmla="*/ 1471863 w 1886081"/>
                <a:gd name="connsiteY73" fmla="*/ 533400 h 1760621"/>
                <a:gd name="connsiteX74" fmla="*/ 1524000 w 1886081"/>
                <a:gd name="connsiteY74" fmla="*/ 376989 h 1760621"/>
                <a:gd name="connsiteX75" fmla="*/ 1447800 w 1886081"/>
                <a:gd name="connsiteY75" fmla="*/ 352926 h 1760621"/>
                <a:gd name="connsiteX76" fmla="*/ 1251284 w 1886081"/>
                <a:gd name="connsiteY76" fmla="*/ 372979 h 1760621"/>
                <a:gd name="connsiteX77" fmla="*/ 1207168 w 1886081"/>
                <a:gd name="connsiteY77" fmla="*/ 501315 h 1760621"/>
                <a:gd name="connsiteX78" fmla="*/ 1167063 w 1886081"/>
                <a:gd name="connsiteY78" fmla="*/ 485273 h 1760621"/>
                <a:gd name="connsiteX79" fmla="*/ 986589 w 1886081"/>
                <a:gd name="connsiteY79" fmla="*/ 577515 h 1760621"/>
                <a:gd name="connsiteX80" fmla="*/ 966537 w 1886081"/>
                <a:gd name="connsiteY80" fmla="*/ 697831 h 1760621"/>
                <a:gd name="connsiteX81" fmla="*/ 946484 w 1886081"/>
                <a:gd name="connsiteY81" fmla="*/ 625642 h 1760621"/>
                <a:gd name="connsiteX82" fmla="*/ 970547 w 1886081"/>
                <a:gd name="connsiteY82" fmla="*/ 561473 h 1760621"/>
                <a:gd name="connsiteX83" fmla="*/ 830179 w 1886081"/>
                <a:gd name="connsiteY83" fmla="*/ 601579 h 1760621"/>
                <a:gd name="connsiteX84" fmla="*/ 962526 w 1886081"/>
                <a:gd name="connsiteY84" fmla="*/ 537410 h 1760621"/>
                <a:gd name="connsiteX85" fmla="*/ 946484 w 1886081"/>
                <a:gd name="connsiteY85" fmla="*/ 469231 h 1760621"/>
                <a:gd name="connsiteX86" fmla="*/ 922421 w 1886081"/>
                <a:gd name="connsiteY86" fmla="*/ 449179 h 1760621"/>
                <a:gd name="connsiteX87" fmla="*/ 918410 w 1886081"/>
                <a:gd name="connsiteY87" fmla="*/ 397042 h 1760621"/>
                <a:gd name="connsiteX88" fmla="*/ 830179 w 1886081"/>
                <a:gd name="connsiteY88" fmla="*/ 356936 h 1760621"/>
                <a:gd name="connsiteX89" fmla="*/ 818147 w 1886081"/>
                <a:gd name="connsiteY89" fmla="*/ 252663 h 1760621"/>
                <a:gd name="connsiteX90" fmla="*/ 774032 w 1886081"/>
                <a:gd name="connsiteY90" fmla="*/ 224589 h 1760621"/>
                <a:gd name="connsiteX91" fmla="*/ 737937 w 1886081"/>
                <a:gd name="connsiteY91" fmla="*/ 164431 h 1760621"/>
                <a:gd name="connsiteX92" fmla="*/ 605589 w 1886081"/>
                <a:gd name="connsiteY92" fmla="*/ 116305 h 1760621"/>
                <a:gd name="connsiteX93" fmla="*/ 589547 w 1886081"/>
                <a:gd name="connsiteY93" fmla="*/ 12031 h 1760621"/>
                <a:gd name="connsiteX0" fmla="*/ 589547 w 1949297"/>
                <a:gd name="connsiteY0" fmla="*/ 12031 h 1760621"/>
                <a:gd name="connsiteX1" fmla="*/ 537410 w 1949297"/>
                <a:gd name="connsiteY1" fmla="*/ 0 h 1760621"/>
                <a:gd name="connsiteX2" fmla="*/ 477253 w 1949297"/>
                <a:gd name="connsiteY2" fmla="*/ 16042 h 1760621"/>
                <a:gd name="connsiteX3" fmla="*/ 437147 w 1949297"/>
                <a:gd name="connsiteY3" fmla="*/ 4010 h 1760621"/>
                <a:gd name="connsiteX4" fmla="*/ 449179 w 1949297"/>
                <a:gd name="connsiteY4" fmla="*/ 52136 h 1760621"/>
                <a:gd name="connsiteX5" fmla="*/ 429126 w 1949297"/>
                <a:gd name="connsiteY5" fmla="*/ 84221 h 1760621"/>
                <a:gd name="connsiteX6" fmla="*/ 344905 w 1949297"/>
                <a:gd name="connsiteY6" fmla="*/ 80210 h 1760621"/>
                <a:gd name="connsiteX7" fmla="*/ 316832 w 1949297"/>
                <a:gd name="connsiteY7" fmla="*/ 100263 h 1760621"/>
                <a:gd name="connsiteX8" fmla="*/ 268705 w 1949297"/>
                <a:gd name="connsiteY8" fmla="*/ 104273 h 1760621"/>
                <a:gd name="connsiteX9" fmla="*/ 216568 w 1949297"/>
                <a:gd name="connsiteY9" fmla="*/ 68179 h 1760621"/>
                <a:gd name="connsiteX10" fmla="*/ 204537 w 1949297"/>
                <a:gd name="connsiteY10" fmla="*/ 100263 h 1760621"/>
                <a:gd name="connsiteX11" fmla="*/ 128337 w 1949297"/>
                <a:gd name="connsiteY11" fmla="*/ 128336 h 1760621"/>
                <a:gd name="connsiteX12" fmla="*/ 100263 w 1949297"/>
                <a:gd name="connsiteY12" fmla="*/ 124326 h 1760621"/>
                <a:gd name="connsiteX13" fmla="*/ 60158 w 1949297"/>
                <a:gd name="connsiteY13" fmla="*/ 140368 h 1760621"/>
                <a:gd name="connsiteX14" fmla="*/ 68179 w 1949297"/>
                <a:gd name="connsiteY14" fmla="*/ 168442 h 1760621"/>
                <a:gd name="connsiteX15" fmla="*/ 44116 w 1949297"/>
                <a:gd name="connsiteY15" fmla="*/ 184484 h 1760621"/>
                <a:gd name="connsiteX16" fmla="*/ 0 w 1949297"/>
                <a:gd name="connsiteY16" fmla="*/ 176463 h 1760621"/>
                <a:gd name="connsiteX17" fmla="*/ 36095 w 1949297"/>
                <a:gd name="connsiteY17" fmla="*/ 429126 h 1760621"/>
                <a:gd name="connsiteX18" fmla="*/ 100263 w 1949297"/>
                <a:gd name="connsiteY18" fmla="*/ 485273 h 1760621"/>
                <a:gd name="connsiteX19" fmla="*/ 132347 w 1949297"/>
                <a:gd name="connsiteY19" fmla="*/ 573505 h 1760621"/>
                <a:gd name="connsiteX20" fmla="*/ 268705 w 1949297"/>
                <a:gd name="connsiteY20" fmla="*/ 589547 h 1760621"/>
                <a:gd name="connsiteX21" fmla="*/ 308810 w 1949297"/>
                <a:gd name="connsiteY21" fmla="*/ 633663 h 1760621"/>
                <a:gd name="connsiteX22" fmla="*/ 372979 w 1949297"/>
                <a:gd name="connsiteY22" fmla="*/ 601579 h 1760621"/>
                <a:gd name="connsiteX23" fmla="*/ 417095 w 1949297"/>
                <a:gd name="connsiteY23" fmla="*/ 597568 h 1760621"/>
                <a:gd name="connsiteX24" fmla="*/ 389021 w 1949297"/>
                <a:gd name="connsiteY24" fmla="*/ 593558 h 1760621"/>
                <a:gd name="connsiteX25" fmla="*/ 332874 w 1949297"/>
                <a:gd name="connsiteY25" fmla="*/ 589547 h 1760621"/>
                <a:gd name="connsiteX26" fmla="*/ 276726 w 1949297"/>
                <a:gd name="connsiteY26" fmla="*/ 561473 h 1760621"/>
                <a:gd name="connsiteX27" fmla="*/ 256674 w 1949297"/>
                <a:gd name="connsiteY27" fmla="*/ 521368 h 1760621"/>
                <a:gd name="connsiteX28" fmla="*/ 292768 w 1949297"/>
                <a:gd name="connsiteY28" fmla="*/ 553452 h 1760621"/>
                <a:gd name="connsiteX29" fmla="*/ 328863 w 1949297"/>
                <a:gd name="connsiteY29" fmla="*/ 541421 h 1760621"/>
                <a:gd name="connsiteX30" fmla="*/ 356937 w 1949297"/>
                <a:gd name="connsiteY30" fmla="*/ 569494 h 1760621"/>
                <a:gd name="connsiteX31" fmla="*/ 397042 w 1949297"/>
                <a:gd name="connsiteY31" fmla="*/ 569494 h 1760621"/>
                <a:gd name="connsiteX32" fmla="*/ 449179 w 1949297"/>
                <a:gd name="connsiteY32" fmla="*/ 549442 h 1760621"/>
                <a:gd name="connsiteX33" fmla="*/ 453189 w 1949297"/>
                <a:gd name="connsiteY33" fmla="*/ 597568 h 1760621"/>
                <a:gd name="connsiteX34" fmla="*/ 469232 w 1949297"/>
                <a:gd name="connsiteY34" fmla="*/ 613610 h 1760621"/>
                <a:gd name="connsiteX35" fmla="*/ 521368 w 1949297"/>
                <a:gd name="connsiteY35" fmla="*/ 617621 h 1760621"/>
                <a:gd name="connsiteX36" fmla="*/ 513347 w 1949297"/>
                <a:gd name="connsiteY36" fmla="*/ 637673 h 1760621"/>
                <a:gd name="connsiteX37" fmla="*/ 453189 w 1949297"/>
                <a:gd name="connsiteY37" fmla="*/ 637673 h 1760621"/>
                <a:gd name="connsiteX38" fmla="*/ 409074 w 1949297"/>
                <a:gd name="connsiteY38" fmla="*/ 629652 h 1760621"/>
                <a:gd name="connsiteX39" fmla="*/ 324853 w 1949297"/>
                <a:gd name="connsiteY39" fmla="*/ 725905 h 1760621"/>
                <a:gd name="connsiteX40" fmla="*/ 56147 w 1949297"/>
                <a:gd name="connsiteY40" fmla="*/ 1291389 h 1760621"/>
                <a:gd name="connsiteX41" fmla="*/ 108284 w 1949297"/>
                <a:gd name="connsiteY41" fmla="*/ 1471863 h 1760621"/>
                <a:gd name="connsiteX42" fmla="*/ 184484 w 1949297"/>
                <a:gd name="connsiteY42" fmla="*/ 1640305 h 1760621"/>
                <a:gd name="connsiteX43" fmla="*/ 284747 w 1949297"/>
                <a:gd name="connsiteY43" fmla="*/ 1740568 h 1760621"/>
                <a:gd name="connsiteX44" fmla="*/ 360947 w 1949297"/>
                <a:gd name="connsiteY44" fmla="*/ 1752600 h 1760621"/>
                <a:gd name="connsiteX45" fmla="*/ 1303421 w 1949297"/>
                <a:gd name="connsiteY45" fmla="*/ 1760621 h 1760621"/>
                <a:gd name="connsiteX46" fmla="*/ 1427747 w 1949297"/>
                <a:gd name="connsiteY46" fmla="*/ 1556084 h 1760621"/>
                <a:gd name="connsiteX47" fmla="*/ 1407695 w 1949297"/>
                <a:gd name="connsiteY47" fmla="*/ 1499936 h 1760621"/>
                <a:gd name="connsiteX48" fmla="*/ 1431758 w 1949297"/>
                <a:gd name="connsiteY48" fmla="*/ 1403684 h 1760621"/>
                <a:gd name="connsiteX49" fmla="*/ 1407695 w 1949297"/>
                <a:gd name="connsiteY49" fmla="*/ 1359568 h 1760621"/>
                <a:gd name="connsiteX50" fmla="*/ 1511968 w 1949297"/>
                <a:gd name="connsiteY50" fmla="*/ 1323473 h 1760621"/>
                <a:gd name="connsiteX51" fmla="*/ 1544053 w 1949297"/>
                <a:gd name="connsiteY51" fmla="*/ 1187115 h 1760621"/>
                <a:gd name="connsiteX52" fmla="*/ 1487905 w 1949297"/>
                <a:gd name="connsiteY52" fmla="*/ 1143000 h 1760621"/>
                <a:gd name="connsiteX53" fmla="*/ 1495926 w 1949297"/>
                <a:gd name="connsiteY53" fmla="*/ 1082842 h 1760621"/>
                <a:gd name="connsiteX54" fmla="*/ 1592179 w 1949297"/>
                <a:gd name="connsiteY54" fmla="*/ 1050758 h 1760621"/>
                <a:gd name="connsiteX55" fmla="*/ 1716505 w 1949297"/>
                <a:gd name="connsiteY55" fmla="*/ 894347 h 1760621"/>
                <a:gd name="connsiteX56" fmla="*/ 1700463 w 1949297"/>
                <a:gd name="connsiteY56" fmla="*/ 798094 h 1760621"/>
                <a:gd name="connsiteX57" fmla="*/ 1816768 w 1949297"/>
                <a:gd name="connsiteY57" fmla="*/ 677779 h 1760621"/>
                <a:gd name="connsiteX58" fmla="*/ 1868906 w 1949297"/>
                <a:gd name="connsiteY58" fmla="*/ 521368 h 1760621"/>
                <a:gd name="connsiteX59" fmla="*/ 1937236 w 1949297"/>
                <a:gd name="connsiteY59" fmla="*/ 469359 h 1760621"/>
                <a:gd name="connsiteX60" fmla="*/ 1886081 w 1949297"/>
                <a:gd name="connsiteY60" fmla="*/ 430658 h 1760621"/>
                <a:gd name="connsiteX61" fmla="*/ 1854594 w 1949297"/>
                <a:gd name="connsiteY61" fmla="*/ 485354 h 1760621"/>
                <a:gd name="connsiteX62" fmla="*/ 1752600 w 1949297"/>
                <a:gd name="connsiteY62" fmla="*/ 449179 h 1760621"/>
                <a:gd name="connsiteX63" fmla="*/ 1656347 w 1949297"/>
                <a:gd name="connsiteY63" fmla="*/ 417094 h 1760621"/>
                <a:gd name="connsiteX64" fmla="*/ 1580147 w 1949297"/>
                <a:gd name="connsiteY64" fmla="*/ 429126 h 1760621"/>
                <a:gd name="connsiteX65" fmla="*/ 1524000 w 1949297"/>
                <a:gd name="connsiteY65" fmla="*/ 489284 h 1760621"/>
                <a:gd name="connsiteX66" fmla="*/ 1524000 w 1949297"/>
                <a:gd name="connsiteY66" fmla="*/ 537410 h 1760621"/>
                <a:gd name="connsiteX67" fmla="*/ 1536032 w 1949297"/>
                <a:gd name="connsiteY67" fmla="*/ 549442 h 1760621"/>
                <a:gd name="connsiteX68" fmla="*/ 1503947 w 1949297"/>
                <a:gd name="connsiteY68" fmla="*/ 557463 h 1760621"/>
                <a:gd name="connsiteX69" fmla="*/ 1483895 w 1949297"/>
                <a:gd name="connsiteY69" fmla="*/ 545431 h 1760621"/>
                <a:gd name="connsiteX70" fmla="*/ 1371600 w 1949297"/>
                <a:gd name="connsiteY70" fmla="*/ 697831 h 1760621"/>
                <a:gd name="connsiteX71" fmla="*/ 1395663 w 1949297"/>
                <a:gd name="connsiteY71" fmla="*/ 593558 h 1760621"/>
                <a:gd name="connsiteX72" fmla="*/ 1155032 w 1949297"/>
                <a:gd name="connsiteY72" fmla="*/ 605589 h 1760621"/>
                <a:gd name="connsiteX73" fmla="*/ 1471863 w 1949297"/>
                <a:gd name="connsiteY73" fmla="*/ 533400 h 1760621"/>
                <a:gd name="connsiteX74" fmla="*/ 1524000 w 1949297"/>
                <a:gd name="connsiteY74" fmla="*/ 376989 h 1760621"/>
                <a:gd name="connsiteX75" fmla="*/ 1447800 w 1949297"/>
                <a:gd name="connsiteY75" fmla="*/ 352926 h 1760621"/>
                <a:gd name="connsiteX76" fmla="*/ 1251284 w 1949297"/>
                <a:gd name="connsiteY76" fmla="*/ 372979 h 1760621"/>
                <a:gd name="connsiteX77" fmla="*/ 1207168 w 1949297"/>
                <a:gd name="connsiteY77" fmla="*/ 501315 h 1760621"/>
                <a:gd name="connsiteX78" fmla="*/ 1167063 w 1949297"/>
                <a:gd name="connsiteY78" fmla="*/ 485273 h 1760621"/>
                <a:gd name="connsiteX79" fmla="*/ 986589 w 1949297"/>
                <a:gd name="connsiteY79" fmla="*/ 577515 h 1760621"/>
                <a:gd name="connsiteX80" fmla="*/ 966537 w 1949297"/>
                <a:gd name="connsiteY80" fmla="*/ 697831 h 1760621"/>
                <a:gd name="connsiteX81" fmla="*/ 946484 w 1949297"/>
                <a:gd name="connsiteY81" fmla="*/ 625642 h 1760621"/>
                <a:gd name="connsiteX82" fmla="*/ 970547 w 1949297"/>
                <a:gd name="connsiteY82" fmla="*/ 561473 h 1760621"/>
                <a:gd name="connsiteX83" fmla="*/ 830179 w 1949297"/>
                <a:gd name="connsiteY83" fmla="*/ 601579 h 1760621"/>
                <a:gd name="connsiteX84" fmla="*/ 962526 w 1949297"/>
                <a:gd name="connsiteY84" fmla="*/ 537410 h 1760621"/>
                <a:gd name="connsiteX85" fmla="*/ 946484 w 1949297"/>
                <a:gd name="connsiteY85" fmla="*/ 469231 h 1760621"/>
                <a:gd name="connsiteX86" fmla="*/ 922421 w 1949297"/>
                <a:gd name="connsiteY86" fmla="*/ 449179 h 1760621"/>
                <a:gd name="connsiteX87" fmla="*/ 918410 w 1949297"/>
                <a:gd name="connsiteY87" fmla="*/ 397042 h 1760621"/>
                <a:gd name="connsiteX88" fmla="*/ 830179 w 1949297"/>
                <a:gd name="connsiteY88" fmla="*/ 356936 h 1760621"/>
                <a:gd name="connsiteX89" fmla="*/ 818147 w 1949297"/>
                <a:gd name="connsiteY89" fmla="*/ 252663 h 1760621"/>
                <a:gd name="connsiteX90" fmla="*/ 774032 w 1949297"/>
                <a:gd name="connsiteY90" fmla="*/ 224589 h 1760621"/>
                <a:gd name="connsiteX91" fmla="*/ 737937 w 1949297"/>
                <a:gd name="connsiteY91" fmla="*/ 164431 h 1760621"/>
                <a:gd name="connsiteX92" fmla="*/ 605589 w 1949297"/>
                <a:gd name="connsiteY92" fmla="*/ 116305 h 1760621"/>
                <a:gd name="connsiteX93" fmla="*/ 589547 w 1949297"/>
                <a:gd name="connsiteY93" fmla="*/ 12031 h 1760621"/>
                <a:gd name="connsiteX0" fmla="*/ 589547 w 1949297"/>
                <a:gd name="connsiteY0" fmla="*/ 12031 h 1760621"/>
                <a:gd name="connsiteX1" fmla="*/ 537410 w 1949297"/>
                <a:gd name="connsiteY1" fmla="*/ 0 h 1760621"/>
                <a:gd name="connsiteX2" fmla="*/ 477253 w 1949297"/>
                <a:gd name="connsiteY2" fmla="*/ 16042 h 1760621"/>
                <a:gd name="connsiteX3" fmla="*/ 437147 w 1949297"/>
                <a:gd name="connsiteY3" fmla="*/ 4010 h 1760621"/>
                <a:gd name="connsiteX4" fmla="*/ 449179 w 1949297"/>
                <a:gd name="connsiteY4" fmla="*/ 52136 h 1760621"/>
                <a:gd name="connsiteX5" fmla="*/ 429126 w 1949297"/>
                <a:gd name="connsiteY5" fmla="*/ 84221 h 1760621"/>
                <a:gd name="connsiteX6" fmla="*/ 344905 w 1949297"/>
                <a:gd name="connsiteY6" fmla="*/ 80210 h 1760621"/>
                <a:gd name="connsiteX7" fmla="*/ 316832 w 1949297"/>
                <a:gd name="connsiteY7" fmla="*/ 100263 h 1760621"/>
                <a:gd name="connsiteX8" fmla="*/ 268705 w 1949297"/>
                <a:gd name="connsiteY8" fmla="*/ 104273 h 1760621"/>
                <a:gd name="connsiteX9" fmla="*/ 216568 w 1949297"/>
                <a:gd name="connsiteY9" fmla="*/ 68179 h 1760621"/>
                <a:gd name="connsiteX10" fmla="*/ 204537 w 1949297"/>
                <a:gd name="connsiteY10" fmla="*/ 100263 h 1760621"/>
                <a:gd name="connsiteX11" fmla="*/ 128337 w 1949297"/>
                <a:gd name="connsiteY11" fmla="*/ 128336 h 1760621"/>
                <a:gd name="connsiteX12" fmla="*/ 100263 w 1949297"/>
                <a:gd name="connsiteY12" fmla="*/ 124326 h 1760621"/>
                <a:gd name="connsiteX13" fmla="*/ 60158 w 1949297"/>
                <a:gd name="connsiteY13" fmla="*/ 140368 h 1760621"/>
                <a:gd name="connsiteX14" fmla="*/ 68179 w 1949297"/>
                <a:gd name="connsiteY14" fmla="*/ 168442 h 1760621"/>
                <a:gd name="connsiteX15" fmla="*/ 44116 w 1949297"/>
                <a:gd name="connsiteY15" fmla="*/ 184484 h 1760621"/>
                <a:gd name="connsiteX16" fmla="*/ 0 w 1949297"/>
                <a:gd name="connsiteY16" fmla="*/ 176463 h 1760621"/>
                <a:gd name="connsiteX17" fmla="*/ 36095 w 1949297"/>
                <a:gd name="connsiteY17" fmla="*/ 429126 h 1760621"/>
                <a:gd name="connsiteX18" fmla="*/ 100263 w 1949297"/>
                <a:gd name="connsiteY18" fmla="*/ 485273 h 1760621"/>
                <a:gd name="connsiteX19" fmla="*/ 132347 w 1949297"/>
                <a:gd name="connsiteY19" fmla="*/ 573505 h 1760621"/>
                <a:gd name="connsiteX20" fmla="*/ 268705 w 1949297"/>
                <a:gd name="connsiteY20" fmla="*/ 589547 h 1760621"/>
                <a:gd name="connsiteX21" fmla="*/ 308810 w 1949297"/>
                <a:gd name="connsiteY21" fmla="*/ 633663 h 1760621"/>
                <a:gd name="connsiteX22" fmla="*/ 372979 w 1949297"/>
                <a:gd name="connsiteY22" fmla="*/ 601579 h 1760621"/>
                <a:gd name="connsiteX23" fmla="*/ 417095 w 1949297"/>
                <a:gd name="connsiteY23" fmla="*/ 597568 h 1760621"/>
                <a:gd name="connsiteX24" fmla="*/ 389021 w 1949297"/>
                <a:gd name="connsiteY24" fmla="*/ 593558 h 1760621"/>
                <a:gd name="connsiteX25" fmla="*/ 332874 w 1949297"/>
                <a:gd name="connsiteY25" fmla="*/ 589547 h 1760621"/>
                <a:gd name="connsiteX26" fmla="*/ 276726 w 1949297"/>
                <a:gd name="connsiteY26" fmla="*/ 561473 h 1760621"/>
                <a:gd name="connsiteX27" fmla="*/ 256674 w 1949297"/>
                <a:gd name="connsiteY27" fmla="*/ 521368 h 1760621"/>
                <a:gd name="connsiteX28" fmla="*/ 292768 w 1949297"/>
                <a:gd name="connsiteY28" fmla="*/ 553452 h 1760621"/>
                <a:gd name="connsiteX29" fmla="*/ 328863 w 1949297"/>
                <a:gd name="connsiteY29" fmla="*/ 541421 h 1760621"/>
                <a:gd name="connsiteX30" fmla="*/ 356937 w 1949297"/>
                <a:gd name="connsiteY30" fmla="*/ 569494 h 1760621"/>
                <a:gd name="connsiteX31" fmla="*/ 397042 w 1949297"/>
                <a:gd name="connsiteY31" fmla="*/ 569494 h 1760621"/>
                <a:gd name="connsiteX32" fmla="*/ 449179 w 1949297"/>
                <a:gd name="connsiteY32" fmla="*/ 549442 h 1760621"/>
                <a:gd name="connsiteX33" fmla="*/ 453189 w 1949297"/>
                <a:gd name="connsiteY33" fmla="*/ 597568 h 1760621"/>
                <a:gd name="connsiteX34" fmla="*/ 469232 w 1949297"/>
                <a:gd name="connsiteY34" fmla="*/ 613610 h 1760621"/>
                <a:gd name="connsiteX35" fmla="*/ 521368 w 1949297"/>
                <a:gd name="connsiteY35" fmla="*/ 617621 h 1760621"/>
                <a:gd name="connsiteX36" fmla="*/ 513347 w 1949297"/>
                <a:gd name="connsiteY36" fmla="*/ 637673 h 1760621"/>
                <a:gd name="connsiteX37" fmla="*/ 453189 w 1949297"/>
                <a:gd name="connsiteY37" fmla="*/ 637673 h 1760621"/>
                <a:gd name="connsiteX38" fmla="*/ 409074 w 1949297"/>
                <a:gd name="connsiteY38" fmla="*/ 629652 h 1760621"/>
                <a:gd name="connsiteX39" fmla="*/ 324853 w 1949297"/>
                <a:gd name="connsiteY39" fmla="*/ 725905 h 1760621"/>
                <a:gd name="connsiteX40" fmla="*/ 56147 w 1949297"/>
                <a:gd name="connsiteY40" fmla="*/ 1291389 h 1760621"/>
                <a:gd name="connsiteX41" fmla="*/ 108284 w 1949297"/>
                <a:gd name="connsiteY41" fmla="*/ 1471863 h 1760621"/>
                <a:gd name="connsiteX42" fmla="*/ 184484 w 1949297"/>
                <a:gd name="connsiteY42" fmla="*/ 1640305 h 1760621"/>
                <a:gd name="connsiteX43" fmla="*/ 284747 w 1949297"/>
                <a:gd name="connsiteY43" fmla="*/ 1740568 h 1760621"/>
                <a:gd name="connsiteX44" fmla="*/ 360947 w 1949297"/>
                <a:gd name="connsiteY44" fmla="*/ 1752600 h 1760621"/>
                <a:gd name="connsiteX45" fmla="*/ 1303421 w 1949297"/>
                <a:gd name="connsiteY45" fmla="*/ 1760621 h 1760621"/>
                <a:gd name="connsiteX46" fmla="*/ 1427747 w 1949297"/>
                <a:gd name="connsiteY46" fmla="*/ 1556084 h 1760621"/>
                <a:gd name="connsiteX47" fmla="*/ 1407695 w 1949297"/>
                <a:gd name="connsiteY47" fmla="*/ 1499936 h 1760621"/>
                <a:gd name="connsiteX48" fmla="*/ 1431758 w 1949297"/>
                <a:gd name="connsiteY48" fmla="*/ 1403684 h 1760621"/>
                <a:gd name="connsiteX49" fmla="*/ 1407695 w 1949297"/>
                <a:gd name="connsiteY49" fmla="*/ 1359568 h 1760621"/>
                <a:gd name="connsiteX50" fmla="*/ 1511968 w 1949297"/>
                <a:gd name="connsiteY50" fmla="*/ 1323473 h 1760621"/>
                <a:gd name="connsiteX51" fmla="*/ 1544053 w 1949297"/>
                <a:gd name="connsiteY51" fmla="*/ 1187115 h 1760621"/>
                <a:gd name="connsiteX52" fmla="*/ 1487905 w 1949297"/>
                <a:gd name="connsiteY52" fmla="*/ 1143000 h 1760621"/>
                <a:gd name="connsiteX53" fmla="*/ 1495926 w 1949297"/>
                <a:gd name="connsiteY53" fmla="*/ 1082842 h 1760621"/>
                <a:gd name="connsiteX54" fmla="*/ 1592179 w 1949297"/>
                <a:gd name="connsiteY54" fmla="*/ 1050758 h 1760621"/>
                <a:gd name="connsiteX55" fmla="*/ 1716505 w 1949297"/>
                <a:gd name="connsiteY55" fmla="*/ 894347 h 1760621"/>
                <a:gd name="connsiteX56" fmla="*/ 1700463 w 1949297"/>
                <a:gd name="connsiteY56" fmla="*/ 798094 h 1760621"/>
                <a:gd name="connsiteX57" fmla="*/ 1816768 w 1949297"/>
                <a:gd name="connsiteY57" fmla="*/ 677779 h 1760621"/>
                <a:gd name="connsiteX58" fmla="*/ 1868906 w 1949297"/>
                <a:gd name="connsiteY58" fmla="*/ 521368 h 1760621"/>
                <a:gd name="connsiteX59" fmla="*/ 1937236 w 1949297"/>
                <a:gd name="connsiteY59" fmla="*/ 469359 h 1760621"/>
                <a:gd name="connsiteX60" fmla="*/ 1886081 w 1949297"/>
                <a:gd name="connsiteY60" fmla="*/ 430658 h 1760621"/>
                <a:gd name="connsiteX61" fmla="*/ 1817271 w 1949297"/>
                <a:gd name="connsiteY61" fmla="*/ 450698 h 1760621"/>
                <a:gd name="connsiteX62" fmla="*/ 1752600 w 1949297"/>
                <a:gd name="connsiteY62" fmla="*/ 449179 h 1760621"/>
                <a:gd name="connsiteX63" fmla="*/ 1656347 w 1949297"/>
                <a:gd name="connsiteY63" fmla="*/ 417094 h 1760621"/>
                <a:gd name="connsiteX64" fmla="*/ 1580147 w 1949297"/>
                <a:gd name="connsiteY64" fmla="*/ 429126 h 1760621"/>
                <a:gd name="connsiteX65" fmla="*/ 1524000 w 1949297"/>
                <a:gd name="connsiteY65" fmla="*/ 489284 h 1760621"/>
                <a:gd name="connsiteX66" fmla="*/ 1524000 w 1949297"/>
                <a:gd name="connsiteY66" fmla="*/ 537410 h 1760621"/>
                <a:gd name="connsiteX67" fmla="*/ 1536032 w 1949297"/>
                <a:gd name="connsiteY67" fmla="*/ 549442 h 1760621"/>
                <a:gd name="connsiteX68" fmla="*/ 1503947 w 1949297"/>
                <a:gd name="connsiteY68" fmla="*/ 557463 h 1760621"/>
                <a:gd name="connsiteX69" fmla="*/ 1483895 w 1949297"/>
                <a:gd name="connsiteY69" fmla="*/ 545431 h 1760621"/>
                <a:gd name="connsiteX70" fmla="*/ 1371600 w 1949297"/>
                <a:gd name="connsiteY70" fmla="*/ 697831 h 1760621"/>
                <a:gd name="connsiteX71" fmla="*/ 1395663 w 1949297"/>
                <a:gd name="connsiteY71" fmla="*/ 593558 h 1760621"/>
                <a:gd name="connsiteX72" fmla="*/ 1155032 w 1949297"/>
                <a:gd name="connsiteY72" fmla="*/ 605589 h 1760621"/>
                <a:gd name="connsiteX73" fmla="*/ 1471863 w 1949297"/>
                <a:gd name="connsiteY73" fmla="*/ 533400 h 1760621"/>
                <a:gd name="connsiteX74" fmla="*/ 1524000 w 1949297"/>
                <a:gd name="connsiteY74" fmla="*/ 376989 h 1760621"/>
                <a:gd name="connsiteX75" fmla="*/ 1447800 w 1949297"/>
                <a:gd name="connsiteY75" fmla="*/ 352926 h 1760621"/>
                <a:gd name="connsiteX76" fmla="*/ 1251284 w 1949297"/>
                <a:gd name="connsiteY76" fmla="*/ 372979 h 1760621"/>
                <a:gd name="connsiteX77" fmla="*/ 1207168 w 1949297"/>
                <a:gd name="connsiteY77" fmla="*/ 501315 h 1760621"/>
                <a:gd name="connsiteX78" fmla="*/ 1167063 w 1949297"/>
                <a:gd name="connsiteY78" fmla="*/ 485273 h 1760621"/>
                <a:gd name="connsiteX79" fmla="*/ 986589 w 1949297"/>
                <a:gd name="connsiteY79" fmla="*/ 577515 h 1760621"/>
                <a:gd name="connsiteX80" fmla="*/ 966537 w 1949297"/>
                <a:gd name="connsiteY80" fmla="*/ 697831 h 1760621"/>
                <a:gd name="connsiteX81" fmla="*/ 946484 w 1949297"/>
                <a:gd name="connsiteY81" fmla="*/ 625642 h 1760621"/>
                <a:gd name="connsiteX82" fmla="*/ 970547 w 1949297"/>
                <a:gd name="connsiteY82" fmla="*/ 561473 h 1760621"/>
                <a:gd name="connsiteX83" fmla="*/ 830179 w 1949297"/>
                <a:gd name="connsiteY83" fmla="*/ 601579 h 1760621"/>
                <a:gd name="connsiteX84" fmla="*/ 962526 w 1949297"/>
                <a:gd name="connsiteY84" fmla="*/ 537410 h 1760621"/>
                <a:gd name="connsiteX85" fmla="*/ 946484 w 1949297"/>
                <a:gd name="connsiteY85" fmla="*/ 469231 h 1760621"/>
                <a:gd name="connsiteX86" fmla="*/ 922421 w 1949297"/>
                <a:gd name="connsiteY86" fmla="*/ 449179 h 1760621"/>
                <a:gd name="connsiteX87" fmla="*/ 918410 w 1949297"/>
                <a:gd name="connsiteY87" fmla="*/ 397042 h 1760621"/>
                <a:gd name="connsiteX88" fmla="*/ 830179 w 1949297"/>
                <a:gd name="connsiteY88" fmla="*/ 356936 h 1760621"/>
                <a:gd name="connsiteX89" fmla="*/ 818147 w 1949297"/>
                <a:gd name="connsiteY89" fmla="*/ 252663 h 1760621"/>
                <a:gd name="connsiteX90" fmla="*/ 774032 w 1949297"/>
                <a:gd name="connsiteY90" fmla="*/ 224589 h 1760621"/>
                <a:gd name="connsiteX91" fmla="*/ 737937 w 1949297"/>
                <a:gd name="connsiteY91" fmla="*/ 164431 h 1760621"/>
                <a:gd name="connsiteX92" fmla="*/ 605589 w 1949297"/>
                <a:gd name="connsiteY92" fmla="*/ 116305 h 1760621"/>
                <a:gd name="connsiteX93" fmla="*/ 589547 w 1949297"/>
                <a:gd name="connsiteY93" fmla="*/ 12031 h 1760621"/>
                <a:gd name="connsiteX0" fmla="*/ 589547 w 1949297"/>
                <a:gd name="connsiteY0" fmla="*/ 12031 h 1760621"/>
                <a:gd name="connsiteX1" fmla="*/ 537410 w 1949297"/>
                <a:gd name="connsiteY1" fmla="*/ 0 h 1760621"/>
                <a:gd name="connsiteX2" fmla="*/ 477253 w 1949297"/>
                <a:gd name="connsiteY2" fmla="*/ 16042 h 1760621"/>
                <a:gd name="connsiteX3" fmla="*/ 437147 w 1949297"/>
                <a:gd name="connsiteY3" fmla="*/ 4010 h 1760621"/>
                <a:gd name="connsiteX4" fmla="*/ 449179 w 1949297"/>
                <a:gd name="connsiteY4" fmla="*/ 52136 h 1760621"/>
                <a:gd name="connsiteX5" fmla="*/ 429126 w 1949297"/>
                <a:gd name="connsiteY5" fmla="*/ 84221 h 1760621"/>
                <a:gd name="connsiteX6" fmla="*/ 344905 w 1949297"/>
                <a:gd name="connsiteY6" fmla="*/ 80210 h 1760621"/>
                <a:gd name="connsiteX7" fmla="*/ 316832 w 1949297"/>
                <a:gd name="connsiteY7" fmla="*/ 100263 h 1760621"/>
                <a:gd name="connsiteX8" fmla="*/ 268705 w 1949297"/>
                <a:gd name="connsiteY8" fmla="*/ 104273 h 1760621"/>
                <a:gd name="connsiteX9" fmla="*/ 216568 w 1949297"/>
                <a:gd name="connsiteY9" fmla="*/ 68179 h 1760621"/>
                <a:gd name="connsiteX10" fmla="*/ 204537 w 1949297"/>
                <a:gd name="connsiteY10" fmla="*/ 100263 h 1760621"/>
                <a:gd name="connsiteX11" fmla="*/ 128337 w 1949297"/>
                <a:gd name="connsiteY11" fmla="*/ 128336 h 1760621"/>
                <a:gd name="connsiteX12" fmla="*/ 100263 w 1949297"/>
                <a:gd name="connsiteY12" fmla="*/ 124326 h 1760621"/>
                <a:gd name="connsiteX13" fmla="*/ 60158 w 1949297"/>
                <a:gd name="connsiteY13" fmla="*/ 140368 h 1760621"/>
                <a:gd name="connsiteX14" fmla="*/ 68179 w 1949297"/>
                <a:gd name="connsiteY14" fmla="*/ 168442 h 1760621"/>
                <a:gd name="connsiteX15" fmla="*/ 44116 w 1949297"/>
                <a:gd name="connsiteY15" fmla="*/ 184484 h 1760621"/>
                <a:gd name="connsiteX16" fmla="*/ 0 w 1949297"/>
                <a:gd name="connsiteY16" fmla="*/ 176463 h 1760621"/>
                <a:gd name="connsiteX17" fmla="*/ 36095 w 1949297"/>
                <a:gd name="connsiteY17" fmla="*/ 429126 h 1760621"/>
                <a:gd name="connsiteX18" fmla="*/ 100263 w 1949297"/>
                <a:gd name="connsiteY18" fmla="*/ 485273 h 1760621"/>
                <a:gd name="connsiteX19" fmla="*/ 132347 w 1949297"/>
                <a:gd name="connsiteY19" fmla="*/ 573505 h 1760621"/>
                <a:gd name="connsiteX20" fmla="*/ 268705 w 1949297"/>
                <a:gd name="connsiteY20" fmla="*/ 589547 h 1760621"/>
                <a:gd name="connsiteX21" fmla="*/ 308810 w 1949297"/>
                <a:gd name="connsiteY21" fmla="*/ 633663 h 1760621"/>
                <a:gd name="connsiteX22" fmla="*/ 372979 w 1949297"/>
                <a:gd name="connsiteY22" fmla="*/ 601579 h 1760621"/>
                <a:gd name="connsiteX23" fmla="*/ 417095 w 1949297"/>
                <a:gd name="connsiteY23" fmla="*/ 597568 h 1760621"/>
                <a:gd name="connsiteX24" fmla="*/ 389021 w 1949297"/>
                <a:gd name="connsiteY24" fmla="*/ 593558 h 1760621"/>
                <a:gd name="connsiteX25" fmla="*/ 332874 w 1949297"/>
                <a:gd name="connsiteY25" fmla="*/ 589547 h 1760621"/>
                <a:gd name="connsiteX26" fmla="*/ 276726 w 1949297"/>
                <a:gd name="connsiteY26" fmla="*/ 561473 h 1760621"/>
                <a:gd name="connsiteX27" fmla="*/ 256674 w 1949297"/>
                <a:gd name="connsiteY27" fmla="*/ 521368 h 1760621"/>
                <a:gd name="connsiteX28" fmla="*/ 292768 w 1949297"/>
                <a:gd name="connsiteY28" fmla="*/ 553452 h 1760621"/>
                <a:gd name="connsiteX29" fmla="*/ 328863 w 1949297"/>
                <a:gd name="connsiteY29" fmla="*/ 541421 h 1760621"/>
                <a:gd name="connsiteX30" fmla="*/ 356937 w 1949297"/>
                <a:gd name="connsiteY30" fmla="*/ 569494 h 1760621"/>
                <a:gd name="connsiteX31" fmla="*/ 397042 w 1949297"/>
                <a:gd name="connsiteY31" fmla="*/ 569494 h 1760621"/>
                <a:gd name="connsiteX32" fmla="*/ 449179 w 1949297"/>
                <a:gd name="connsiteY32" fmla="*/ 549442 h 1760621"/>
                <a:gd name="connsiteX33" fmla="*/ 453189 w 1949297"/>
                <a:gd name="connsiteY33" fmla="*/ 597568 h 1760621"/>
                <a:gd name="connsiteX34" fmla="*/ 469232 w 1949297"/>
                <a:gd name="connsiteY34" fmla="*/ 613610 h 1760621"/>
                <a:gd name="connsiteX35" fmla="*/ 521368 w 1949297"/>
                <a:gd name="connsiteY35" fmla="*/ 617621 h 1760621"/>
                <a:gd name="connsiteX36" fmla="*/ 513347 w 1949297"/>
                <a:gd name="connsiteY36" fmla="*/ 637673 h 1760621"/>
                <a:gd name="connsiteX37" fmla="*/ 453189 w 1949297"/>
                <a:gd name="connsiteY37" fmla="*/ 637673 h 1760621"/>
                <a:gd name="connsiteX38" fmla="*/ 409074 w 1949297"/>
                <a:gd name="connsiteY38" fmla="*/ 629652 h 1760621"/>
                <a:gd name="connsiteX39" fmla="*/ 324853 w 1949297"/>
                <a:gd name="connsiteY39" fmla="*/ 725905 h 1760621"/>
                <a:gd name="connsiteX40" fmla="*/ 56147 w 1949297"/>
                <a:gd name="connsiteY40" fmla="*/ 1291389 h 1760621"/>
                <a:gd name="connsiteX41" fmla="*/ 108284 w 1949297"/>
                <a:gd name="connsiteY41" fmla="*/ 1471863 h 1760621"/>
                <a:gd name="connsiteX42" fmla="*/ 184484 w 1949297"/>
                <a:gd name="connsiteY42" fmla="*/ 1640305 h 1760621"/>
                <a:gd name="connsiteX43" fmla="*/ 284747 w 1949297"/>
                <a:gd name="connsiteY43" fmla="*/ 1740568 h 1760621"/>
                <a:gd name="connsiteX44" fmla="*/ 360947 w 1949297"/>
                <a:gd name="connsiteY44" fmla="*/ 1752600 h 1760621"/>
                <a:gd name="connsiteX45" fmla="*/ 1303421 w 1949297"/>
                <a:gd name="connsiteY45" fmla="*/ 1760621 h 1760621"/>
                <a:gd name="connsiteX46" fmla="*/ 1427747 w 1949297"/>
                <a:gd name="connsiteY46" fmla="*/ 1556084 h 1760621"/>
                <a:gd name="connsiteX47" fmla="*/ 1407695 w 1949297"/>
                <a:gd name="connsiteY47" fmla="*/ 1499936 h 1760621"/>
                <a:gd name="connsiteX48" fmla="*/ 1431758 w 1949297"/>
                <a:gd name="connsiteY48" fmla="*/ 1403684 h 1760621"/>
                <a:gd name="connsiteX49" fmla="*/ 1407695 w 1949297"/>
                <a:gd name="connsiteY49" fmla="*/ 1359568 h 1760621"/>
                <a:gd name="connsiteX50" fmla="*/ 1511968 w 1949297"/>
                <a:gd name="connsiteY50" fmla="*/ 1323473 h 1760621"/>
                <a:gd name="connsiteX51" fmla="*/ 1544053 w 1949297"/>
                <a:gd name="connsiteY51" fmla="*/ 1187115 h 1760621"/>
                <a:gd name="connsiteX52" fmla="*/ 1487905 w 1949297"/>
                <a:gd name="connsiteY52" fmla="*/ 1143000 h 1760621"/>
                <a:gd name="connsiteX53" fmla="*/ 1495926 w 1949297"/>
                <a:gd name="connsiteY53" fmla="*/ 1082842 h 1760621"/>
                <a:gd name="connsiteX54" fmla="*/ 1592179 w 1949297"/>
                <a:gd name="connsiteY54" fmla="*/ 1050758 h 1760621"/>
                <a:gd name="connsiteX55" fmla="*/ 1716505 w 1949297"/>
                <a:gd name="connsiteY55" fmla="*/ 894347 h 1760621"/>
                <a:gd name="connsiteX56" fmla="*/ 1700463 w 1949297"/>
                <a:gd name="connsiteY56" fmla="*/ 798094 h 1760621"/>
                <a:gd name="connsiteX57" fmla="*/ 1816768 w 1949297"/>
                <a:gd name="connsiteY57" fmla="*/ 677779 h 1760621"/>
                <a:gd name="connsiteX58" fmla="*/ 1868906 w 1949297"/>
                <a:gd name="connsiteY58" fmla="*/ 521368 h 1760621"/>
                <a:gd name="connsiteX59" fmla="*/ 1937236 w 1949297"/>
                <a:gd name="connsiteY59" fmla="*/ 469359 h 1760621"/>
                <a:gd name="connsiteX60" fmla="*/ 1886081 w 1949297"/>
                <a:gd name="connsiteY60" fmla="*/ 430658 h 1760621"/>
                <a:gd name="connsiteX61" fmla="*/ 1801276 w 1949297"/>
                <a:gd name="connsiteY61" fmla="*/ 474691 h 1760621"/>
                <a:gd name="connsiteX62" fmla="*/ 1752600 w 1949297"/>
                <a:gd name="connsiteY62" fmla="*/ 449179 h 1760621"/>
                <a:gd name="connsiteX63" fmla="*/ 1656347 w 1949297"/>
                <a:gd name="connsiteY63" fmla="*/ 417094 h 1760621"/>
                <a:gd name="connsiteX64" fmla="*/ 1580147 w 1949297"/>
                <a:gd name="connsiteY64" fmla="*/ 429126 h 1760621"/>
                <a:gd name="connsiteX65" fmla="*/ 1524000 w 1949297"/>
                <a:gd name="connsiteY65" fmla="*/ 489284 h 1760621"/>
                <a:gd name="connsiteX66" fmla="*/ 1524000 w 1949297"/>
                <a:gd name="connsiteY66" fmla="*/ 537410 h 1760621"/>
                <a:gd name="connsiteX67" fmla="*/ 1536032 w 1949297"/>
                <a:gd name="connsiteY67" fmla="*/ 549442 h 1760621"/>
                <a:gd name="connsiteX68" fmla="*/ 1503947 w 1949297"/>
                <a:gd name="connsiteY68" fmla="*/ 557463 h 1760621"/>
                <a:gd name="connsiteX69" fmla="*/ 1483895 w 1949297"/>
                <a:gd name="connsiteY69" fmla="*/ 545431 h 1760621"/>
                <a:gd name="connsiteX70" fmla="*/ 1371600 w 1949297"/>
                <a:gd name="connsiteY70" fmla="*/ 697831 h 1760621"/>
                <a:gd name="connsiteX71" fmla="*/ 1395663 w 1949297"/>
                <a:gd name="connsiteY71" fmla="*/ 593558 h 1760621"/>
                <a:gd name="connsiteX72" fmla="*/ 1155032 w 1949297"/>
                <a:gd name="connsiteY72" fmla="*/ 605589 h 1760621"/>
                <a:gd name="connsiteX73" fmla="*/ 1471863 w 1949297"/>
                <a:gd name="connsiteY73" fmla="*/ 533400 h 1760621"/>
                <a:gd name="connsiteX74" fmla="*/ 1524000 w 1949297"/>
                <a:gd name="connsiteY74" fmla="*/ 376989 h 1760621"/>
                <a:gd name="connsiteX75" fmla="*/ 1447800 w 1949297"/>
                <a:gd name="connsiteY75" fmla="*/ 352926 h 1760621"/>
                <a:gd name="connsiteX76" fmla="*/ 1251284 w 1949297"/>
                <a:gd name="connsiteY76" fmla="*/ 372979 h 1760621"/>
                <a:gd name="connsiteX77" fmla="*/ 1207168 w 1949297"/>
                <a:gd name="connsiteY77" fmla="*/ 501315 h 1760621"/>
                <a:gd name="connsiteX78" fmla="*/ 1167063 w 1949297"/>
                <a:gd name="connsiteY78" fmla="*/ 485273 h 1760621"/>
                <a:gd name="connsiteX79" fmla="*/ 986589 w 1949297"/>
                <a:gd name="connsiteY79" fmla="*/ 577515 h 1760621"/>
                <a:gd name="connsiteX80" fmla="*/ 966537 w 1949297"/>
                <a:gd name="connsiteY80" fmla="*/ 697831 h 1760621"/>
                <a:gd name="connsiteX81" fmla="*/ 946484 w 1949297"/>
                <a:gd name="connsiteY81" fmla="*/ 625642 h 1760621"/>
                <a:gd name="connsiteX82" fmla="*/ 970547 w 1949297"/>
                <a:gd name="connsiteY82" fmla="*/ 561473 h 1760621"/>
                <a:gd name="connsiteX83" fmla="*/ 830179 w 1949297"/>
                <a:gd name="connsiteY83" fmla="*/ 601579 h 1760621"/>
                <a:gd name="connsiteX84" fmla="*/ 962526 w 1949297"/>
                <a:gd name="connsiteY84" fmla="*/ 537410 h 1760621"/>
                <a:gd name="connsiteX85" fmla="*/ 946484 w 1949297"/>
                <a:gd name="connsiteY85" fmla="*/ 469231 h 1760621"/>
                <a:gd name="connsiteX86" fmla="*/ 922421 w 1949297"/>
                <a:gd name="connsiteY86" fmla="*/ 449179 h 1760621"/>
                <a:gd name="connsiteX87" fmla="*/ 918410 w 1949297"/>
                <a:gd name="connsiteY87" fmla="*/ 397042 h 1760621"/>
                <a:gd name="connsiteX88" fmla="*/ 830179 w 1949297"/>
                <a:gd name="connsiteY88" fmla="*/ 356936 h 1760621"/>
                <a:gd name="connsiteX89" fmla="*/ 818147 w 1949297"/>
                <a:gd name="connsiteY89" fmla="*/ 252663 h 1760621"/>
                <a:gd name="connsiteX90" fmla="*/ 774032 w 1949297"/>
                <a:gd name="connsiteY90" fmla="*/ 224589 h 1760621"/>
                <a:gd name="connsiteX91" fmla="*/ 737937 w 1949297"/>
                <a:gd name="connsiteY91" fmla="*/ 164431 h 1760621"/>
                <a:gd name="connsiteX92" fmla="*/ 605589 w 1949297"/>
                <a:gd name="connsiteY92" fmla="*/ 116305 h 1760621"/>
                <a:gd name="connsiteX93" fmla="*/ 589547 w 1949297"/>
                <a:gd name="connsiteY93" fmla="*/ 12031 h 1760621"/>
                <a:gd name="connsiteX0" fmla="*/ 589547 w 1949297"/>
                <a:gd name="connsiteY0" fmla="*/ 12031 h 1760621"/>
                <a:gd name="connsiteX1" fmla="*/ 537410 w 1949297"/>
                <a:gd name="connsiteY1" fmla="*/ 0 h 1760621"/>
                <a:gd name="connsiteX2" fmla="*/ 477253 w 1949297"/>
                <a:gd name="connsiteY2" fmla="*/ 16042 h 1760621"/>
                <a:gd name="connsiteX3" fmla="*/ 437147 w 1949297"/>
                <a:gd name="connsiteY3" fmla="*/ 4010 h 1760621"/>
                <a:gd name="connsiteX4" fmla="*/ 449179 w 1949297"/>
                <a:gd name="connsiteY4" fmla="*/ 52136 h 1760621"/>
                <a:gd name="connsiteX5" fmla="*/ 429126 w 1949297"/>
                <a:gd name="connsiteY5" fmla="*/ 84221 h 1760621"/>
                <a:gd name="connsiteX6" fmla="*/ 344905 w 1949297"/>
                <a:gd name="connsiteY6" fmla="*/ 80210 h 1760621"/>
                <a:gd name="connsiteX7" fmla="*/ 316832 w 1949297"/>
                <a:gd name="connsiteY7" fmla="*/ 100263 h 1760621"/>
                <a:gd name="connsiteX8" fmla="*/ 268705 w 1949297"/>
                <a:gd name="connsiteY8" fmla="*/ 104273 h 1760621"/>
                <a:gd name="connsiteX9" fmla="*/ 216568 w 1949297"/>
                <a:gd name="connsiteY9" fmla="*/ 68179 h 1760621"/>
                <a:gd name="connsiteX10" fmla="*/ 204537 w 1949297"/>
                <a:gd name="connsiteY10" fmla="*/ 100263 h 1760621"/>
                <a:gd name="connsiteX11" fmla="*/ 128337 w 1949297"/>
                <a:gd name="connsiteY11" fmla="*/ 128336 h 1760621"/>
                <a:gd name="connsiteX12" fmla="*/ 100263 w 1949297"/>
                <a:gd name="connsiteY12" fmla="*/ 124326 h 1760621"/>
                <a:gd name="connsiteX13" fmla="*/ 60158 w 1949297"/>
                <a:gd name="connsiteY13" fmla="*/ 140368 h 1760621"/>
                <a:gd name="connsiteX14" fmla="*/ 68179 w 1949297"/>
                <a:gd name="connsiteY14" fmla="*/ 168442 h 1760621"/>
                <a:gd name="connsiteX15" fmla="*/ 44116 w 1949297"/>
                <a:gd name="connsiteY15" fmla="*/ 184484 h 1760621"/>
                <a:gd name="connsiteX16" fmla="*/ 0 w 1949297"/>
                <a:gd name="connsiteY16" fmla="*/ 176463 h 1760621"/>
                <a:gd name="connsiteX17" fmla="*/ 36095 w 1949297"/>
                <a:gd name="connsiteY17" fmla="*/ 429126 h 1760621"/>
                <a:gd name="connsiteX18" fmla="*/ 100263 w 1949297"/>
                <a:gd name="connsiteY18" fmla="*/ 485273 h 1760621"/>
                <a:gd name="connsiteX19" fmla="*/ 132347 w 1949297"/>
                <a:gd name="connsiteY19" fmla="*/ 573505 h 1760621"/>
                <a:gd name="connsiteX20" fmla="*/ 268705 w 1949297"/>
                <a:gd name="connsiteY20" fmla="*/ 589547 h 1760621"/>
                <a:gd name="connsiteX21" fmla="*/ 308810 w 1949297"/>
                <a:gd name="connsiteY21" fmla="*/ 633663 h 1760621"/>
                <a:gd name="connsiteX22" fmla="*/ 372979 w 1949297"/>
                <a:gd name="connsiteY22" fmla="*/ 601579 h 1760621"/>
                <a:gd name="connsiteX23" fmla="*/ 417095 w 1949297"/>
                <a:gd name="connsiteY23" fmla="*/ 597568 h 1760621"/>
                <a:gd name="connsiteX24" fmla="*/ 389021 w 1949297"/>
                <a:gd name="connsiteY24" fmla="*/ 593558 h 1760621"/>
                <a:gd name="connsiteX25" fmla="*/ 332874 w 1949297"/>
                <a:gd name="connsiteY25" fmla="*/ 589547 h 1760621"/>
                <a:gd name="connsiteX26" fmla="*/ 276726 w 1949297"/>
                <a:gd name="connsiteY26" fmla="*/ 561473 h 1760621"/>
                <a:gd name="connsiteX27" fmla="*/ 256674 w 1949297"/>
                <a:gd name="connsiteY27" fmla="*/ 521368 h 1760621"/>
                <a:gd name="connsiteX28" fmla="*/ 292768 w 1949297"/>
                <a:gd name="connsiteY28" fmla="*/ 553452 h 1760621"/>
                <a:gd name="connsiteX29" fmla="*/ 328863 w 1949297"/>
                <a:gd name="connsiteY29" fmla="*/ 541421 h 1760621"/>
                <a:gd name="connsiteX30" fmla="*/ 356937 w 1949297"/>
                <a:gd name="connsiteY30" fmla="*/ 569494 h 1760621"/>
                <a:gd name="connsiteX31" fmla="*/ 397042 w 1949297"/>
                <a:gd name="connsiteY31" fmla="*/ 569494 h 1760621"/>
                <a:gd name="connsiteX32" fmla="*/ 449179 w 1949297"/>
                <a:gd name="connsiteY32" fmla="*/ 549442 h 1760621"/>
                <a:gd name="connsiteX33" fmla="*/ 453189 w 1949297"/>
                <a:gd name="connsiteY33" fmla="*/ 597568 h 1760621"/>
                <a:gd name="connsiteX34" fmla="*/ 469232 w 1949297"/>
                <a:gd name="connsiteY34" fmla="*/ 613610 h 1760621"/>
                <a:gd name="connsiteX35" fmla="*/ 521368 w 1949297"/>
                <a:gd name="connsiteY35" fmla="*/ 617621 h 1760621"/>
                <a:gd name="connsiteX36" fmla="*/ 513347 w 1949297"/>
                <a:gd name="connsiteY36" fmla="*/ 637673 h 1760621"/>
                <a:gd name="connsiteX37" fmla="*/ 453189 w 1949297"/>
                <a:gd name="connsiteY37" fmla="*/ 637673 h 1760621"/>
                <a:gd name="connsiteX38" fmla="*/ 409074 w 1949297"/>
                <a:gd name="connsiteY38" fmla="*/ 629652 h 1760621"/>
                <a:gd name="connsiteX39" fmla="*/ 324853 w 1949297"/>
                <a:gd name="connsiteY39" fmla="*/ 725905 h 1760621"/>
                <a:gd name="connsiteX40" fmla="*/ 56147 w 1949297"/>
                <a:gd name="connsiteY40" fmla="*/ 1291389 h 1760621"/>
                <a:gd name="connsiteX41" fmla="*/ 108284 w 1949297"/>
                <a:gd name="connsiteY41" fmla="*/ 1471863 h 1760621"/>
                <a:gd name="connsiteX42" fmla="*/ 184484 w 1949297"/>
                <a:gd name="connsiteY42" fmla="*/ 1640305 h 1760621"/>
                <a:gd name="connsiteX43" fmla="*/ 284747 w 1949297"/>
                <a:gd name="connsiteY43" fmla="*/ 1740568 h 1760621"/>
                <a:gd name="connsiteX44" fmla="*/ 360947 w 1949297"/>
                <a:gd name="connsiteY44" fmla="*/ 1752600 h 1760621"/>
                <a:gd name="connsiteX45" fmla="*/ 1303421 w 1949297"/>
                <a:gd name="connsiteY45" fmla="*/ 1760621 h 1760621"/>
                <a:gd name="connsiteX46" fmla="*/ 1427747 w 1949297"/>
                <a:gd name="connsiteY46" fmla="*/ 1556084 h 1760621"/>
                <a:gd name="connsiteX47" fmla="*/ 1407695 w 1949297"/>
                <a:gd name="connsiteY47" fmla="*/ 1499936 h 1760621"/>
                <a:gd name="connsiteX48" fmla="*/ 1431758 w 1949297"/>
                <a:gd name="connsiteY48" fmla="*/ 1403684 h 1760621"/>
                <a:gd name="connsiteX49" fmla="*/ 1407695 w 1949297"/>
                <a:gd name="connsiteY49" fmla="*/ 1359568 h 1760621"/>
                <a:gd name="connsiteX50" fmla="*/ 1511968 w 1949297"/>
                <a:gd name="connsiteY50" fmla="*/ 1323473 h 1760621"/>
                <a:gd name="connsiteX51" fmla="*/ 1544053 w 1949297"/>
                <a:gd name="connsiteY51" fmla="*/ 1187115 h 1760621"/>
                <a:gd name="connsiteX52" fmla="*/ 1487905 w 1949297"/>
                <a:gd name="connsiteY52" fmla="*/ 1143000 h 1760621"/>
                <a:gd name="connsiteX53" fmla="*/ 1495926 w 1949297"/>
                <a:gd name="connsiteY53" fmla="*/ 1082842 h 1760621"/>
                <a:gd name="connsiteX54" fmla="*/ 1592179 w 1949297"/>
                <a:gd name="connsiteY54" fmla="*/ 1050758 h 1760621"/>
                <a:gd name="connsiteX55" fmla="*/ 1716505 w 1949297"/>
                <a:gd name="connsiteY55" fmla="*/ 894347 h 1760621"/>
                <a:gd name="connsiteX56" fmla="*/ 1700463 w 1949297"/>
                <a:gd name="connsiteY56" fmla="*/ 798094 h 1760621"/>
                <a:gd name="connsiteX57" fmla="*/ 1816768 w 1949297"/>
                <a:gd name="connsiteY57" fmla="*/ 677779 h 1760621"/>
                <a:gd name="connsiteX58" fmla="*/ 1868906 w 1949297"/>
                <a:gd name="connsiteY58" fmla="*/ 521368 h 1760621"/>
                <a:gd name="connsiteX59" fmla="*/ 1937236 w 1949297"/>
                <a:gd name="connsiteY59" fmla="*/ 469359 h 1760621"/>
                <a:gd name="connsiteX60" fmla="*/ 1830098 w 1949297"/>
                <a:gd name="connsiteY60" fmla="*/ 467981 h 1760621"/>
                <a:gd name="connsiteX61" fmla="*/ 1801276 w 1949297"/>
                <a:gd name="connsiteY61" fmla="*/ 474691 h 1760621"/>
                <a:gd name="connsiteX62" fmla="*/ 1752600 w 1949297"/>
                <a:gd name="connsiteY62" fmla="*/ 449179 h 1760621"/>
                <a:gd name="connsiteX63" fmla="*/ 1656347 w 1949297"/>
                <a:gd name="connsiteY63" fmla="*/ 417094 h 1760621"/>
                <a:gd name="connsiteX64" fmla="*/ 1580147 w 1949297"/>
                <a:gd name="connsiteY64" fmla="*/ 429126 h 1760621"/>
                <a:gd name="connsiteX65" fmla="*/ 1524000 w 1949297"/>
                <a:gd name="connsiteY65" fmla="*/ 489284 h 1760621"/>
                <a:gd name="connsiteX66" fmla="*/ 1524000 w 1949297"/>
                <a:gd name="connsiteY66" fmla="*/ 537410 h 1760621"/>
                <a:gd name="connsiteX67" fmla="*/ 1536032 w 1949297"/>
                <a:gd name="connsiteY67" fmla="*/ 549442 h 1760621"/>
                <a:gd name="connsiteX68" fmla="*/ 1503947 w 1949297"/>
                <a:gd name="connsiteY68" fmla="*/ 557463 h 1760621"/>
                <a:gd name="connsiteX69" fmla="*/ 1483895 w 1949297"/>
                <a:gd name="connsiteY69" fmla="*/ 545431 h 1760621"/>
                <a:gd name="connsiteX70" fmla="*/ 1371600 w 1949297"/>
                <a:gd name="connsiteY70" fmla="*/ 697831 h 1760621"/>
                <a:gd name="connsiteX71" fmla="*/ 1395663 w 1949297"/>
                <a:gd name="connsiteY71" fmla="*/ 593558 h 1760621"/>
                <a:gd name="connsiteX72" fmla="*/ 1155032 w 1949297"/>
                <a:gd name="connsiteY72" fmla="*/ 605589 h 1760621"/>
                <a:gd name="connsiteX73" fmla="*/ 1471863 w 1949297"/>
                <a:gd name="connsiteY73" fmla="*/ 533400 h 1760621"/>
                <a:gd name="connsiteX74" fmla="*/ 1524000 w 1949297"/>
                <a:gd name="connsiteY74" fmla="*/ 376989 h 1760621"/>
                <a:gd name="connsiteX75" fmla="*/ 1447800 w 1949297"/>
                <a:gd name="connsiteY75" fmla="*/ 352926 h 1760621"/>
                <a:gd name="connsiteX76" fmla="*/ 1251284 w 1949297"/>
                <a:gd name="connsiteY76" fmla="*/ 372979 h 1760621"/>
                <a:gd name="connsiteX77" fmla="*/ 1207168 w 1949297"/>
                <a:gd name="connsiteY77" fmla="*/ 501315 h 1760621"/>
                <a:gd name="connsiteX78" fmla="*/ 1167063 w 1949297"/>
                <a:gd name="connsiteY78" fmla="*/ 485273 h 1760621"/>
                <a:gd name="connsiteX79" fmla="*/ 986589 w 1949297"/>
                <a:gd name="connsiteY79" fmla="*/ 577515 h 1760621"/>
                <a:gd name="connsiteX80" fmla="*/ 966537 w 1949297"/>
                <a:gd name="connsiteY80" fmla="*/ 697831 h 1760621"/>
                <a:gd name="connsiteX81" fmla="*/ 946484 w 1949297"/>
                <a:gd name="connsiteY81" fmla="*/ 625642 h 1760621"/>
                <a:gd name="connsiteX82" fmla="*/ 970547 w 1949297"/>
                <a:gd name="connsiteY82" fmla="*/ 561473 h 1760621"/>
                <a:gd name="connsiteX83" fmla="*/ 830179 w 1949297"/>
                <a:gd name="connsiteY83" fmla="*/ 601579 h 1760621"/>
                <a:gd name="connsiteX84" fmla="*/ 962526 w 1949297"/>
                <a:gd name="connsiteY84" fmla="*/ 537410 h 1760621"/>
                <a:gd name="connsiteX85" fmla="*/ 946484 w 1949297"/>
                <a:gd name="connsiteY85" fmla="*/ 469231 h 1760621"/>
                <a:gd name="connsiteX86" fmla="*/ 922421 w 1949297"/>
                <a:gd name="connsiteY86" fmla="*/ 449179 h 1760621"/>
                <a:gd name="connsiteX87" fmla="*/ 918410 w 1949297"/>
                <a:gd name="connsiteY87" fmla="*/ 397042 h 1760621"/>
                <a:gd name="connsiteX88" fmla="*/ 830179 w 1949297"/>
                <a:gd name="connsiteY88" fmla="*/ 356936 h 1760621"/>
                <a:gd name="connsiteX89" fmla="*/ 818147 w 1949297"/>
                <a:gd name="connsiteY89" fmla="*/ 252663 h 1760621"/>
                <a:gd name="connsiteX90" fmla="*/ 774032 w 1949297"/>
                <a:gd name="connsiteY90" fmla="*/ 224589 h 1760621"/>
                <a:gd name="connsiteX91" fmla="*/ 737937 w 1949297"/>
                <a:gd name="connsiteY91" fmla="*/ 164431 h 1760621"/>
                <a:gd name="connsiteX92" fmla="*/ 605589 w 1949297"/>
                <a:gd name="connsiteY92" fmla="*/ 116305 h 1760621"/>
                <a:gd name="connsiteX93" fmla="*/ 589547 w 1949297"/>
                <a:gd name="connsiteY93" fmla="*/ 12031 h 1760621"/>
                <a:gd name="connsiteX0" fmla="*/ 589547 w 1885035"/>
                <a:gd name="connsiteY0" fmla="*/ 12031 h 1760621"/>
                <a:gd name="connsiteX1" fmla="*/ 537410 w 1885035"/>
                <a:gd name="connsiteY1" fmla="*/ 0 h 1760621"/>
                <a:gd name="connsiteX2" fmla="*/ 477253 w 1885035"/>
                <a:gd name="connsiteY2" fmla="*/ 16042 h 1760621"/>
                <a:gd name="connsiteX3" fmla="*/ 437147 w 1885035"/>
                <a:gd name="connsiteY3" fmla="*/ 4010 h 1760621"/>
                <a:gd name="connsiteX4" fmla="*/ 449179 w 1885035"/>
                <a:gd name="connsiteY4" fmla="*/ 52136 h 1760621"/>
                <a:gd name="connsiteX5" fmla="*/ 429126 w 1885035"/>
                <a:gd name="connsiteY5" fmla="*/ 84221 h 1760621"/>
                <a:gd name="connsiteX6" fmla="*/ 344905 w 1885035"/>
                <a:gd name="connsiteY6" fmla="*/ 80210 h 1760621"/>
                <a:gd name="connsiteX7" fmla="*/ 316832 w 1885035"/>
                <a:gd name="connsiteY7" fmla="*/ 100263 h 1760621"/>
                <a:gd name="connsiteX8" fmla="*/ 268705 w 1885035"/>
                <a:gd name="connsiteY8" fmla="*/ 104273 h 1760621"/>
                <a:gd name="connsiteX9" fmla="*/ 216568 w 1885035"/>
                <a:gd name="connsiteY9" fmla="*/ 68179 h 1760621"/>
                <a:gd name="connsiteX10" fmla="*/ 204537 w 1885035"/>
                <a:gd name="connsiteY10" fmla="*/ 100263 h 1760621"/>
                <a:gd name="connsiteX11" fmla="*/ 128337 w 1885035"/>
                <a:gd name="connsiteY11" fmla="*/ 128336 h 1760621"/>
                <a:gd name="connsiteX12" fmla="*/ 100263 w 1885035"/>
                <a:gd name="connsiteY12" fmla="*/ 124326 h 1760621"/>
                <a:gd name="connsiteX13" fmla="*/ 60158 w 1885035"/>
                <a:gd name="connsiteY13" fmla="*/ 140368 h 1760621"/>
                <a:gd name="connsiteX14" fmla="*/ 68179 w 1885035"/>
                <a:gd name="connsiteY14" fmla="*/ 168442 h 1760621"/>
                <a:gd name="connsiteX15" fmla="*/ 44116 w 1885035"/>
                <a:gd name="connsiteY15" fmla="*/ 184484 h 1760621"/>
                <a:gd name="connsiteX16" fmla="*/ 0 w 1885035"/>
                <a:gd name="connsiteY16" fmla="*/ 176463 h 1760621"/>
                <a:gd name="connsiteX17" fmla="*/ 36095 w 1885035"/>
                <a:gd name="connsiteY17" fmla="*/ 429126 h 1760621"/>
                <a:gd name="connsiteX18" fmla="*/ 100263 w 1885035"/>
                <a:gd name="connsiteY18" fmla="*/ 485273 h 1760621"/>
                <a:gd name="connsiteX19" fmla="*/ 132347 w 1885035"/>
                <a:gd name="connsiteY19" fmla="*/ 573505 h 1760621"/>
                <a:gd name="connsiteX20" fmla="*/ 268705 w 1885035"/>
                <a:gd name="connsiteY20" fmla="*/ 589547 h 1760621"/>
                <a:gd name="connsiteX21" fmla="*/ 308810 w 1885035"/>
                <a:gd name="connsiteY21" fmla="*/ 633663 h 1760621"/>
                <a:gd name="connsiteX22" fmla="*/ 372979 w 1885035"/>
                <a:gd name="connsiteY22" fmla="*/ 601579 h 1760621"/>
                <a:gd name="connsiteX23" fmla="*/ 417095 w 1885035"/>
                <a:gd name="connsiteY23" fmla="*/ 597568 h 1760621"/>
                <a:gd name="connsiteX24" fmla="*/ 389021 w 1885035"/>
                <a:gd name="connsiteY24" fmla="*/ 593558 h 1760621"/>
                <a:gd name="connsiteX25" fmla="*/ 332874 w 1885035"/>
                <a:gd name="connsiteY25" fmla="*/ 589547 h 1760621"/>
                <a:gd name="connsiteX26" fmla="*/ 276726 w 1885035"/>
                <a:gd name="connsiteY26" fmla="*/ 561473 h 1760621"/>
                <a:gd name="connsiteX27" fmla="*/ 256674 w 1885035"/>
                <a:gd name="connsiteY27" fmla="*/ 521368 h 1760621"/>
                <a:gd name="connsiteX28" fmla="*/ 292768 w 1885035"/>
                <a:gd name="connsiteY28" fmla="*/ 553452 h 1760621"/>
                <a:gd name="connsiteX29" fmla="*/ 328863 w 1885035"/>
                <a:gd name="connsiteY29" fmla="*/ 541421 h 1760621"/>
                <a:gd name="connsiteX30" fmla="*/ 356937 w 1885035"/>
                <a:gd name="connsiteY30" fmla="*/ 569494 h 1760621"/>
                <a:gd name="connsiteX31" fmla="*/ 397042 w 1885035"/>
                <a:gd name="connsiteY31" fmla="*/ 569494 h 1760621"/>
                <a:gd name="connsiteX32" fmla="*/ 449179 w 1885035"/>
                <a:gd name="connsiteY32" fmla="*/ 549442 h 1760621"/>
                <a:gd name="connsiteX33" fmla="*/ 453189 w 1885035"/>
                <a:gd name="connsiteY33" fmla="*/ 597568 h 1760621"/>
                <a:gd name="connsiteX34" fmla="*/ 469232 w 1885035"/>
                <a:gd name="connsiteY34" fmla="*/ 613610 h 1760621"/>
                <a:gd name="connsiteX35" fmla="*/ 521368 w 1885035"/>
                <a:gd name="connsiteY35" fmla="*/ 617621 h 1760621"/>
                <a:gd name="connsiteX36" fmla="*/ 513347 w 1885035"/>
                <a:gd name="connsiteY36" fmla="*/ 637673 h 1760621"/>
                <a:gd name="connsiteX37" fmla="*/ 453189 w 1885035"/>
                <a:gd name="connsiteY37" fmla="*/ 637673 h 1760621"/>
                <a:gd name="connsiteX38" fmla="*/ 409074 w 1885035"/>
                <a:gd name="connsiteY38" fmla="*/ 629652 h 1760621"/>
                <a:gd name="connsiteX39" fmla="*/ 324853 w 1885035"/>
                <a:gd name="connsiteY39" fmla="*/ 725905 h 1760621"/>
                <a:gd name="connsiteX40" fmla="*/ 56147 w 1885035"/>
                <a:gd name="connsiteY40" fmla="*/ 1291389 h 1760621"/>
                <a:gd name="connsiteX41" fmla="*/ 108284 w 1885035"/>
                <a:gd name="connsiteY41" fmla="*/ 1471863 h 1760621"/>
                <a:gd name="connsiteX42" fmla="*/ 184484 w 1885035"/>
                <a:gd name="connsiteY42" fmla="*/ 1640305 h 1760621"/>
                <a:gd name="connsiteX43" fmla="*/ 284747 w 1885035"/>
                <a:gd name="connsiteY43" fmla="*/ 1740568 h 1760621"/>
                <a:gd name="connsiteX44" fmla="*/ 360947 w 1885035"/>
                <a:gd name="connsiteY44" fmla="*/ 1752600 h 1760621"/>
                <a:gd name="connsiteX45" fmla="*/ 1303421 w 1885035"/>
                <a:gd name="connsiteY45" fmla="*/ 1760621 h 1760621"/>
                <a:gd name="connsiteX46" fmla="*/ 1427747 w 1885035"/>
                <a:gd name="connsiteY46" fmla="*/ 1556084 h 1760621"/>
                <a:gd name="connsiteX47" fmla="*/ 1407695 w 1885035"/>
                <a:gd name="connsiteY47" fmla="*/ 1499936 h 1760621"/>
                <a:gd name="connsiteX48" fmla="*/ 1431758 w 1885035"/>
                <a:gd name="connsiteY48" fmla="*/ 1403684 h 1760621"/>
                <a:gd name="connsiteX49" fmla="*/ 1407695 w 1885035"/>
                <a:gd name="connsiteY49" fmla="*/ 1359568 h 1760621"/>
                <a:gd name="connsiteX50" fmla="*/ 1511968 w 1885035"/>
                <a:gd name="connsiteY50" fmla="*/ 1323473 h 1760621"/>
                <a:gd name="connsiteX51" fmla="*/ 1544053 w 1885035"/>
                <a:gd name="connsiteY51" fmla="*/ 1187115 h 1760621"/>
                <a:gd name="connsiteX52" fmla="*/ 1487905 w 1885035"/>
                <a:gd name="connsiteY52" fmla="*/ 1143000 h 1760621"/>
                <a:gd name="connsiteX53" fmla="*/ 1495926 w 1885035"/>
                <a:gd name="connsiteY53" fmla="*/ 1082842 h 1760621"/>
                <a:gd name="connsiteX54" fmla="*/ 1592179 w 1885035"/>
                <a:gd name="connsiteY54" fmla="*/ 1050758 h 1760621"/>
                <a:gd name="connsiteX55" fmla="*/ 1716505 w 1885035"/>
                <a:gd name="connsiteY55" fmla="*/ 894347 h 1760621"/>
                <a:gd name="connsiteX56" fmla="*/ 1700463 w 1885035"/>
                <a:gd name="connsiteY56" fmla="*/ 798094 h 1760621"/>
                <a:gd name="connsiteX57" fmla="*/ 1816768 w 1885035"/>
                <a:gd name="connsiteY57" fmla="*/ 677779 h 1760621"/>
                <a:gd name="connsiteX58" fmla="*/ 1868906 w 1885035"/>
                <a:gd name="connsiteY58" fmla="*/ 521368 h 1760621"/>
                <a:gd name="connsiteX59" fmla="*/ 1862591 w 1885035"/>
                <a:gd name="connsiteY59" fmla="*/ 496018 h 1760621"/>
                <a:gd name="connsiteX60" fmla="*/ 1830098 w 1885035"/>
                <a:gd name="connsiteY60" fmla="*/ 467981 h 1760621"/>
                <a:gd name="connsiteX61" fmla="*/ 1801276 w 1885035"/>
                <a:gd name="connsiteY61" fmla="*/ 474691 h 1760621"/>
                <a:gd name="connsiteX62" fmla="*/ 1752600 w 1885035"/>
                <a:gd name="connsiteY62" fmla="*/ 449179 h 1760621"/>
                <a:gd name="connsiteX63" fmla="*/ 1656347 w 1885035"/>
                <a:gd name="connsiteY63" fmla="*/ 417094 h 1760621"/>
                <a:gd name="connsiteX64" fmla="*/ 1580147 w 1885035"/>
                <a:gd name="connsiteY64" fmla="*/ 429126 h 1760621"/>
                <a:gd name="connsiteX65" fmla="*/ 1524000 w 1885035"/>
                <a:gd name="connsiteY65" fmla="*/ 489284 h 1760621"/>
                <a:gd name="connsiteX66" fmla="*/ 1524000 w 1885035"/>
                <a:gd name="connsiteY66" fmla="*/ 537410 h 1760621"/>
                <a:gd name="connsiteX67" fmla="*/ 1536032 w 1885035"/>
                <a:gd name="connsiteY67" fmla="*/ 549442 h 1760621"/>
                <a:gd name="connsiteX68" fmla="*/ 1503947 w 1885035"/>
                <a:gd name="connsiteY68" fmla="*/ 557463 h 1760621"/>
                <a:gd name="connsiteX69" fmla="*/ 1483895 w 1885035"/>
                <a:gd name="connsiteY69" fmla="*/ 545431 h 1760621"/>
                <a:gd name="connsiteX70" fmla="*/ 1371600 w 1885035"/>
                <a:gd name="connsiteY70" fmla="*/ 697831 h 1760621"/>
                <a:gd name="connsiteX71" fmla="*/ 1395663 w 1885035"/>
                <a:gd name="connsiteY71" fmla="*/ 593558 h 1760621"/>
                <a:gd name="connsiteX72" fmla="*/ 1155032 w 1885035"/>
                <a:gd name="connsiteY72" fmla="*/ 605589 h 1760621"/>
                <a:gd name="connsiteX73" fmla="*/ 1471863 w 1885035"/>
                <a:gd name="connsiteY73" fmla="*/ 533400 h 1760621"/>
                <a:gd name="connsiteX74" fmla="*/ 1524000 w 1885035"/>
                <a:gd name="connsiteY74" fmla="*/ 376989 h 1760621"/>
                <a:gd name="connsiteX75" fmla="*/ 1447800 w 1885035"/>
                <a:gd name="connsiteY75" fmla="*/ 352926 h 1760621"/>
                <a:gd name="connsiteX76" fmla="*/ 1251284 w 1885035"/>
                <a:gd name="connsiteY76" fmla="*/ 372979 h 1760621"/>
                <a:gd name="connsiteX77" fmla="*/ 1207168 w 1885035"/>
                <a:gd name="connsiteY77" fmla="*/ 501315 h 1760621"/>
                <a:gd name="connsiteX78" fmla="*/ 1167063 w 1885035"/>
                <a:gd name="connsiteY78" fmla="*/ 485273 h 1760621"/>
                <a:gd name="connsiteX79" fmla="*/ 986589 w 1885035"/>
                <a:gd name="connsiteY79" fmla="*/ 577515 h 1760621"/>
                <a:gd name="connsiteX80" fmla="*/ 966537 w 1885035"/>
                <a:gd name="connsiteY80" fmla="*/ 697831 h 1760621"/>
                <a:gd name="connsiteX81" fmla="*/ 946484 w 1885035"/>
                <a:gd name="connsiteY81" fmla="*/ 625642 h 1760621"/>
                <a:gd name="connsiteX82" fmla="*/ 970547 w 1885035"/>
                <a:gd name="connsiteY82" fmla="*/ 561473 h 1760621"/>
                <a:gd name="connsiteX83" fmla="*/ 830179 w 1885035"/>
                <a:gd name="connsiteY83" fmla="*/ 601579 h 1760621"/>
                <a:gd name="connsiteX84" fmla="*/ 962526 w 1885035"/>
                <a:gd name="connsiteY84" fmla="*/ 537410 h 1760621"/>
                <a:gd name="connsiteX85" fmla="*/ 946484 w 1885035"/>
                <a:gd name="connsiteY85" fmla="*/ 469231 h 1760621"/>
                <a:gd name="connsiteX86" fmla="*/ 922421 w 1885035"/>
                <a:gd name="connsiteY86" fmla="*/ 449179 h 1760621"/>
                <a:gd name="connsiteX87" fmla="*/ 918410 w 1885035"/>
                <a:gd name="connsiteY87" fmla="*/ 397042 h 1760621"/>
                <a:gd name="connsiteX88" fmla="*/ 830179 w 1885035"/>
                <a:gd name="connsiteY88" fmla="*/ 356936 h 1760621"/>
                <a:gd name="connsiteX89" fmla="*/ 818147 w 1885035"/>
                <a:gd name="connsiteY89" fmla="*/ 252663 h 1760621"/>
                <a:gd name="connsiteX90" fmla="*/ 774032 w 1885035"/>
                <a:gd name="connsiteY90" fmla="*/ 224589 h 1760621"/>
                <a:gd name="connsiteX91" fmla="*/ 737937 w 1885035"/>
                <a:gd name="connsiteY91" fmla="*/ 164431 h 1760621"/>
                <a:gd name="connsiteX92" fmla="*/ 605589 w 1885035"/>
                <a:gd name="connsiteY92" fmla="*/ 116305 h 1760621"/>
                <a:gd name="connsiteX93" fmla="*/ 589547 w 1885035"/>
                <a:gd name="connsiteY93" fmla="*/ 12031 h 176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885035" h="1760621">
                  <a:moveTo>
                    <a:pt x="589547" y="12031"/>
                  </a:moveTo>
                  <a:lnTo>
                    <a:pt x="537410" y="0"/>
                  </a:lnTo>
                  <a:lnTo>
                    <a:pt x="477253" y="16042"/>
                  </a:lnTo>
                  <a:lnTo>
                    <a:pt x="437147" y="4010"/>
                  </a:lnTo>
                  <a:lnTo>
                    <a:pt x="449179" y="52136"/>
                  </a:lnTo>
                  <a:lnTo>
                    <a:pt x="429126" y="84221"/>
                  </a:lnTo>
                  <a:lnTo>
                    <a:pt x="344905" y="80210"/>
                  </a:lnTo>
                  <a:lnTo>
                    <a:pt x="316832" y="100263"/>
                  </a:lnTo>
                  <a:lnTo>
                    <a:pt x="268705" y="104273"/>
                  </a:lnTo>
                  <a:lnTo>
                    <a:pt x="216568" y="68179"/>
                  </a:lnTo>
                  <a:lnTo>
                    <a:pt x="204537" y="100263"/>
                  </a:lnTo>
                  <a:lnTo>
                    <a:pt x="128337" y="128336"/>
                  </a:lnTo>
                  <a:lnTo>
                    <a:pt x="100263" y="124326"/>
                  </a:lnTo>
                  <a:lnTo>
                    <a:pt x="60158" y="140368"/>
                  </a:lnTo>
                  <a:lnTo>
                    <a:pt x="68179" y="168442"/>
                  </a:lnTo>
                  <a:lnTo>
                    <a:pt x="44116" y="184484"/>
                  </a:lnTo>
                  <a:lnTo>
                    <a:pt x="0" y="176463"/>
                  </a:lnTo>
                  <a:lnTo>
                    <a:pt x="36095" y="429126"/>
                  </a:lnTo>
                  <a:lnTo>
                    <a:pt x="100263" y="485273"/>
                  </a:lnTo>
                  <a:lnTo>
                    <a:pt x="132347" y="573505"/>
                  </a:lnTo>
                  <a:lnTo>
                    <a:pt x="268705" y="589547"/>
                  </a:lnTo>
                  <a:lnTo>
                    <a:pt x="308810" y="633663"/>
                  </a:lnTo>
                  <a:lnTo>
                    <a:pt x="372979" y="601579"/>
                  </a:lnTo>
                  <a:lnTo>
                    <a:pt x="417095" y="597568"/>
                  </a:lnTo>
                  <a:lnTo>
                    <a:pt x="389021" y="593558"/>
                  </a:lnTo>
                  <a:lnTo>
                    <a:pt x="332874" y="589547"/>
                  </a:lnTo>
                  <a:lnTo>
                    <a:pt x="276726" y="561473"/>
                  </a:lnTo>
                  <a:lnTo>
                    <a:pt x="256674" y="521368"/>
                  </a:lnTo>
                  <a:lnTo>
                    <a:pt x="292768" y="553452"/>
                  </a:lnTo>
                  <a:lnTo>
                    <a:pt x="328863" y="541421"/>
                  </a:lnTo>
                  <a:lnTo>
                    <a:pt x="356937" y="569494"/>
                  </a:lnTo>
                  <a:lnTo>
                    <a:pt x="397042" y="569494"/>
                  </a:lnTo>
                  <a:lnTo>
                    <a:pt x="449179" y="549442"/>
                  </a:lnTo>
                  <a:lnTo>
                    <a:pt x="453189" y="597568"/>
                  </a:lnTo>
                  <a:lnTo>
                    <a:pt x="469232" y="613610"/>
                  </a:lnTo>
                  <a:lnTo>
                    <a:pt x="521368" y="617621"/>
                  </a:lnTo>
                  <a:lnTo>
                    <a:pt x="513347" y="637673"/>
                  </a:lnTo>
                  <a:lnTo>
                    <a:pt x="453189" y="637673"/>
                  </a:lnTo>
                  <a:lnTo>
                    <a:pt x="409074" y="629652"/>
                  </a:lnTo>
                  <a:lnTo>
                    <a:pt x="324853" y="725905"/>
                  </a:lnTo>
                  <a:lnTo>
                    <a:pt x="56147" y="1291389"/>
                  </a:lnTo>
                  <a:lnTo>
                    <a:pt x="108284" y="1471863"/>
                  </a:lnTo>
                  <a:lnTo>
                    <a:pt x="184484" y="1640305"/>
                  </a:lnTo>
                  <a:lnTo>
                    <a:pt x="284747" y="1740568"/>
                  </a:lnTo>
                  <a:lnTo>
                    <a:pt x="360947" y="1752600"/>
                  </a:lnTo>
                  <a:lnTo>
                    <a:pt x="1303421" y="1760621"/>
                  </a:lnTo>
                  <a:lnTo>
                    <a:pt x="1427747" y="1556084"/>
                  </a:lnTo>
                  <a:lnTo>
                    <a:pt x="1407695" y="1499936"/>
                  </a:lnTo>
                  <a:lnTo>
                    <a:pt x="1431758" y="1403684"/>
                  </a:lnTo>
                  <a:lnTo>
                    <a:pt x="1407695" y="1359568"/>
                  </a:lnTo>
                  <a:lnTo>
                    <a:pt x="1511968" y="1323473"/>
                  </a:lnTo>
                  <a:lnTo>
                    <a:pt x="1544053" y="1187115"/>
                  </a:lnTo>
                  <a:lnTo>
                    <a:pt x="1487905" y="1143000"/>
                  </a:lnTo>
                  <a:lnTo>
                    <a:pt x="1495926" y="1082842"/>
                  </a:lnTo>
                  <a:lnTo>
                    <a:pt x="1592179" y="1050758"/>
                  </a:lnTo>
                  <a:lnTo>
                    <a:pt x="1716505" y="894347"/>
                  </a:lnTo>
                  <a:lnTo>
                    <a:pt x="1700463" y="798094"/>
                  </a:lnTo>
                  <a:lnTo>
                    <a:pt x="1816768" y="677779"/>
                  </a:lnTo>
                  <a:lnTo>
                    <a:pt x="1868906" y="521368"/>
                  </a:lnTo>
                  <a:cubicBezTo>
                    <a:pt x="1860581" y="514695"/>
                    <a:pt x="1913570" y="484030"/>
                    <a:pt x="1862591" y="496018"/>
                  </a:cubicBezTo>
                  <a:lnTo>
                    <a:pt x="1830098" y="467981"/>
                  </a:lnTo>
                  <a:lnTo>
                    <a:pt x="1801276" y="474691"/>
                  </a:lnTo>
                  <a:lnTo>
                    <a:pt x="1752600" y="449179"/>
                  </a:lnTo>
                  <a:lnTo>
                    <a:pt x="1656347" y="417094"/>
                  </a:lnTo>
                  <a:lnTo>
                    <a:pt x="1580147" y="429126"/>
                  </a:lnTo>
                  <a:lnTo>
                    <a:pt x="1524000" y="489284"/>
                  </a:lnTo>
                  <a:lnTo>
                    <a:pt x="1524000" y="537410"/>
                  </a:lnTo>
                  <a:lnTo>
                    <a:pt x="1536032" y="549442"/>
                  </a:lnTo>
                  <a:lnTo>
                    <a:pt x="1503947" y="557463"/>
                  </a:lnTo>
                  <a:lnTo>
                    <a:pt x="1483895" y="545431"/>
                  </a:lnTo>
                  <a:lnTo>
                    <a:pt x="1371600" y="697831"/>
                  </a:lnTo>
                  <a:lnTo>
                    <a:pt x="1395663" y="593558"/>
                  </a:lnTo>
                  <a:lnTo>
                    <a:pt x="1155032" y="605589"/>
                  </a:lnTo>
                  <a:lnTo>
                    <a:pt x="1471863" y="533400"/>
                  </a:lnTo>
                  <a:lnTo>
                    <a:pt x="1524000" y="376989"/>
                  </a:lnTo>
                  <a:lnTo>
                    <a:pt x="1447800" y="352926"/>
                  </a:lnTo>
                  <a:lnTo>
                    <a:pt x="1251284" y="372979"/>
                  </a:lnTo>
                  <a:lnTo>
                    <a:pt x="1207168" y="501315"/>
                  </a:lnTo>
                  <a:lnTo>
                    <a:pt x="1167063" y="485273"/>
                  </a:lnTo>
                  <a:lnTo>
                    <a:pt x="986589" y="577515"/>
                  </a:lnTo>
                  <a:lnTo>
                    <a:pt x="966537" y="697831"/>
                  </a:lnTo>
                  <a:lnTo>
                    <a:pt x="946484" y="625642"/>
                  </a:lnTo>
                  <a:lnTo>
                    <a:pt x="970547" y="561473"/>
                  </a:lnTo>
                  <a:lnTo>
                    <a:pt x="830179" y="601579"/>
                  </a:lnTo>
                  <a:lnTo>
                    <a:pt x="962526" y="537410"/>
                  </a:lnTo>
                  <a:lnTo>
                    <a:pt x="946484" y="469231"/>
                  </a:lnTo>
                  <a:lnTo>
                    <a:pt x="922421" y="449179"/>
                  </a:lnTo>
                  <a:lnTo>
                    <a:pt x="918410" y="397042"/>
                  </a:lnTo>
                  <a:lnTo>
                    <a:pt x="830179" y="356936"/>
                  </a:lnTo>
                  <a:lnTo>
                    <a:pt x="818147" y="252663"/>
                  </a:lnTo>
                  <a:lnTo>
                    <a:pt x="774032" y="224589"/>
                  </a:lnTo>
                  <a:lnTo>
                    <a:pt x="737937" y="164431"/>
                  </a:lnTo>
                  <a:lnTo>
                    <a:pt x="605589" y="116305"/>
                  </a:lnTo>
                  <a:lnTo>
                    <a:pt x="589547" y="12031"/>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18" name="Freeform 4">
              <a:extLst>
                <a:ext uri="{FF2B5EF4-FFF2-40B4-BE49-F238E27FC236}">
                  <a16:creationId xmlns:a16="http://schemas.microsoft.com/office/drawing/2014/main" id="{7BFDCD05-5D63-4E68-BAAE-715FBD5F299D}"/>
                </a:ext>
              </a:extLst>
            </p:cNvPr>
            <p:cNvSpPr/>
            <p:nvPr/>
          </p:nvSpPr>
          <p:spPr>
            <a:xfrm>
              <a:off x="8848113" y="1627613"/>
              <a:ext cx="133349" cy="136525"/>
            </a:xfrm>
            <a:custGeom>
              <a:avLst/>
              <a:gdLst>
                <a:gd name="connsiteX0" fmla="*/ 126206 w 133350"/>
                <a:gd name="connsiteY0" fmla="*/ 0 h 135731"/>
                <a:gd name="connsiteX1" fmla="*/ 59531 w 133350"/>
                <a:gd name="connsiteY1" fmla="*/ 23812 h 135731"/>
                <a:gd name="connsiteX2" fmla="*/ 28575 w 133350"/>
                <a:gd name="connsiteY2" fmla="*/ 85725 h 135731"/>
                <a:gd name="connsiteX3" fmla="*/ 33338 w 133350"/>
                <a:gd name="connsiteY3" fmla="*/ 102393 h 135731"/>
                <a:gd name="connsiteX4" fmla="*/ 0 w 133350"/>
                <a:gd name="connsiteY4" fmla="*/ 135731 h 135731"/>
                <a:gd name="connsiteX5" fmla="*/ 76200 w 133350"/>
                <a:gd name="connsiteY5" fmla="*/ 116681 h 135731"/>
                <a:gd name="connsiteX6" fmla="*/ 76200 w 133350"/>
                <a:gd name="connsiteY6" fmla="*/ 116681 h 135731"/>
                <a:gd name="connsiteX7" fmla="*/ 133350 w 133350"/>
                <a:gd name="connsiteY7" fmla="*/ 71437 h 135731"/>
                <a:gd name="connsiteX8" fmla="*/ 126206 w 133350"/>
                <a:gd name="connsiteY8"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35731">
                  <a:moveTo>
                    <a:pt x="126206" y="0"/>
                  </a:moveTo>
                  <a:lnTo>
                    <a:pt x="59531" y="23812"/>
                  </a:lnTo>
                  <a:lnTo>
                    <a:pt x="28575" y="85725"/>
                  </a:lnTo>
                  <a:lnTo>
                    <a:pt x="33338" y="102393"/>
                  </a:lnTo>
                  <a:lnTo>
                    <a:pt x="0" y="135731"/>
                  </a:lnTo>
                  <a:lnTo>
                    <a:pt x="76200" y="116681"/>
                  </a:lnTo>
                  <a:lnTo>
                    <a:pt x="76200" y="116681"/>
                  </a:lnTo>
                  <a:lnTo>
                    <a:pt x="133350" y="71437"/>
                  </a:lnTo>
                  <a:lnTo>
                    <a:pt x="126206"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19" name="Freeform 52">
              <a:extLst>
                <a:ext uri="{FF2B5EF4-FFF2-40B4-BE49-F238E27FC236}">
                  <a16:creationId xmlns:a16="http://schemas.microsoft.com/office/drawing/2014/main" id="{038DA006-4466-4556-BFDD-782F6FBB24CB}"/>
                </a:ext>
              </a:extLst>
            </p:cNvPr>
            <p:cNvSpPr/>
            <p:nvPr/>
          </p:nvSpPr>
          <p:spPr>
            <a:xfrm>
              <a:off x="9084650" y="1448225"/>
              <a:ext cx="23813" cy="52388"/>
            </a:xfrm>
            <a:custGeom>
              <a:avLst/>
              <a:gdLst>
                <a:gd name="connsiteX0" fmla="*/ 4011 w 24063"/>
                <a:gd name="connsiteY0" fmla="*/ 0 h 52136"/>
                <a:gd name="connsiteX1" fmla="*/ 0 w 24063"/>
                <a:gd name="connsiteY1" fmla="*/ 52136 h 52136"/>
                <a:gd name="connsiteX2" fmla="*/ 24063 w 24063"/>
                <a:gd name="connsiteY2" fmla="*/ 48126 h 52136"/>
                <a:gd name="connsiteX3" fmla="*/ 4011 w 24063"/>
                <a:gd name="connsiteY3" fmla="*/ 0 h 52136"/>
              </a:gdLst>
              <a:ahLst/>
              <a:cxnLst>
                <a:cxn ang="0">
                  <a:pos x="connsiteX0" y="connsiteY0"/>
                </a:cxn>
                <a:cxn ang="0">
                  <a:pos x="connsiteX1" y="connsiteY1"/>
                </a:cxn>
                <a:cxn ang="0">
                  <a:pos x="connsiteX2" y="connsiteY2"/>
                </a:cxn>
                <a:cxn ang="0">
                  <a:pos x="connsiteX3" y="connsiteY3"/>
                </a:cxn>
              </a:cxnLst>
              <a:rect l="l" t="t" r="r" b="b"/>
              <a:pathLst>
                <a:path w="24063" h="52136">
                  <a:moveTo>
                    <a:pt x="4011" y="0"/>
                  </a:moveTo>
                  <a:lnTo>
                    <a:pt x="0" y="52136"/>
                  </a:lnTo>
                  <a:lnTo>
                    <a:pt x="24063" y="48126"/>
                  </a:lnTo>
                  <a:lnTo>
                    <a:pt x="4011"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0" name="Freeform 8">
              <a:extLst>
                <a:ext uri="{FF2B5EF4-FFF2-40B4-BE49-F238E27FC236}">
                  <a16:creationId xmlns:a16="http://schemas.microsoft.com/office/drawing/2014/main" id="{B5EA92F4-DE3F-4BB4-99F6-DE1D6678B780}"/>
                </a:ext>
              </a:extLst>
            </p:cNvPr>
            <p:cNvSpPr/>
            <p:nvPr/>
          </p:nvSpPr>
          <p:spPr>
            <a:xfrm>
              <a:off x="9100524" y="1529188"/>
              <a:ext cx="100013" cy="38100"/>
            </a:xfrm>
            <a:custGeom>
              <a:avLst/>
              <a:gdLst>
                <a:gd name="connsiteX0" fmla="*/ 100012 w 100012"/>
                <a:gd name="connsiteY0" fmla="*/ 11907 h 38100"/>
                <a:gd name="connsiteX1" fmla="*/ 52387 w 100012"/>
                <a:gd name="connsiteY1" fmla="*/ 38100 h 38100"/>
                <a:gd name="connsiteX2" fmla="*/ 38100 w 100012"/>
                <a:gd name="connsiteY2" fmla="*/ 26194 h 38100"/>
                <a:gd name="connsiteX3" fmla="*/ 0 w 100012"/>
                <a:gd name="connsiteY3" fmla="*/ 26194 h 38100"/>
                <a:gd name="connsiteX4" fmla="*/ 11906 w 100012"/>
                <a:gd name="connsiteY4" fmla="*/ 0 h 38100"/>
                <a:gd name="connsiteX5" fmla="*/ 100012 w 100012"/>
                <a:gd name="connsiteY5" fmla="*/ 119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12" h="38100">
                  <a:moveTo>
                    <a:pt x="100012" y="11907"/>
                  </a:moveTo>
                  <a:lnTo>
                    <a:pt x="52387" y="38100"/>
                  </a:lnTo>
                  <a:lnTo>
                    <a:pt x="38100" y="26194"/>
                  </a:lnTo>
                  <a:lnTo>
                    <a:pt x="0" y="26194"/>
                  </a:lnTo>
                  <a:lnTo>
                    <a:pt x="11906" y="0"/>
                  </a:lnTo>
                  <a:lnTo>
                    <a:pt x="100012" y="11907"/>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1" name="Freeform 9">
              <a:extLst>
                <a:ext uri="{FF2B5EF4-FFF2-40B4-BE49-F238E27FC236}">
                  <a16:creationId xmlns:a16="http://schemas.microsoft.com/office/drawing/2014/main" id="{8A57C92B-1D29-44BC-9870-7DD8CD5F3595}"/>
                </a:ext>
              </a:extLst>
            </p:cNvPr>
            <p:cNvSpPr/>
            <p:nvPr/>
          </p:nvSpPr>
          <p:spPr>
            <a:xfrm>
              <a:off x="9027499" y="1535538"/>
              <a:ext cx="30163" cy="53976"/>
            </a:xfrm>
            <a:custGeom>
              <a:avLst/>
              <a:gdLst>
                <a:gd name="connsiteX0" fmla="*/ 30956 w 30956"/>
                <a:gd name="connsiteY0" fmla="*/ 0 h 54769"/>
                <a:gd name="connsiteX1" fmla="*/ 19050 w 30956"/>
                <a:gd name="connsiteY1" fmla="*/ 54769 h 54769"/>
                <a:gd name="connsiteX2" fmla="*/ 0 w 30956"/>
                <a:gd name="connsiteY2" fmla="*/ 40481 h 54769"/>
                <a:gd name="connsiteX3" fmla="*/ 30956 w 30956"/>
                <a:gd name="connsiteY3" fmla="*/ 0 h 54769"/>
              </a:gdLst>
              <a:ahLst/>
              <a:cxnLst>
                <a:cxn ang="0">
                  <a:pos x="connsiteX0" y="connsiteY0"/>
                </a:cxn>
                <a:cxn ang="0">
                  <a:pos x="connsiteX1" y="connsiteY1"/>
                </a:cxn>
                <a:cxn ang="0">
                  <a:pos x="connsiteX2" y="connsiteY2"/>
                </a:cxn>
                <a:cxn ang="0">
                  <a:pos x="connsiteX3" y="connsiteY3"/>
                </a:cxn>
              </a:cxnLst>
              <a:rect l="l" t="t" r="r" b="b"/>
              <a:pathLst>
                <a:path w="30956" h="54769">
                  <a:moveTo>
                    <a:pt x="30956" y="0"/>
                  </a:moveTo>
                  <a:lnTo>
                    <a:pt x="19050" y="54769"/>
                  </a:lnTo>
                  <a:lnTo>
                    <a:pt x="0" y="40481"/>
                  </a:lnTo>
                  <a:lnTo>
                    <a:pt x="30956"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2" name="Freeform 10">
              <a:extLst>
                <a:ext uri="{FF2B5EF4-FFF2-40B4-BE49-F238E27FC236}">
                  <a16:creationId xmlns:a16="http://schemas.microsoft.com/office/drawing/2014/main" id="{B9E1DF4A-688D-4B6F-8EFE-A979917E36E2}"/>
                </a:ext>
              </a:extLst>
            </p:cNvPr>
            <p:cNvSpPr/>
            <p:nvPr/>
          </p:nvSpPr>
          <p:spPr>
            <a:xfrm>
              <a:off x="7017726" y="824338"/>
              <a:ext cx="823912" cy="936626"/>
            </a:xfrm>
            <a:custGeom>
              <a:avLst/>
              <a:gdLst>
                <a:gd name="connsiteX0" fmla="*/ 809171 w 823686"/>
                <a:gd name="connsiteY0" fmla="*/ 587828 h 936171"/>
                <a:gd name="connsiteX1" fmla="*/ 758371 w 823686"/>
                <a:gd name="connsiteY1" fmla="*/ 566057 h 936171"/>
                <a:gd name="connsiteX2" fmla="*/ 678543 w 823686"/>
                <a:gd name="connsiteY2" fmla="*/ 478971 h 936171"/>
                <a:gd name="connsiteX3" fmla="*/ 682171 w 823686"/>
                <a:gd name="connsiteY3" fmla="*/ 399143 h 936171"/>
                <a:gd name="connsiteX4" fmla="*/ 620486 w 823686"/>
                <a:gd name="connsiteY4" fmla="*/ 388257 h 936171"/>
                <a:gd name="connsiteX5" fmla="*/ 635000 w 823686"/>
                <a:gd name="connsiteY5" fmla="*/ 326571 h 936171"/>
                <a:gd name="connsiteX6" fmla="*/ 664028 w 823686"/>
                <a:gd name="connsiteY6" fmla="*/ 264886 h 936171"/>
                <a:gd name="connsiteX7" fmla="*/ 653143 w 823686"/>
                <a:gd name="connsiteY7" fmla="*/ 188686 h 936171"/>
                <a:gd name="connsiteX8" fmla="*/ 703943 w 823686"/>
                <a:gd name="connsiteY8" fmla="*/ 156028 h 936171"/>
                <a:gd name="connsiteX9" fmla="*/ 649514 w 823686"/>
                <a:gd name="connsiteY9" fmla="*/ 108857 h 936171"/>
                <a:gd name="connsiteX10" fmla="*/ 631371 w 823686"/>
                <a:gd name="connsiteY10" fmla="*/ 108857 h 936171"/>
                <a:gd name="connsiteX11" fmla="*/ 616857 w 823686"/>
                <a:gd name="connsiteY11" fmla="*/ 83457 h 936171"/>
                <a:gd name="connsiteX12" fmla="*/ 620486 w 823686"/>
                <a:gd name="connsiteY12" fmla="*/ 0 h 936171"/>
                <a:gd name="connsiteX13" fmla="*/ 558800 w 823686"/>
                <a:gd name="connsiteY13" fmla="*/ 0 h 936171"/>
                <a:gd name="connsiteX14" fmla="*/ 558800 w 823686"/>
                <a:gd name="connsiteY14" fmla="*/ 68943 h 936171"/>
                <a:gd name="connsiteX15" fmla="*/ 460828 w 823686"/>
                <a:gd name="connsiteY15" fmla="*/ 94343 h 936171"/>
                <a:gd name="connsiteX16" fmla="*/ 439057 w 823686"/>
                <a:gd name="connsiteY16" fmla="*/ 123371 h 936171"/>
                <a:gd name="connsiteX17" fmla="*/ 351971 w 823686"/>
                <a:gd name="connsiteY17" fmla="*/ 152400 h 936171"/>
                <a:gd name="connsiteX18" fmla="*/ 286657 w 823686"/>
                <a:gd name="connsiteY18" fmla="*/ 156028 h 936171"/>
                <a:gd name="connsiteX19" fmla="*/ 203200 w 823686"/>
                <a:gd name="connsiteY19" fmla="*/ 206828 h 936171"/>
                <a:gd name="connsiteX20" fmla="*/ 134257 w 823686"/>
                <a:gd name="connsiteY20" fmla="*/ 203200 h 936171"/>
                <a:gd name="connsiteX21" fmla="*/ 90714 w 823686"/>
                <a:gd name="connsiteY21" fmla="*/ 199571 h 936171"/>
                <a:gd name="connsiteX22" fmla="*/ 0 w 823686"/>
                <a:gd name="connsiteY22" fmla="*/ 145143 h 936171"/>
                <a:gd name="connsiteX23" fmla="*/ 76200 w 823686"/>
                <a:gd name="connsiteY23" fmla="*/ 232228 h 936171"/>
                <a:gd name="connsiteX24" fmla="*/ 47171 w 823686"/>
                <a:gd name="connsiteY24" fmla="*/ 286657 h 936171"/>
                <a:gd name="connsiteX25" fmla="*/ 61686 w 823686"/>
                <a:gd name="connsiteY25" fmla="*/ 373743 h 936171"/>
                <a:gd name="connsiteX26" fmla="*/ 130628 w 823686"/>
                <a:gd name="connsiteY26" fmla="*/ 377371 h 936171"/>
                <a:gd name="connsiteX27" fmla="*/ 181428 w 823686"/>
                <a:gd name="connsiteY27" fmla="*/ 406400 h 936171"/>
                <a:gd name="connsiteX28" fmla="*/ 174171 w 823686"/>
                <a:gd name="connsiteY28" fmla="*/ 446314 h 936171"/>
                <a:gd name="connsiteX29" fmla="*/ 217714 w 823686"/>
                <a:gd name="connsiteY29" fmla="*/ 468086 h 936171"/>
                <a:gd name="connsiteX30" fmla="*/ 275771 w 823686"/>
                <a:gd name="connsiteY30" fmla="*/ 598714 h 936171"/>
                <a:gd name="connsiteX31" fmla="*/ 308428 w 823686"/>
                <a:gd name="connsiteY31" fmla="*/ 754743 h 936171"/>
                <a:gd name="connsiteX32" fmla="*/ 319314 w 823686"/>
                <a:gd name="connsiteY32" fmla="*/ 801914 h 936171"/>
                <a:gd name="connsiteX33" fmla="*/ 315686 w 823686"/>
                <a:gd name="connsiteY33" fmla="*/ 841828 h 936171"/>
                <a:gd name="connsiteX34" fmla="*/ 417286 w 823686"/>
                <a:gd name="connsiteY34" fmla="*/ 936171 h 936171"/>
                <a:gd name="connsiteX35" fmla="*/ 435428 w 823686"/>
                <a:gd name="connsiteY35" fmla="*/ 856343 h 936171"/>
                <a:gd name="connsiteX36" fmla="*/ 497114 w 823686"/>
                <a:gd name="connsiteY36" fmla="*/ 805543 h 936171"/>
                <a:gd name="connsiteX37" fmla="*/ 526143 w 823686"/>
                <a:gd name="connsiteY37" fmla="*/ 849086 h 936171"/>
                <a:gd name="connsiteX38" fmla="*/ 609600 w 823686"/>
                <a:gd name="connsiteY38" fmla="*/ 845457 h 936171"/>
                <a:gd name="connsiteX39" fmla="*/ 598714 w 823686"/>
                <a:gd name="connsiteY39" fmla="*/ 772886 h 936171"/>
                <a:gd name="connsiteX40" fmla="*/ 660400 w 823686"/>
                <a:gd name="connsiteY40" fmla="*/ 747486 h 936171"/>
                <a:gd name="connsiteX41" fmla="*/ 674914 w 823686"/>
                <a:gd name="connsiteY41" fmla="*/ 674914 h 936171"/>
                <a:gd name="connsiteX42" fmla="*/ 823686 w 823686"/>
                <a:gd name="connsiteY42" fmla="*/ 689428 h 936171"/>
                <a:gd name="connsiteX43" fmla="*/ 809171 w 823686"/>
                <a:gd name="connsiteY43" fmla="*/ 587828 h 93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3686" h="936171">
                  <a:moveTo>
                    <a:pt x="809171" y="587828"/>
                  </a:moveTo>
                  <a:lnTo>
                    <a:pt x="758371" y="566057"/>
                  </a:lnTo>
                  <a:lnTo>
                    <a:pt x="678543" y="478971"/>
                  </a:lnTo>
                  <a:lnTo>
                    <a:pt x="682171" y="399143"/>
                  </a:lnTo>
                  <a:lnTo>
                    <a:pt x="620486" y="388257"/>
                  </a:lnTo>
                  <a:lnTo>
                    <a:pt x="635000" y="326571"/>
                  </a:lnTo>
                  <a:lnTo>
                    <a:pt x="664028" y="264886"/>
                  </a:lnTo>
                  <a:lnTo>
                    <a:pt x="653143" y="188686"/>
                  </a:lnTo>
                  <a:lnTo>
                    <a:pt x="703943" y="156028"/>
                  </a:lnTo>
                  <a:lnTo>
                    <a:pt x="649514" y="108857"/>
                  </a:lnTo>
                  <a:lnTo>
                    <a:pt x="631371" y="108857"/>
                  </a:lnTo>
                  <a:lnTo>
                    <a:pt x="616857" y="83457"/>
                  </a:lnTo>
                  <a:lnTo>
                    <a:pt x="620486" y="0"/>
                  </a:lnTo>
                  <a:lnTo>
                    <a:pt x="558800" y="0"/>
                  </a:lnTo>
                  <a:lnTo>
                    <a:pt x="558800" y="68943"/>
                  </a:lnTo>
                  <a:lnTo>
                    <a:pt x="460828" y="94343"/>
                  </a:lnTo>
                  <a:lnTo>
                    <a:pt x="439057" y="123371"/>
                  </a:lnTo>
                  <a:lnTo>
                    <a:pt x="351971" y="152400"/>
                  </a:lnTo>
                  <a:lnTo>
                    <a:pt x="286657" y="156028"/>
                  </a:lnTo>
                  <a:lnTo>
                    <a:pt x="203200" y="206828"/>
                  </a:lnTo>
                  <a:lnTo>
                    <a:pt x="134257" y="203200"/>
                  </a:lnTo>
                  <a:lnTo>
                    <a:pt x="90714" y="199571"/>
                  </a:lnTo>
                  <a:lnTo>
                    <a:pt x="0" y="145143"/>
                  </a:lnTo>
                  <a:lnTo>
                    <a:pt x="76200" y="232228"/>
                  </a:lnTo>
                  <a:lnTo>
                    <a:pt x="47171" y="286657"/>
                  </a:lnTo>
                  <a:lnTo>
                    <a:pt x="61686" y="373743"/>
                  </a:lnTo>
                  <a:lnTo>
                    <a:pt x="130628" y="377371"/>
                  </a:lnTo>
                  <a:lnTo>
                    <a:pt x="181428" y="406400"/>
                  </a:lnTo>
                  <a:lnTo>
                    <a:pt x="174171" y="446314"/>
                  </a:lnTo>
                  <a:lnTo>
                    <a:pt x="217714" y="468086"/>
                  </a:lnTo>
                  <a:lnTo>
                    <a:pt x="275771" y="598714"/>
                  </a:lnTo>
                  <a:lnTo>
                    <a:pt x="308428" y="754743"/>
                  </a:lnTo>
                  <a:lnTo>
                    <a:pt x="319314" y="801914"/>
                  </a:lnTo>
                  <a:lnTo>
                    <a:pt x="315686" y="841828"/>
                  </a:lnTo>
                  <a:lnTo>
                    <a:pt x="417286" y="936171"/>
                  </a:lnTo>
                  <a:lnTo>
                    <a:pt x="435428" y="856343"/>
                  </a:lnTo>
                  <a:lnTo>
                    <a:pt x="497114" y="805543"/>
                  </a:lnTo>
                  <a:lnTo>
                    <a:pt x="526143" y="849086"/>
                  </a:lnTo>
                  <a:lnTo>
                    <a:pt x="609600" y="845457"/>
                  </a:lnTo>
                  <a:lnTo>
                    <a:pt x="598714" y="772886"/>
                  </a:lnTo>
                  <a:lnTo>
                    <a:pt x="660400" y="747486"/>
                  </a:lnTo>
                  <a:lnTo>
                    <a:pt x="674914" y="674914"/>
                  </a:lnTo>
                  <a:lnTo>
                    <a:pt x="823686" y="689428"/>
                  </a:lnTo>
                  <a:lnTo>
                    <a:pt x="809171" y="587828"/>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3" name="Freeform 11">
              <a:extLst>
                <a:ext uri="{FF2B5EF4-FFF2-40B4-BE49-F238E27FC236}">
                  <a16:creationId xmlns:a16="http://schemas.microsoft.com/office/drawing/2014/main" id="{A487A85F-2074-484D-AE81-C409038CF2AF}"/>
                </a:ext>
              </a:extLst>
            </p:cNvPr>
            <p:cNvSpPr/>
            <p:nvPr/>
          </p:nvSpPr>
          <p:spPr>
            <a:xfrm>
              <a:off x="5657240" y="1267251"/>
              <a:ext cx="2570160" cy="1738314"/>
            </a:xfrm>
            <a:custGeom>
              <a:avLst/>
              <a:gdLst>
                <a:gd name="connsiteX0" fmla="*/ 1513114 w 2569028"/>
                <a:gd name="connsiteY0" fmla="*/ 0 h 1738085"/>
                <a:gd name="connsiteX1" fmla="*/ 1433285 w 2569028"/>
                <a:gd name="connsiteY1" fmla="*/ 39914 h 1738085"/>
                <a:gd name="connsiteX2" fmla="*/ 1418771 w 2569028"/>
                <a:gd name="connsiteY2" fmla="*/ 90714 h 1738085"/>
                <a:gd name="connsiteX3" fmla="*/ 1378857 w 2569028"/>
                <a:gd name="connsiteY3" fmla="*/ 123371 h 1738085"/>
                <a:gd name="connsiteX4" fmla="*/ 1346200 w 2569028"/>
                <a:gd name="connsiteY4" fmla="*/ 101600 h 1738085"/>
                <a:gd name="connsiteX5" fmla="*/ 1320800 w 2569028"/>
                <a:gd name="connsiteY5" fmla="*/ 134257 h 1738085"/>
                <a:gd name="connsiteX6" fmla="*/ 1230085 w 2569028"/>
                <a:gd name="connsiteY6" fmla="*/ 152400 h 1738085"/>
                <a:gd name="connsiteX7" fmla="*/ 1179285 w 2569028"/>
                <a:gd name="connsiteY7" fmla="*/ 203200 h 1738085"/>
                <a:gd name="connsiteX8" fmla="*/ 1128485 w 2569028"/>
                <a:gd name="connsiteY8" fmla="*/ 195942 h 1738085"/>
                <a:gd name="connsiteX9" fmla="*/ 1092200 w 2569028"/>
                <a:gd name="connsiteY9" fmla="*/ 214085 h 1738085"/>
                <a:gd name="connsiteX10" fmla="*/ 1012371 w 2569028"/>
                <a:gd name="connsiteY10" fmla="*/ 148771 h 1738085"/>
                <a:gd name="connsiteX11" fmla="*/ 979714 w 2569028"/>
                <a:gd name="connsiteY11" fmla="*/ 163285 h 1738085"/>
                <a:gd name="connsiteX12" fmla="*/ 947057 w 2569028"/>
                <a:gd name="connsiteY12" fmla="*/ 137885 h 1738085"/>
                <a:gd name="connsiteX13" fmla="*/ 936171 w 2569028"/>
                <a:gd name="connsiteY13" fmla="*/ 72571 h 1738085"/>
                <a:gd name="connsiteX14" fmla="*/ 918028 w 2569028"/>
                <a:gd name="connsiteY14" fmla="*/ 36285 h 1738085"/>
                <a:gd name="connsiteX15" fmla="*/ 885371 w 2569028"/>
                <a:gd name="connsiteY15" fmla="*/ 76200 h 1738085"/>
                <a:gd name="connsiteX16" fmla="*/ 845457 w 2569028"/>
                <a:gd name="connsiteY16" fmla="*/ 90714 h 1738085"/>
                <a:gd name="connsiteX17" fmla="*/ 809171 w 2569028"/>
                <a:gd name="connsiteY17" fmla="*/ 25400 h 1738085"/>
                <a:gd name="connsiteX18" fmla="*/ 794657 w 2569028"/>
                <a:gd name="connsiteY18" fmla="*/ 68942 h 1738085"/>
                <a:gd name="connsiteX19" fmla="*/ 616857 w 2569028"/>
                <a:gd name="connsiteY19" fmla="*/ 72571 h 1738085"/>
                <a:gd name="connsiteX20" fmla="*/ 598714 w 2569028"/>
                <a:gd name="connsiteY20" fmla="*/ 97971 h 1738085"/>
                <a:gd name="connsiteX21" fmla="*/ 638628 w 2569028"/>
                <a:gd name="connsiteY21" fmla="*/ 116114 h 1738085"/>
                <a:gd name="connsiteX22" fmla="*/ 685800 w 2569028"/>
                <a:gd name="connsiteY22" fmla="*/ 127000 h 1738085"/>
                <a:gd name="connsiteX23" fmla="*/ 700314 w 2569028"/>
                <a:gd name="connsiteY23" fmla="*/ 174171 h 1738085"/>
                <a:gd name="connsiteX24" fmla="*/ 674914 w 2569028"/>
                <a:gd name="connsiteY24" fmla="*/ 235857 h 1738085"/>
                <a:gd name="connsiteX25" fmla="*/ 642257 w 2569028"/>
                <a:gd name="connsiteY25" fmla="*/ 243114 h 1738085"/>
                <a:gd name="connsiteX26" fmla="*/ 591457 w 2569028"/>
                <a:gd name="connsiteY26" fmla="*/ 217714 h 1738085"/>
                <a:gd name="connsiteX27" fmla="*/ 562428 w 2569028"/>
                <a:gd name="connsiteY27" fmla="*/ 250371 h 1738085"/>
                <a:gd name="connsiteX28" fmla="*/ 587828 w 2569028"/>
                <a:gd name="connsiteY28" fmla="*/ 359228 h 1738085"/>
                <a:gd name="connsiteX29" fmla="*/ 624114 w 2569028"/>
                <a:gd name="connsiteY29" fmla="*/ 395514 h 1738085"/>
                <a:gd name="connsiteX30" fmla="*/ 624114 w 2569028"/>
                <a:gd name="connsiteY30" fmla="*/ 446314 h 1738085"/>
                <a:gd name="connsiteX31" fmla="*/ 667657 w 2569028"/>
                <a:gd name="connsiteY31" fmla="*/ 504371 h 1738085"/>
                <a:gd name="connsiteX32" fmla="*/ 587828 w 2569028"/>
                <a:gd name="connsiteY32" fmla="*/ 957942 h 1738085"/>
                <a:gd name="connsiteX33" fmla="*/ 566057 w 2569028"/>
                <a:gd name="connsiteY33" fmla="*/ 976085 h 1738085"/>
                <a:gd name="connsiteX34" fmla="*/ 529771 w 2569028"/>
                <a:gd name="connsiteY34" fmla="*/ 954314 h 1738085"/>
                <a:gd name="connsiteX35" fmla="*/ 431800 w 2569028"/>
                <a:gd name="connsiteY35" fmla="*/ 950685 h 1738085"/>
                <a:gd name="connsiteX36" fmla="*/ 391885 w 2569028"/>
                <a:gd name="connsiteY36" fmla="*/ 976085 h 1738085"/>
                <a:gd name="connsiteX37" fmla="*/ 283028 w 2569028"/>
                <a:gd name="connsiteY37" fmla="*/ 997857 h 1738085"/>
                <a:gd name="connsiteX38" fmla="*/ 159657 w 2569028"/>
                <a:gd name="connsiteY38" fmla="*/ 1066800 h 1738085"/>
                <a:gd name="connsiteX39" fmla="*/ 101600 w 2569028"/>
                <a:gd name="connsiteY39" fmla="*/ 1201057 h 1738085"/>
                <a:gd name="connsiteX40" fmla="*/ 108857 w 2569028"/>
                <a:gd name="connsiteY40" fmla="*/ 1237342 h 1738085"/>
                <a:gd name="connsiteX41" fmla="*/ 10885 w 2569028"/>
                <a:gd name="connsiteY41" fmla="*/ 1309914 h 1738085"/>
                <a:gd name="connsiteX42" fmla="*/ 0 w 2569028"/>
                <a:gd name="connsiteY42" fmla="*/ 1386114 h 1738085"/>
                <a:gd name="connsiteX43" fmla="*/ 224971 w 2569028"/>
                <a:gd name="connsiteY43" fmla="*/ 1447800 h 1738085"/>
                <a:gd name="connsiteX44" fmla="*/ 497114 w 2569028"/>
                <a:gd name="connsiteY44" fmla="*/ 1494971 h 1738085"/>
                <a:gd name="connsiteX45" fmla="*/ 1066800 w 2569028"/>
                <a:gd name="connsiteY45" fmla="*/ 1730828 h 1738085"/>
                <a:gd name="connsiteX46" fmla="*/ 1266371 w 2569028"/>
                <a:gd name="connsiteY46" fmla="*/ 1738085 h 1738085"/>
                <a:gd name="connsiteX47" fmla="*/ 1284514 w 2569028"/>
                <a:gd name="connsiteY47" fmla="*/ 1712685 h 1738085"/>
                <a:gd name="connsiteX48" fmla="*/ 1331685 w 2569028"/>
                <a:gd name="connsiteY48" fmla="*/ 1694542 h 1738085"/>
                <a:gd name="connsiteX49" fmla="*/ 1320800 w 2569028"/>
                <a:gd name="connsiteY49" fmla="*/ 1625600 h 1738085"/>
                <a:gd name="connsiteX50" fmla="*/ 1455057 w 2569028"/>
                <a:gd name="connsiteY50" fmla="*/ 1567542 h 1738085"/>
                <a:gd name="connsiteX51" fmla="*/ 1451428 w 2569028"/>
                <a:gd name="connsiteY51" fmla="*/ 1498600 h 1738085"/>
                <a:gd name="connsiteX52" fmla="*/ 1534885 w 2569028"/>
                <a:gd name="connsiteY52" fmla="*/ 1440542 h 1738085"/>
                <a:gd name="connsiteX53" fmla="*/ 1618342 w 2569028"/>
                <a:gd name="connsiteY53" fmla="*/ 1440542 h 1738085"/>
                <a:gd name="connsiteX54" fmla="*/ 1651000 w 2569028"/>
                <a:gd name="connsiteY54" fmla="*/ 1516742 h 1738085"/>
                <a:gd name="connsiteX55" fmla="*/ 1803400 w 2569028"/>
                <a:gd name="connsiteY55" fmla="*/ 1563914 h 1738085"/>
                <a:gd name="connsiteX56" fmla="*/ 1843314 w 2569028"/>
                <a:gd name="connsiteY56" fmla="*/ 1589314 h 1738085"/>
                <a:gd name="connsiteX57" fmla="*/ 2253342 w 2569028"/>
                <a:gd name="connsiteY57" fmla="*/ 1560285 h 1738085"/>
                <a:gd name="connsiteX58" fmla="*/ 2278742 w 2569028"/>
                <a:gd name="connsiteY58" fmla="*/ 1513114 h 1738085"/>
                <a:gd name="connsiteX59" fmla="*/ 2260600 w 2569028"/>
                <a:gd name="connsiteY59" fmla="*/ 1451428 h 1738085"/>
                <a:gd name="connsiteX60" fmla="*/ 2278742 w 2569028"/>
                <a:gd name="connsiteY60" fmla="*/ 1422400 h 1738085"/>
                <a:gd name="connsiteX61" fmla="*/ 2235200 w 2569028"/>
                <a:gd name="connsiteY61" fmla="*/ 1262742 h 1738085"/>
                <a:gd name="connsiteX62" fmla="*/ 2489200 w 2569028"/>
                <a:gd name="connsiteY62" fmla="*/ 685800 h 1738085"/>
                <a:gd name="connsiteX63" fmla="*/ 2569028 w 2569028"/>
                <a:gd name="connsiteY63" fmla="*/ 616857 h 1738085"/>
                <a:gd name="connsiteX64" fmla="*/ 2550885 w 2569028"/>
                <a:gd name="connsiteY64" fmla="*/ 584200 h 1738085"/>
                <a:gd name="connsiteX65" fmla="*/ 2471057 w 2569028"/>
                <a:gd name="connsiteY65" fmla="*/ 649514 h 1738085"/>
                <a:gd name="connsiteX66" fmla="*/ 2452914 w 2569028"/>
                <a:gd name="connsiteY66" fmla="*/ 631371 h 1738085"/>
                <a:gd name="connsiteX67" fmla="*/ 2445657 w 2569028"/>
                <a:gd name="connsiteY67" fmla="*/ 591457 h 1738085"/>
                <a:gd name="connsiteX68" fmla="*/ 2456542 w 2569028"/>
                <a:gd name="connsiteY68" fmla="*/ 576942 h 1738085"/>
                <a:gd name="connsiteX69" fmla="*/ 2413000 w 2569028"/>
                <a:gd name="connsiteY69" fmla="*/ 555171 h 1738085"/>
                <a:gd name="connsiteX70" fmla="*/ 2300514 w 2569028"/>
                <a:gd name="connsiteY70" fmla="*/ 547914 h 1738085"/>
                <a:gd name="connsiteX71" fmla="*/ 2271485 w 2569028"/>
                <a:gd name="connsiteY71" fmla="*/ 449942 h 1738085"/>
                <a:gd name="connsiteX72" fmla="*/ 2206171 w 2569028"/>
                <a:gd name="connsiteY72" fmla="*/ 406400 h 1738085"/>
                <a:gd name="connsiteX73" fmla="*/ 2173514 w 2569028"/>
                <a:gd name="connsiteY73" fmla="*/ 246742 h 1738085"/>
                <a:gd name="connsiteX74" fmla="*/ 2032000 w 2569028"/>
                <a:gd name="connsiteY74" fmla="*/ 232228 h 1738085"/>
                <a:gd name="connsiteX75" fmla="*/ 2021114 w 2569028"/>
                <a:gd name="connsiteY75" fmla="*/ 308428 h 1738085"/>
                <a:gd name="connsiteX76" fmla="*/ 1966685 w 2569028"/>
                <a:gd name="connsiteY76" fmla="*/ 330200 h 1738085"/>
                <a:gd name="connsiteX77" fmla="*/ 1966685 w 2569028"/>
                <a:gd name="connsiteY77" fmla="*/ 399142 h 1738085"/>
                <a:gd name="connsiteX78" fmla="*/ 1901371 w 2569028"/>
                <a:gd name="connsiteY78" fmla="*/ 410028 h 1738085"/>
                <a:gd name="connsiteX79" fmla="*/ 1854200 w 2569028"/>
                <a:gd name="connsiteY79" fmla="*/ 362857 h 1738085"/>
                <a:gd name="connsiteX80" fmla="*/ 1799771 w 2569028"/>
                <a:gd name="connsiteY80" fmla="*/ 406400 h 1738085"/>
                <a:gd name="connsiteX81" fmla="*/ 1781628 w 2569028"/>
                <a:gd name="connsiteY81" fmla="*/ 493485 h 1738085"/>
                <a:gd name="connsiteX82" fmla="*/ 1680028 w 2569028"/>
                <a:gd name="connsiteY82" fmla="*/ 402771 h 1738085"/>
                <a:gd name="connsiteX83" fmla="*/ 1680028 w 2569028"/>
                <a:gd name="connsiteY83" fmla="*/ 351971 h 1738085"/>
                <a:gd name="connsiteX84" fmla="*/ 1629228 w 2569028"/>
                <a:gd name="connsiteY84" fmla="*/ 148771 h 1738085"/>
                <a:gd name="connsiteX85" fmla="*/ 1582057 w 2569028"/>
                <a:gd name="connsiteY85" fmla="*/ 29028 h 1738085"/>
                <a:gd name="connsiteX86" fmla="*/ 1513114 w 2569028"/>
                <a:gd name="connsiteY86" fmla="*/ 0 h 173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69028" h="1738085">
                  <a:moveTo>
                    <a:pt x="1513114" y="0"/>
                  </a:moveTo>
                  <a:lnTo>
                    <a:pt x="1433285" y="39914"/>
                  </a:lnTo>
                  <a:lnTo>
                    <a:pt x="1418771" y="90714"/>
                  </a:lnTo>
                  <a:lnTo>
                    <a:pt x="1378857" y="123371"/>
                  </a:lnTo>
                  <a:lnTo>
                    <a:pt x="1346200" y="101600"/>
                  </a:lnTo>
                  <a:lnTo>
                    <a:pt x="1320800" y="134257"/>
                  </a:lnTo>
                  <a:lnTo>
                    <a:pt x="1230085" y="152400"/>
                  </a:lnTo>
                  <a:lnTo>
                    <a:pt x="1179285" y="203200"/>
                  </a:lnTo>
                  <a:lnTo>
                    <a:pt x="1128485" y="195942"/>
                  </a:lnTo>
                  <a:lnTo>
                    <a:pt x="1092200" y="214085"/>
                  </a:lnTo>
                  <a:lnTo>
                    <a:pt x="1012371" y="148771"/>
                  </a:lnTo>
                  <a:lnTo>
                    <a:pt x="979714" y="163285"/>
                  </a:lnTo>
                  <a:lnTo>
                    <a:pt x="947057" y="137885"/>
                  </a:lnTo>
                  <a:lnTo>
                    <a:pt x="936171" y="72571"/>
                  </a:lnTo>
                  <a:lnTo>
                    <a:pt x="918028" y="36285"/>
                  </a:lnTo>
                  <a:lnTo>
                    <a:pt x="885371" y="76200"/>
                  </a:lnTo>
                  <a:lnTo>
                    <a:pt x="845457" y="90714"/>
                  </a:lnTo>
                  <a:lnTo>
                    <a:pt x="809171" y="25400"/>
                  </a:lnTo>
                  <a:lnTo>
                    <a:pt x="794657" y="68942"/>
                  </a:lnTo>
                  <a:lnTo>
                    <a:pt x="616857" y="72571"/>
                  </a:lnTo>
                  <a:lnTo>
                    <a:pt x="598714" y="97971"/>
                  </a:lnTo>
                  <a:lnTo>
                    <a:pt x="638628" y="116114"/>
                  </a:lnTo>
                  <a:lnTo>
                    <a:pt x="685800" y="127000"/>
                  </a:lnTo>
                  <a:lnTo>
                    <a:pt x="700314" y="174171"/>
                  </a:lnTo>
                  <a:lnTo>
                    <a:pt x="674914" y="235857"/>
                  </a:lnTo>
                  <a:lnTo>
                    <a:pt x="642257" y="243114"/>
                  </a:lnTo>
                  <a:lnTo>
                    <a:pt x="591457" y="217714"/>
                  </a:lnTo>
                  <a:lnTo>
                    <a:pt x="562428" y="250371"/>
                  </a:lnTo>
                  <a:lnTo>
                    <a:pt x="587828" y="359228"/>
                  </a:lnTo>
                  <a:lnTo>
                    <a:pt x="624114" y="395514"/>
                  </a:lnTo>
                  <a:lnTo>
                    <a:pt x="624114" y="446314"/>
                  </a:lnTo>
                  <a:lnTo>
                    <a:pt x="667657" y="504371"/>
                  </a:lnTo>
                  <a:lnTo>
                    <a:pt x="587828" y="957942"/>
                  </a:lnTo>
                  <a:lnTo>
                    <a:pt x="566057" y="976085"/>
                  </a:lnTo>
                  <a:lnTo>
                    <a:pt x="529771" y="954314"/>
                  </a:lnTo>
                  <a:lnTo>
                    <a:pt x="431800" y="950685"/>
                  </a:lnTo>
                  <a:lnTo>
                    <a:pt x="391885" y="976085"/>
                  </a:lnTo>
                  <a:lnTo>
                    <a:pt x="283028" y="997857"/>
                  </a:lnTo>
                  <a:lnTo>
                    <a:pt x="159657" y="1066800"/>
                  </a:lnTo>
                  <a:lnTo>
                    <a:pt x="101600" y="1201057"/>
                  </a:lnTo>
                  <a:lnTo>
                    <a:pt x="108857" y="1237342"/>
                  </a:lnTo>
                  <a:lnTo>
                    <a:pt x="10885" y="1309914"/>
                  </a:lnTo>
                  <a:lnTo>
                    <a:pt x="0" y="1386114"/>
                  </a:lnTo>
                  <a:lnTo>
                    <a:pt x="224971" y="1447800"/>
                  </a:lnTo>
                  <a:lnTo>
                    <a:pt x="497114" y="1494971"/>
                  </a:lnTo>
                  <a:lnTo>
                    <a:pt x="1066800" y="1730828"/>
                  </a:lnTo>
                  <a:lnTo>
                    <a:pt x="1266371" y="1738085"/>
                  </a:lnTo>
                  <a:lnTo>
                    <a:pt x="1284514" y="1712685"/>
                  </a:lnTo>
                  <a:lnTo>
                    <a:pt x="1331685" y="1694542"/>
                  </a:lnTo>
                  <a:lnTo>
                    <a:pt x="1320800" y="1625600"/>
                  </a:lnTo>
                  <a:lnTo>
                    <a:pt x="1455057" y="1567542"/>
                  </a:lnTo>
                  <a:lnTo>
                    <a:pt x="1451428" y="1498600"/>
                  </a:lnTo>
                  <a:lnTo>
                    <a:pt x="1534885" y="1440542"/>
                  </a:lnTo>
                  <a:lnTo>
                    <a:pt x="1618342" y="1440542"/>
                  </a:lnTo>
                  <a:lnTo>
                    <a:pt x="1651000" y="1516742"/>
                  </a:lnTo>
                  <a:lnTo>
                    <a:pt x="1803400" y="1563914"/>
                  </a:lnTo>
                  <a:lnTo>
                    <a:pt x="1843314" y="1589314"/>
                  </a:lnTo>
                  <a:lnTo>
                    <a:pt x="2253342" y="1560285"/>
                  </a:lnTo>
                  <a:lnTo>
                    <a:pt x="2278742" y="1513114"/>
                  </a:lnTo>
                  <a:lnTo>
                    <a:pt x="2260600" y="1451428"/>
                  </a:lnTo>
                  <a:lnTo>
                    <a:pt x="2278742" y="1422400"/>
                  </a:lnTo>
                  <a:lnTo>
                    <a:pt x="2235200" y="1262742"/>
                  </a:lnTo>
                  <a:lnTo>
                    <a:pt x="2489200" y="685800"/>
                  </a:lnTo>
                  <a:lnTo>
                    <a:pt x="2569028" y="616857"/>
                  </a:lnTo>
                  <a:lnTo>
                    <a:pt x="2550885" y="584200"/>
                  </a:lnTo>
                  <a:lnTo>
                    <a:pt x="2471057" y="649514"/>
                  </a:lnTo>
                  <a:lnTo>
                    <a:pt x="2452914" y="631371"/>
                  </a:lnTo>
                  <a:lnTo>
                    <a:pt x="2445657" y="591457"/>
                  </a:lnTo>
                  <a:lnTo>
                    <a:pt x="2456542" y="576942"/>
                  </a:lnTo>
                  <a:lnTo>
                    <a:pt x="2413000" y="555171"/>
                  </a:lnTo>
                  <a:lnTo>
                    <a:pt x="2300514" y="547914"/>
                  </a:lnTo>
                  <a:lnTo>
                    <a:pt x="2271485" y="449942"/>
                  </a:lnTo>
                  <a:lnTo>
                    <a:pt x="2206171" y="406400"/>
                  </a:lnTo>
                  <a:lnTo>
                    <a:pt x="2173514" y="246742"/>
                  </a:lnTo>
                  <a:lnTo>
                    <a:pt x="2032000" y="232228"/>
                  </a:lnTo>
                  <a:lnTo>
                    <a:pt x="2021114" y="308428"/>
                  </a:lnTo>
                  <a:lnTo>
                    <a:pt x="1966685" y="330200"/>
                  </a:lnTo>
                  <a:lnTo>
                    <a:pt x="1966685" y="399142"/>
                  </a:lnTo>
                  <a:lnTo>
                    <a:pt x="1901371" y="410028"/>
                  </a:lnTo>
                  <a:lnTo>
                    <a:pt x="1854200" y="362857"/>
                  </a:lnTo>
                  <a:lnTo>
                    <a:pt x="1799771" y="406400"/>
                  </a:lnTo>
                  <a:lnTo>
                    <a:pt x="1781628" y="493485"/>
                  </a:lnTo>
                  <a:lnTo>
                    <a:pt x="1680028" y="402771"/>
                  </a:lnTo>
                  <a:lnTo>
                    <a:pt x="1680028" y="351971"/>
                  </a:lnTo>
                  <a:lnTo>
                    <a:pt x="1629228" y="148771"/>
                  </a:lnTo>
                  <a:lnTo>
                    <a:pt x="1582057" y="29028"/>
                  </a:lnTo>
                  <a:lnTo>
                    <a:pt x="1513114"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052" dirty="0">
                <a:solidFill>
                  <a:schemeClr val="tx2">
                    <a:lumMod val="75000"/>
                  </a:schemeClr>
                </a:solidFill>
                <a:ea typeface="ＭＳ Ｐゴシック" charset="-128"/>
              </a:endParaRPr>
            </a:p>
          </p:txBody>
        </p:sp>
        <p:sp>
          <p:nvSpPr>
            <p:cNvPr id="25" name="Freeform 12">
              <a:extLst>
                <a:ext uri="{FF2B5EF4-FFF2-40B4-BE49-F238E27FC236}">
                  <a16:creationId xmlns:a16="http://schemas.microsoft.com/office/drawing/2014/main" id="{5BF7B99F-215F-45F6-8679-3045E01B4D8B}"/>
                </a:ext>
              </a:extLst>
            </p:cNvPr>
            <p:cNvSpPr/>
            <p:nvPr/>
          </p:nvSpPr>
          <p:spPr>
            <a:xfrm>
              <a:off x="5625491" y="2643614"/>
              <a:ext cx="1092199" cy="522287"/>
            </a:xfrm>
            <a:custGeom>
              <a:avLst/>
              <a:gdLst>
                <a:gd name="connsiteX0" fmla="*/ 25400 w 1092200"/>
                <a:gd name="connsiteY0" fmla="*/ 0 h 522514"/>
                <a:gd name="connsiteX1" fmla="*/ 0 w 1092200"/>
                <a:gd name="connsiteY1" fmla="*/ 39914 h 522514"/>
                <a:gd name="connsiteX2" fmla="*/ 54429 w 1092200"/>
                <a:gd name="connsiteY2" fmla="*/ 116114 h 522514"/>
                <a:gd name="connsiteX3" fmla="*/ 145143 w 1092200"/>
                <a:gd name="connsiteY3" fmla="*/ 217714 h 522514"/>
                <a:gd name="connsiteX4" fmla="*/ 145143 w 1092200"/>
                <a:gd name="connsiteY4" fmla="*/ 283029 h 522514"/>
                <a:gd name="connsiteX5" fmla="*/ 130629 w 1092200"/>
                <a:gd name="connsiteY5" fmla="*/ 319314 h 522514"/>
                <a:gd name="connsiteX6" fmla="*/ 221343 w 1092200"/>
                <a:gd name="connsiteY6" fmla="*/ 326572 h 522514"/>
                <a:gd name="connsiteX7" fmla="*/ 290286 w 1092200"/>
                <a:gd name="connsiteY7" fmla="*/ 395514 h 522514"/>
                <a:gd name="connsiteX8" fmla="*/ 381000 w 1092200"/>
                <a:gd name="connsiteY8" fmla="*/ 373743 h 522514"/>
                <a:gd name="connsiteX9" fmla="*/ 410029 w 1092200"/>
                <a:gd name="connsiteY9" fmla="*/ 337457 h 522514"/>
                <a:gd name="connsiteX10" fmla="*/ 457200 w 1092200"/>
                <a:gd name="connsiteY10" fmla="*/ 257629 h 522514"/>
                <a:gd name="connsiteX11" fmla="*/ 500743 w 1092200"/>
                <a:gd name="connsiteY11" fmla="*/ 272143 h 522514"/>
                <a:gd name="connsiteX12" fmla="*/ 500743 w 1092200"/>
                <a:gd name="connsiteY12" fmla="*/ 297543 h 522514"/>
                <a:gd name="connsiteX13" fmla="*/ 486229 w 1092200"/>
                <a:gd name="connsiteY13" fmla="*/ 326572 h 522514"/>
                <a:gd name="connsiteX14" fmla="*/ 511629 w 1092200"/>
                <a:gd name="connsiteY14" fmla="*/ 381000 h 522514"/>
                <a:gd name="connsiteX15" fmla="*/ 522515 w 1092200"/>
                <a:gd name="connsiteY15" fmla="*/ 460829 h 522514"/>
                <a:gd name="connsiteX16" fmla="*/ 540658 w 1092200"/>
                <a:gd name="connsiteY16" fmla="*/ 482600 h 522514"/>
                <a:gd name="connsiteX17" fmla="*/ 602343 w 1092200"/>
                <a:gd name="connsiteY17" fmla="*/ 442686 h 522514"/>
                <a:gd name="connsiteX18" fmla="*/ 725715 w 1092200"/>
                <a:gd name="connsiteY18" fmla="*/ 449943 h 522514"/>
                <a:gd name="connsiteX19" fmla="*/ 827315 w 1092200"/>
                <a:gd name="connsiteY19" fmla="*/ 522514 h 522514"/>
                <a:gd name="connsiteX20" fmla="*/ 856343 w 1092200"/>
                <a:gd name="connsiteY20" fmla="*/ 449943 h 522514"/>
                <a:gd name="connsiteX21" fmla="*/ 907143 w 1092200"/>
                <a:gd name="connsiteY21" fmla="*/ 428172 h 522514"/>
                <a:gd name="connsiteX22" fmla="*/ 1030515 w 1092200"/>
                <a:gd name="connsiteY22" fmla="*/ 410029 h 522514"/>
                <a:gd name="connsiteX23" fmla="*/ 1092200 w 1092200"/>
                <a:gd name="connsiteY23" fmla="*/ 362857 h 522514"/>
                <a:gd name="connsiteX24" fmla="*/ 537029 w 1092200"/>
                <a:gd name="connsiteY24" fmla="*/ 123372 h 522514"/>
                <a:gd name="connsiteX25" fmla="*/ 25400 w 1092200"/>
                <a:gd name="connsiteY25" fmla="*/ 0 h 52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92200" h="522514">
                  <a:moveTo>
                    <a:pt x="25400" y="0"/>
                  </a:moveTo>
                  <a:lnTo>
                    <a:pt x="0" y="39914"/>
                  </a:lnTo>
                  <a:lnTo>
                    <a:pt x="54429" y="116114"/>
                  </a:lnTo>
                  <a:lnTo>
                    <a:pt x="145143" y="217714"/>
                  </a:lnTo>
                  <a:lnTo>
                    <a:pt x="145143" y="283029"/>
                  </a:lnTo>
                  <a:lnTo>
                    <a:pt x="130629" y="319314"/>
                  </a:lnTo>
                  <a:lnTo>
                    <a:pt x="221343" y="326572"/>
                  </a:lnTo>
                  <a:lnTo>
                    <a:pt x="290286" y="395514"/>
                  </a:lnTo>
                  <a:lnTo>
                    <a:pt x="381000" y="373743"/>
                  </a:lnTo>
                  <a:lnTo>
                    <a:pt x="410029" y="337457"/>
                  </a:lnTo>
                  <a:lnTo>
                    <a:pt x="457200" y="257629"/>
                  </a:lnTo>
                  <a:lnTo>
                    <a:pt x="500743" y="272143"/>
                  </a:lnTo>
                  <a:lnTo>
                    <a:pt x="500743" y="297543"/>
                  </a:lnTo>
                  <a:lnTo>
                    <a:pt x="486229" y="326572"/>
                  </a:lnTo>
                  <a:lnTo>
                    <a:pt x="511629" y="381000"/>
                  </a:lnTo>
                  <a:lnTo>
                    <a:pt x="522515" y="460829"/>
                  </a:lnTo>
                  <a:lnTo>
                    <a:pt x="540658" y="482600"/>
                  </a:lnTo>
                  <a:lnTo>
                    <a:pt x="602343" y="442686"/>
                  </a:lnTo>
                  <a:lnTo>
                    <a:pt x="725715" y="449943"/>
                  </a:lnTo>
                  <a:lnTo>
                    <a:pt x="827315" y="522514"/>
                  </a:lnTo>
                  <a:lnTo>
                    <a:pt x="856343" y="449943"/>
                  </a:lnTo>
                  <a:lnTo>
                    <a:pt x="907143" y="428172"/>
                  </a:lnTo>
                  <a:lnTo>
                    <a:pt x="1030515" y="410029"/>
                  </a:lnTo>
                  <a:lnTo>
                    <a:pt x="1092200" y="362857"/>
                  </a:lnTo>
                  <a:lnTo>
                    <a:pt x="537029" y="123372"/>
                  </a:lnTo>
                  <a:lnTo>
                    <a:pt x="25400"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7" name="Freeform 14">
              <a:extLst>
                <a:ext uri="{FF2B5EF4-FFF2-40B4-BE49-F238E27FC236}">
                  <a16:creationId xmlns:a16="http://schemas.microsoft.com/office/drawing/2014/main" id="{EF125006-4420-40EC-BB97-C79D33FFE00F}"/>
                </a:ext>
              </a:extLst>
            </p:cNvPr>
            <p:cNvSpPr/>
            <p:nvPr/>
          </p:nvSpPr>
          <p:spPr>
            <a:xfrm>
              <a:off x="6898664" y="2707115"/>
              <a:ext cx="798512" cy="828676"/>
            </a:xfrm>
            <a:custGeom>
              <a:avLst/>
              <a:gdLst>
                <a:gd name="connsiteX0" fmla="*/ 210457 w 798286"/>
                <a:gd name="connsiteY0" fmla="*/ 50800 h 816429"/>
                <a:gd name="connsiteX1" fmla="*/ 214086 w 798286"/>
                <a:gd name="connsiteY1" fmla="*/ 112486 h 816429"/>
                <a:gd name="connsiteX2" fmla="*/ 87086 w 798286"/>
                <a:gd name="connsiteY2" fmla="*/ 170543 h 816429"/>
                <a:gd name="connsiteX3" fmla="*/ 87086 w 798286"/>
                <a:gd name="connsiteY3" fmla="*/ 246743 h 816429"/>
                <a:gd name="connsiteX4" fmla="*/ 0 w 798286"/>
                <a:gd name="connsiteY4" fmla="*/ 308429 h 816429"/>
                <a:gd name="connsiteX5" fmla="*/ 18143 w 798286"/>
                <a:gd name="connsiteY5" fmla="*/ 319314 h 816429"/>
                <a:gd name="connsiteX6" fmla="*/ 21771 w 798286"/>
                <a:gd name="connsiteY6" fmla="*/ 435429 h 816429"/>
                <a:gd name="connsiteX7" fmla="*/ 72571 w 798286"/>
                <a:gd name="connsiteY7" fmla="*/ 551543 h 816429"/>
                <a:gd name="connsiteX8" fmla="*/ 137886 w 798286"/>
                <a:gd name="connsiteY8" fmla="*/ 580572 h 816429"/>
                <a:gd name="connsiteX9" fmla="*/ 163286 w 798286"/>
                <a:gd name="connsiteY9" fmla="*/ 624114 h 816429"/>
                <a:gd name="connsiteX10" fmla="*/ 268514 w 798286"/>
                <a:gd name="connsiteY10" fmla="*/ 620486 h 816429"/>
                <a:gd name="connsiteX11" fmla="*/ 304800 w 798286"/>
                <a:gd name="connsiteY11" fmla="*/ 653143 h 816429"/>
                <a:gd name="connsiteX12" fmla="*/ 341086 w 798286"/>
                <a:gd name="connsiteY12" fmla="*/ 642257 h 816429"/>
                <a:gd name="connsiteX13" fmla="*/ 417286 w 798286"/>
                <a:gd name="connsiteY13" fmla="*/ 722086 h 816429"/>
                <a:gd name="connsiteX14" fmla="*/ 464457 w 798286"/>
                <a:gd name="connsiteY14" fmla="*/ 714829 h 816429"/>
                <a:gd name="connsiteX15" fmla="*/ 500743 w 798286"/>
                <a:gd name="connsiteY15" fmla="*/ 765629 h 816429"/>
                <a:gd name="connsiteX16" fmla="*/ 638629 w 798286"/>
                <a:gd name="connsiteY16" fmla="*/ 783772 h 816429"/>
                <a:gd name="connsiteX17" fmla="*/ 718457 w 798286"/>
                <a:gd name="connsiteY17" fmla="*/ 816429 h 816429"/>
                <a:gd name="connsiteX18" fmla="*/ 743857 w 798286"/>
                <a:gd name="connsiteY18" fmla="*/ 783772 h 816429"/>
                <a:gd name="connsiteX19" fmla="*/ 725714 w 798286"/>
                <a:gd name="connsiteY19" fmla="*/ 703943 h 816429"/>
                <a:gd name="connsiteX20" fmla="*/ 791029 w 798286"/>
                <a:gd name="connsiteY20" fmla="*/ 696686 h 816429"/>
                <a:gd name="connsiteX21" fmla="*/ 783771 w 798286"/>
                <a:gd name="connsiteY21" fmla="*/ 642257 h 816429"/>
                <a:gd name="connsiteX22" fmla="*/ 798286 w 798286"/>
                <a:gd name="connsiteY22" fmla="*/ 613229 h 816429"/>
                <a:gd name="connsiteX23" fmla="*/ 762000 w 798286"/>
                <a:gd name="connsiteY23" fmla="*/ 544286 h 816429"/>
                <a:gd name="connsiteX24" fmla="*/ 772886 w 798286"/>
                <a:gd name="connsiteY24" fmla="*/ 497114 h 816429"/>
                <a:gd name="connsiteX25" fmla="*/ 762000 w 798286"/>
                <a:gd name="connsiteY25" fmla="*/ 464457 h 816429"/>
                <a:gd name="connsiteX26" fmla="*/ 682171 w 798286"/>
                <a:gd name="connsiteY26" fmla="*/ 431800 h 816429"/>
                <a:gd name="connsiteX27" fmla="*/ 631371 w 798286"/>
                <a:gd name="connsiteY27" fmla="*/ 449943 h 816429"/>
                <a:gd name="connsiteX28" fmla="*/ 595086 w 798286"/>
                <a:gd name="connsiteY28" fmla="*/ 410029 h 816429"/>
                <a:gd name="connsiteX29" fmla="*/ 555171 w 798286"/>
                <a:gd name="connsiteY29" fmla="*/ 406400 h 816429"/>
                <a:gd name="connsiteX30" fmla="*/ 573314 w 798286"/>
                <a:gd name="connsiteY30" fmla="*/ 221343 h 816429"/>
                <a:gd name="connsiteX31" fmla="*/ 544286 w 798286"/>
                <a:gd name="connsiteY31" fmla="*/ 170543 h 816429"/>
                <a:gd name="connsiteX32" fmla="*/ 584200 w 798286"/>
                <a:gd name="connsiteY32" fmla="*/ 130629 h 816429"/>
                <a:gd name="connsiteX33" fmla="*/ 402771 w 798286"/>
                <a:gd name="connsiteY33" fmla="*/ 68943 h 816429"/>
                <a:gd name="connsiteX34" fmla="*/ 373743 w 798286"/>
                <a:gd name="connsiteY34" fmla="*/ 3629 h 816429"/>
                <a:gd name="connsiteX35" fmla="*/ 286657 w 798286"/>
                <a:gd name="connsiteY35" fmla="*/ 0 h 816429"/>
                <a:gd name="connsiteX36" fmla="*/ 210457 w 798286"/>
                <a:gd name="connsiteY36" fmla="*/ 50800 h 816429"/>
                <a:gd name="connsiteX0" fmla="*/ 210457 w 798286"/>
                <a:gd name="connsiteY0" fmla="*/ 62411 h 828040"/>
                <a:gd name="connsiteX1" fmla="*/ 214086 w 798286"/>
                <a:gd name="connsiteY1" fmla="*/ 124097 h 828040"/>
                <a:gd name="connsiteX2" fmla="*/ 87086 w 798286"/>
                <a:gd name="connsiteY2" fmla="*/ 182154 h 828040"/>
                <a:gd name="connsiteX3" fmla="*/ 87086 w 798286"/>
                <a:gd name="connsiteY3" fmla="*/ 258354 h 828040"/>
                <a:gd name="connsiteX4" fmla="*/ 0 w 798286"/>
                <a:gd name="connsiteY4" fmla="*/ 320040 h 828040"/>
                <a:gd name="connsiteX5" fmla="*/ 18143 w 798286"/>
                <a:gd name="connsiteY5" fmla="*/ 330925 h 828040"/>
                <a:gd name="connsiteX6" fmla="*/ 21771 w 798286"/>
                <a:gd name="connsiteY6" fmla="*/ 447040 h 828040"/>
                <a:gd name="connsiteX7" fmla="*/ 72571 w 798286"/>
                <a:gd name="connsiteY7" fmla="*/ 563154 h 828040"/>
                <a:gd name="connsiteX8" fmla="*/ 137886 w 798286"/>
                <a:gd name="connsiteY8" fmla="*/ 592183 h 828040"/>
                <a:gd name="connsiteX9" fmla="*/ 163286 w 798286"/>
                <a:gd name="connsiteY9" fmla="*/ 635725 h 828040"/>
                <a:gd name="connsiteX10" fmla="*/ 268514 w 798286"/>
                <a:gd name="connsiteY10" fmla="*/ 632097 h 828040"/>
                <a:gd name="connsiteX11" fmla="*/ 304800 w 798286"/>
                <a:gd name="connsiteY11" fmla="*/ 664754 h 828040"/>
                <a:gd name="connsiteX12" fmla="*/ 341086 w 798286"/>
                <a:gd name="connsiteY12" fmla="*/ 653868 h 828040"/>
                <a:gd name="connsiteX13" fmla="*/ 417286 w 798286"/>
                <a:gd name="connsiteY13" fmla="*/ 733697 h 828040"/>
                <a:gd name="connsiteX14" fmla="*/ 464457 w 798286"/>
                <a:gd name="connsiteY14" fmla="*/ 726440 h 828040"/>
                <a:gd name="connsiteX15" fmla="*/ 500743 w 798286"/>
                <a:gd name="connsiteY15" fmla="*/ 777240 h 828040"/>
                <a:gd name="connsiteX16" fmla="*/ 638629 w 798286"/>
                <a:gd name="connsiteY16" fmla="*/ 795383 h 828040"/>
                <a:gd name="connsiteX17" fmla="*/ 718457 w 798286"/>
                <a:gd name="connsiteY17" fmla="*/ 828040 h 828040"/>
                <a:gd name="connsiteX18" fmla="*/ 743857 w 798286"/>
                <a:gd name="connsiteY18" fmla="*/ 795383 h 828040"/>
                <a:gd name="connsiteX19" fmla="*/ 725714 w 798286"/>
                <a:gd name="connsiteY19" fmla="*/ 715554 h 828040"/>
                <a:gd name="connsiteX20" fmla="*/ 791029 w 798286"/>
                <a:gd name="connsiteY20" fmla="*/ 708297 h 828040"/>
                <a:gd name="connsiteX21" fmla="*/ 783771 w 798286"/>
                <a:gd name="connsiteY21" fmla="*/ 653868 h 828040"/>
                <a:gd name="connsiteX22" fmla="*/ 798286 w 798286"/>
                <a:gd name="connsiteY22" fmla="*/ 624840 h 828040"/>
                <a:gd name="connsiteX23" fmla="*/ 762000 w 798286"/>
                <a:gd name="connsiteY23" fmla="*/ 555897 h 828040"/>
                <a:gd name="connsiteX24" fmla="*/ 772886 w 798286"/>
                <a:gd name="connsiteY24" fmla="*/ 508725 h 828040"/>
                <a:gd name="connsiteX25" fmla="*/ 762000 w 798286"/>
                <a:gd name="connsiteY25" fmla="*/ 476068 h 828040"/>
                <a:gd name="connsiteX26" fmla="*/ 682171 w 798286"/>
                <a:gd name="connsiteY26" fmla="*/ 443411 h 828040"/>
                <a:gd name="connsiteX27" fmla="*/ 631371 w 798286"/>
                <a:gd name="connsiteY27" fmla="*/ 461554 h 828040"/>
                <a:gd name="connsiteX28" fmla="*/ 595086 w 798286"/>
                <a:gd name="connsiteY28" fmla="*/ 421640 h 828040"/>
                <a:gd name="connsiteX29" fmla="*/ 555171 w 798286"/>
                <a:gd name="connsiteY29" fmla="*/ 418011 h 828040"/>
                <a:gd name="connsiteX30" fmla="*/ 573314 w 798286"/>
                <a:gd name="connsiteY30" fmla="*/ 232954 h 828040"/>
                <a:gd name="connsiteX31" fmla="*/ 544286 w 798286"/>
                <a:gd name="connsiteY31" fmla="*/ 182154 h 828040"/>
                <a:gd name="connsiteX32" fmla="*/ 584200 w 798286"/>
                <a:gd name="connsiteY32" fmla="*/ 142240 h 828040"/>
                <a:gd name="connsiteX33" fmla="*/ 402771 w 798286"/>
                <a:gd name="connsiteY33" fmla="*/ 80554 h 828040"/>
                <a:gd name="connsiteX34" fmla="*/ 385173 w 798286"/>
                <a:gd name="connsiteY34" fmla="*/ 0 h 828040"/>
                <a:gd name="connsiteX35" fmla="*/ 286657 w 798286"/>
                <a:gd name="connsiteY35" fmla="*/ 11611 h 828040"/>
                <a:gd name="connsiteX36" fmla="*/ 210457 w 798286"/>
                <a:gd name="connsiteY36" fmla="*/ 62411 h 82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98286" h="828040">
                  <a:moveTo>
                    <a:pt x="210457" y="62411"/>
                  </a:moveTo>
                  <a:lnTo>
                    <a:pt x="214086" y="124097"/>
                  </a:lnTo>
                  <a:lnTo>
                    <a:pt x="87086" y="182154"/>
                  </a:lnTo>
                  <a:lnTo>
                    <a:pt x="87086" y="258354"/>
                  </a:lnTo>
                  <a:lnTo>
                    <a:pt x="0" y="320040"/>
                  </a:lnTo>
                  <a:lnTo>
                    <a:pt x="18143" y="330925"/>
                  </a:lnTo>
                  <a:lnTo>
                    <a:pt x="21771" y="447040"/>
                  </a:lnTo>
                  <a:lnTo>
                    <a:pt x="72571" y="563154"/>
                  </a:lnTo>
                  <a:lnTo>
                    <a:pt x="137886" y="592183"/>
                  </a:lnTo>
                  <a:lnTo>
                    <a:pt x="163286" y="635725"/>
                  </a:lnTo>
                  <a:lnTo>
                    <a:pt x="268514" y="632097"/>
                  </a:lnTo>
                  <a:lnTo>
                    <a:pt x="304800" y="664754"/>
                  </a:lnTo>
                  <a:lnTo>
                    <a:pt x="341086" y="653868"/>
                  </a:lnTo>
                  <a:lnTo>
                    <a:pt x="417286" y="733697"/>
                  </a:lnTo>
                  <a:lnTo>
                    <a:pt x="464457" y="726440"/>
                  </a:lnTo>
                  <a:lnTo>
                    <a:pt x="500743" y="777240"/>
                  </a:lnTo>
                  <a:lnTo>
                    <a:pt x="638629" y="795383"/>
                  </a:lnTo>
                  <a:lnTo>
                    <a:pt x="718457" y="828040"/>
                  </a:lnTo>
                  <a:lnTo>
                    <a:pt x="743857" y="795383"/>
                  </a:lnTo>
                  <a:lnTo>
                    <a:pt x="725714" y="715554"/>
                  </a:lnTo>
                  <a:lnTo>
                    <a:pt x="791029" y="708297"/>
                  </a:lnTo>
                  <a:lnTo>
                    <a:pt x="783771" y="653868"/>
                  </a:lnTo>
                  <a:lnTo>
                    <a:pt x="798286" y="624840"/>
                  </a:lnTo>
                  <a:lnTo>
                    <a:pt x="762000" y="555897"/>
                  </a:lnTo>
                  <a:lnTo>
                    <a:pt x="772886" y="508725"/>
                  </a:lnTo>
                  <a:lnTo>
                    <a:pt x="762000" y="476068"/>
                  </a:lnTo>
                  <a:lnTo>
                    <a:pt x="682171" y="443411"/>
                  </a:lnTo>
                  <a:lnTo>
                    <a:pt x="631371" y="461554"/>
                  </a:lnTo>
                  <a:lnTo>
                    <a:pt x="595086" y="421640"/>
                  </a:lnTo>
                  <a:lnTo>
                    <a:pt x="555171" y="418011"/>
                  </a:lnTo>
                  <a:lnTo>
                    <a:pt x="573314" y="232954"/>
                  </a:lnTo>
                  <a:lnTo>
                    <a:pt x="544286" y="182154"/>
                  </a:lnTo>
                  <a:lnTo>
                    <a:pt x="584200" y="142240"/>
                  </a:lnTo>
                  <a:lnTo>
                    <a:pt x="402771" y="80554"/>
                  </a:lnTo>
                  <a:lnTo>
                    <a:pt x="385173" y="0"/>
                  </a:lnTo>
                  <a:lnTo>
                    <a:pt x="286657" y="11611"/>
                  </a:lnTo>
                  <a:lnTo>
                    <a:pt x="210457" y="62411"/>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8" name="Freeform 16">
              <a:extLst>
                <a:ext uri="{FF2B5EF4-FFF2-40B4-BE49-F238E27FC236}">
                  <a16:creationId xmlns:a16="http://schemas.microsoft.com/office/drawing/2014/main" id="{E896A3D5-1E3E-448A-A3BB-58604CABD71F}"/>
                </a:ext>
              </a:extLst>
            </p:cNvPr>
            <p:cNvSpPr/>
            <p:nvPr/>
          </p:nvSpPr>
          <p:spPr>
            <a:xfrm>
              <a:off x="7449526" y="2697590"/>
              <a:ext cx="1670049" cy="1530352"/>
            </a:xfrm>
            <a:custGeom>
              <a:avLst/>
              <a:gdLst>
                <a:gd name="connsiteX0" fmla="*/ 1669143 w 1669143"/>
                <a:gd name="connsiteY0" fmla="*/ 297543 h 1531257"/>
                <a:gd name="connsiteX1" fmla="*/ 783771 w 1669143"/>
                <a:gd name="connsiteY1" fmla="*/ 290285 h 1531257"/>
                <a:gd name="connsiteX2" fmla="*/ 674914 w 1669143"/>
                <a:gd name="connsiteY2" fmla="*/ 290285 h 1531257"/>
                <a:gd name="connsiteX3" fmla="*/ 566057 w 1669143"/>
                <a:gd name="connsiteY3" fmla="*/ 177800 h 1531257"/>
                <a:gd name="connsiteX4" fmla="*/ 468086 w 1669143"/>
                <a:gd name="connsiteY4" fmla="*/ 0 h 1531257"/>
                <a:gd name="connsiteX5" fmla="*/ 460828 w 1669143"/>
                <a:gd name="connsiteY5" fmla="*/ 32657 h 1531257"/>
                <a:gd name="connsiteX6" fmla="*/ 475343 w 1669143"/>
                <a:gd name="connsiteY6" fmla="*/ 87085 h 1531257"/>
                <a:gd name="connsiteX7" fmla="*/ 446314 w 1669143"/>
                <a:gd name="connsiteY7" fmla="*/ 137885 h 1531257"/>
                <a:gd name="connsiteX8" fmla="*/ 32657 w 1669143"/>
                <a:gd name="connsiteY8" fmla="*/ 156028 h 1531257"/>
                <a:gd name="connsiteX9" fmla="*/ 3628 w 1669143"/>
                <a:gd name="connsiteY9" fmla="*/ 185057 h 1531257"/>
                <a:gd name="connsiteX10" fmla="*/ 21771 w 1669143"/>
                <a:gd name="connsiteY10" fmla="*/ 257628 h 1531257"/>
                <a:gd name="connsiteX11" fmla="*/ 0 w 1669143"/>
                <a:gd name="connsiteY11" fmla="*/ 424543 h 1531257"/>
                <a:gd name="connsiteX12" fmla="*/ 58057 w 1669143"/>
                <a:gd name="connsiteY12" fmla="*/ 435428 h 1531257"/>
                <a:gd name="connsiteX13" fmla="*/ 76200 w 1669143"/>
                <a:gd name="connsiteY13" fmla="*/ 471714 h 1531257"/>
                <a:gd name="connsiteX14" fmla="*/ 141514 w 1669143"/>
                <a:gd name="connsiteY14" fmla="*/ 453571 h 1531257"/>
                <a:gd name="connsiteX15" fmla="*/ 217714 w 1669143"/>
                <a:gd name="connsiteY15" fmla="*/ 489857 h 1531257"/>
                <a:gd name="connsiteX16" fmla="*/ 217714 w 1669143"/>
                <a:gd name="connsiteY16" fmla="*/ 540657 h 1531257"/>
                <a:gd name="connsiteX17" fmla="*/ 214086 w 1669143"/>
                <a:gd name="connsiteY17" fmla="*/ 580571 h 1531257"/>
                <a:gd name="connsiteX18" fmla="*/ 257628 w 1669143"/>
                <a:gd name="connsiteY18" fmla="*/ 638628 h 1531257"/>
                <a:gd name="connsiteX19" fmla="*/ 228600 w 1669143"/>
                <a:gd name="connsiteY19" fmla="*/ 682171 h 1531257"/>
                <a:gd name="connsiteX20" fmla="*/ 239486 w 1669143"/>
                <a:gd name="connsiteY20" fmla="*/ 707571 h 1531257"/>
                <a:gd name="connsiteX21" fmla="*/ 185057 w 1669143"/>
                <a:gd name="connsiteY21" fmla="*/ 729343 h 1531257"/>
                <a:gd name="connsiteX22" fmla="*/ 192314 w 1669143"/>
                <a:gd name="connsiteY22" fmla="*/ 809171 h 1531257"/>
                <a:gd name="connsiteX23" fmla="*/ 163286 w 1669143"/>
                <a:gd name="connsiteY23" fmla="*/ 845457 h 1531257"/>
                <a:gd name="connsiteX24" fmla="*/ 192314 w 1669143"/>
                <a:gd name="connsiteY24" fmla="*/ 939800 h 1531257"/>
                <a:gd name="connsiteX25" fmla="*/ 188686 w 1669143"/>
                <a:gd name="connsiteY25" fmla="*/ 1081314 h 1531257"/>
                <a:gd name="connsiteX26" fmla="*/ 170543 w 1669143"/>
                <a:gd name="connsiteY26" fmla="*/ 1095828 h 1531257"/>
                <a:gd name="connsiteX27" fmla="*/ 210457 w 1669143"/>
                <a:gd name="connsiteY27" fmla="*/ 1201057 h 1531257"/>
                <a:gd name="connsiteX28" fmla="*/ 319314 w 1669143"/>
                <a:gd name="connsiteY28" fmla="*/ 1233714 h 1531257"/>
                <a:gd name="connsiteX29" fmla="*/ 399143 w 1669143"/>
                <a:gd name="connsiteY29" fmla="*/ 1215571 h 1531257"/>
                <a:gd name="connsiteX30" fmla="*/ 489857 w 1669143"/>
                <a:gd name="connsiteY30" fmla="*/ 1244600 h 1531257"/>
                <a:gd name="connsiteX31" fmla="*/ 489857 w 1669143"/>
                <a:gd name="connsiteY31" fmla="*/ 1291771 h 1531257"/>
                <a:gd name="connsiteX32" fmla="*/ 500743 w 1669143"/>
                <a:gd name="connsiteY32" fmla="*/ 1407885 h 1531257"/>
                <a:gd name="connsiteX33" fmla="*/ 566057 w 1669143"/>
                <a:gd name="connsiteY33" fmla="*/ 1433285 h 1531257"/>
                <a:gd name="connsiteX34" fmla="*/ 609600 w 1669143"/>
                <a:gd name="connsiteY34" fmla="*/ 1531257 h 1531257"/>
                <a:gd name="connsiteX35" fmla="*/ 696686 w 1669143"/>
                <a:gd name="connsiteY35" fmla="*/ 1404257 h 1531257"/>
                <a:gd name="connsiteX36" fmla="*/ 725714 w 1669143"/>
                <a:gd name="connsiteY36" fmla="*/ 1422400 h 1531257"/>
                <a:gd name="connsiteX37" fmla="*/ 776514 w 1669143"/>
                <a:gd name="connsiteY37" fmla="*/ 1393371 h 1531257"/>
                <a:gd name="connsiteX38" fmla="*/ 816428 w 1669143"/>
                <a:gd name="connsiteY38" fmla="*/ 1393371 h 1531257"/>
                <a:gd name="connsiteX39" fmla="*/ 892628 w 1669143"/>
                <a:gd name="connsiteY39" fmla="*/ 1451428 h 1531257"/>
                <a:gd name="connsiteX40" fmla="*/ 950686 w 1669143"/>
                <a:gd name="connsiteY40" fmla="*/ 1469571 h 1531257"/>
                <a:gd name="connsiteX41" fmla="*/ 1012371 w 1669143"/>
                <a:gd name="connsiteY41" fmla="*/ 1422400 h 1531257"/>
                <a:gd name="connsiteX42" fmla="*/ 1070428 w 1669143"/>
                <a:gd name="connsiteY42" fmla="*/ 1440543 h 1531257"/>
                <a:gd name="connsiteX43" fmla="*/ 1128486 w 1669143"/>
                <a:gd name="connsiteY43" fmla="*/ 1393371 h 1531257"/>
                <a:gd name="connsiteX44" fmla="*/ 1164771 w 1669143"/>
                <a:gd name="connsiteY44" fmla="*/ 1400628 h 1531257"/>
                <a:gd name="connsiteX45" fmla="*/ 1161143 w 1669143"/>
                <a:gd name="connsiteY45" fmla="*/ 1473200 h 1531257"/>
                <a:gd name="connsiteX46" fmla="*/ 1211943 w 1669143"/>
                <a:gd name="connsiteY46" fmla="*/ 1509485 h 1531257"/>
                <a:gd name="connsiteX47" fmla="*/ 1240971 w 1669143"/>
                <a:gd name="connsiteY47" fmla="*/ 1487714 h 1531257"/>
                <a:gd name="connsiteX48" fmla="*/ 1211943 w 1669143"/>
                <a:gd name="connsiteY48" fmla="*/ 1429657 h 1531257"/>
                <a:gd name="connsiteX49" fmla="*/ 1222828 w 1669143"/>
                <a:gd name="connsiteY49" fmla="*/ 1357085 h 1531257"/>
                <a:gd name="connsiteX50" fmla="*/ 1244600 w 1669143"/>
                <a:gd name="connsiteY50" fmla="*/ 1331685 h 1531257"/>
                <a:gd name="connsiteX51" fmla="*/ 1244600 w 1669143"/>
                <a:gd name="connsiteY51" fmla="*/ 1284514 h 1531257"/>
                <a:gd name="connsiteX52" fmla="*/ 1313543 w 1669143"/>
                <a:gd name="connsiteY52" fmla="*/ 1270000 h 1531257"/>
                <a:gd name="connsiteX53" fmla="*/ 1320800 w 1669143"/>
                <a:gd name="connsiteY53" fmla="*/ 1219200 h 1531257"/>
                <a:gd name="connsiteX54" fmla="*/ 1382486 w 1669143"/>
                <a:gd name="connsiteY54" fmla="*/ 1164771 h 1531257"/>
                <a:gd name="connsiteX55" fmla="*/ 1458686 w 1669143"/>
                <a:gd name="connsiteY55" fmla="*/ 1168400 h 1531257"/>
                <a:gd name="connsiteX56" fmla="*/ 1444171 w 1669143"/>
                <a:gd name="connsiteY56" fmla="*/ 1077685 h 1531257"/>
                <a:gd name="connsiteX57" fmla="*/ 1491343 w 1669143"/>
                <a:gd name="connsiteY57" fmla="*/ 1048657 h 1531257"/>
                <a:gd name="connsiteX58" fmla="*/ 1513114 w 1669143"/>
                <a:gd name="connsiteY58" fmla="*/ 1063171 h 1531257"/>
                <a:gd name="connsiteX59" fmla="*/ 1553028 w 1669143"/>
                <a:gd name="connsiteY59" fmla="*/ 979714 h 1531257"/>
                <a:gd name="connsiteX60" fmla="*/ 1553028 w 1669143"/>
                <a:gd name="connsiteY60" fmla="*/ 936171 h 1531257"/>
                <a:gd name="connsiteX61" fmla="*/ 1574800 w 1669143"/>
                <a:gd name="connsiteY61" fmla="*/ 892628 h 1531257"/>
                <a:gd name="connsiteX62" fmla="*/ 1574800 w 1669143"/>
                <a:gd name="connsiteY62" fmla="*/ 849085 h 1531257"/>
                <a:gd name="connsiteX63" fmla="*/ 1603828 w 1669143"/>
                <a:gd name="connsiteY63" fmla="*/ 805543 h 1531257"/>
                <a:gd name="connsiteX64" fmla="*/ 1603828 w 1669143"/>
                <a:gd name="connsiteY64" fmla="*/ 765628 h 1531257"/>
                <a:gd name="connsiteX65" fmla="*/ 1621971 w 1669143"/>
                <a:gd name="connsiteY65" fmla="*/ 711200 h 1531257"/>
                <a:gd name="connsiteX66" fmla="*/ 1600200 w 1669143"/>
                <a:gd name="connsiteY66" fmla="*/ 649514 h 1531257"/>
                <a:gd name="connsiteX67" fmla="*/ 1614714 w 1669143"/>
                <a:gd name="connsiteY67" fmla="*/ 595085 h 1531257"/>
                <a:gd name="connsiteX68" fmla="*/ 1592943 w 1669143"/>
                <a:gd name="connsiteY68" fmla="*/ 569685 h 1531257"/>
                <a:gd name="connsiteX69" fmla="*/ 1596571 w 1669143"/>
                <a:gd name="connsiteY69" fmla="*/ 493485 h 1531257"/>
                <a:gd name="connsiteX70" fmla="*/ 1661886 w 1669143"/>
                <a:gd name="connsiteY70" fmla="*/ 399143 h 1531257"/>
                <a:gd name="connsiteX71" fmla="*/ 1669143 w 1669143"/>
                <a:gd name="connsiteY71" fmla="*/ 297543 h 1531257"/>
                <a:gd name="connsiteX0" fmla="*/ 1669143 w 1669143"/>
                <a:gd name="connsiteY0" fmla="*/ 297543 h 1531257"/>
                <a:gd name="connsiteX1" fmla="*/ 783771 w 1669143"/>
                <a:gd name="connsiteY1" fmla="*/ 290285 h 1531257"/>
                <a:gd name="connsiteX2" fmla="*/ 674914 w 1669143"/>
                <a:gd name="connsiteY2" fmla="*/ 290285 h 1531257"/>
                <a:gd name="connsiteX3" fmla="*/ 566057 w 1669143"/>
                <a:gd name="connsiteY3" fmla="*/ 177800 h 1531257"/>
                <a:gd name="connsiteX4" fmla="*/ 494756 w 1669143"/>
                <a:gd name="connsiteY4" fmla="*/ 0 h 1531257"/>
                <a:gd name="connsiteX5" fmla="*/ 460828 w 1669143"/>
                <a:gd name="connsiteY5" fmla="*/ 32657 h 1531257"/>
                <a:gd name="connsiteX6" fmla="*/ 475343 w 1669143"/>
                <a:gd name="connsiteY6" fmla="*/ 87085 h 1531257"/>
                <a:gd name="connsiteX7" fmla="*/ 446314 w 1669143"/>
                <a:gd name="connsiteY7" fmla="*/ 137885 h 1531257"/>
                <a:gd name="connsiteX8" fmla="*/ 32657 w 1669143"/>
                <a:gd name="connsiteY8" fmla="*/ 156028 h 1531257"/>
                <a:gd name="connsiteX9" fmla="*/ 3628 w 1669143"/>
                <a:gd name="connsiteY9" fmla="*/ 185057 h 1531257"/>
                <a:gd name="connsiteX10" fmla="*/ 21771 w 1669143"/>
                <a:gd name="connsiteY10" fmla="*/ 257628 h 1531257"/>
                <a:gd name="connsiteX11" fmla="*/ 0 w 1669143"/>
                <a:gd name="connsiteY11" fmla="*/ 424543 h 1531257"/>
                <a:gd name="connsiteX12" fmla="*/ 58057 w 1669143"/>
                <a:gd name="connsiteY12" fmla="*/ 435428 h 1531257"/>
                <a:gd name="connsiteX13" fmla="*/ 76200 w 1669143"/>
                <a:gd name="connsiteY13" fmla="*/ 471714 h 1531257"/>
                <a:gd name="connsiteX14" fmla="*/ 141514 w 1669143"/>
                <a:gd name="connsiteY14" fmla="*/ 453571 h 1531257"/>
                <a:gd name="connsiteX15" fmla="*/ 217714 w 1669143"/>
                <a:gd name="connsiteY15" fmla="*/ 489857 h 1531257"/>
                <a:gd name="connsiteX16" fmla="*/ 217714 w 1669143"/>
                <a:gd name="connsiteY16" fmla="*/ 540657 h 1531257"/>
                <a:gd name="connsiteX17" fmla="*/ 214086 w 1669143"/>
                <a:gd name="connsiteY17" fmla="*/ 580571 h 1531257"/>
                <a:gd name="connsiteX18" fmla="*/ 257628 w 1669143"/>
                <a:gd name="connsiteY18" fmla="*/ 638628 h 1531257"/>
                <a:gd name="connsiteX19" fmla="*/ 228600 w 1669143"/>
                <a:gd name="connsiteY19" fmla="*/ 682171 h 1531257"/>
                <a:gd name="connsiteX20" fmla="*/ 239486 w 1669143"/>
                <a:gd name="connsiteY20" fmla="*/ 707571 h 1531257"/>
                <a:gd name="connsiteX21" fmla="*/ 185057 w 1669143"/>
                <a:gd name="connsiteY21" fmla="*/ 729343 h 1531257"/>
                <a:gd name="connsiteX22" fmla="*/ 192314 w 1669143"/>
                <a:gd name="connsiteY22" fmla="*/ 809171 h 1531257"/>
                <a:gd name="connsiteX23" fmla="*/ 163286 w 1669143"/>
                <a:gd name="connsiteY23" fmla="*/ 845457 h 1531257"/>
                <a:gd name="connsiteX24" fmla="*/ 192314 w 1669143"/>
                <a:gd name="connsiteY24" fmla="*/ 939800 h 1531257"/>
                <a:gd name="connsiteX25" fmla="*/ 188686 w 1669143"/>
                <a:gd name="connsiteY25" fmla="*/ 1081314 h 1531257"/>
                <a:gd name="connsiteX26" fmla="*/ 170543 w 1669143"/>
                <a:gd name="connsiteY26" fmla="*/ 1095828 h 1531257"/>
                <a:gd name="connsiteX27" fmla="*/ 210457 w 1669143"/>
                <a:gd name="connsiteY27" fmla="*/ 1201057 h 1531257"/>
                <a:gd name="connsiteX28" fmla="*/ 319314 w 1669143"/>
                <a:gd name="connsiteY28" fmla="*/ 1233714 h 1531257"/>
                <a:gd name="connsiteX29" fmla="*/ 399143 w 1669143"/>
                <a:gd name="connsiteY29" fmla="*/ 1215571 h 1531257"/>
                <a:gd name="connsiteX30" fmla="*/ 489857 w 1669143"/>
                <a:gd name="connsiteY30" fmla="*/ 1244600 h 1531257"/>
                <a:gd name="connsiteX31" fmla="*/ 489857 w 1669143"/>
                <a:gd name="connsiteY31" fmla="*/ 1291771 h 1531257"/>
                <a:gd name="connsiteX32" fmla="*/ 500743 w 1669143"/>
                <a:gd name="connsiteY32" fmla="*/ 1407885 h 1531257"/>
                <a:gd name="connsiteX33" fmla="*/ 566057 w 1669143"/>
                <a:gd name="connsiteY33" fmla="*/ 1433285 h 1531257"/>
                <a:gd name="connsiteX34" fmla="*/ 609600 w 1669143"/>
                <a:gd name="connsiteY34" fmla="*/ 1531257 h 1531257"/>
                <a:gd name="connsiteX35" fmla="*/ 696686 w 1669143"/>
                <a:gd name="connsiteY35" fmla="*/ 1404257 h 1531257"/>
                <a:gd name="connsiteX36" fmla="*/ 725714 w 1669143"/>
                <a:gd name="connsiteY36" fmla="*/ 1422400 h 1531257"/>
                <a:gd name="connsiteX37" fmla="*/ 776514 w 1669143"/>
                <a:gd name="connsiteY37" fmla="*/ 1393371 h 1531257"/>
                <a:gd name="connsiteX38" fmla="*/ 816428 w 1669143"/>
                <a:gd name="connsiteY38" fmla="*/ 1393371 h 1531257"/>
                <a:gd name="connsiteX39" fmla="*/ 892628 w 1669143"/>
                <a:gd name="connsiteY39" fmla="*/ 1451428 h 1531257"/>
                <a:gd name="connsiteX40" fmla="*/ 950686 w 1669143"/>
                <a:gd name="connsiteY40" fmla="*/ 1469571 h 1531257"/>
                <a:gd name="connsiteX41" fmla="*/ 1012371 w 1669143"/>
                <a:gd name="connsiteY41" fmla="*/ 1422400 h 1531257"/>
                <a:gd name="connsiteX42" fmla="*/ 1070428 w 1669143"/>
                <a:gd name="connsiteY42" fmla="*/ 1440543 h 1531257"/>
                <a:gd name="connsiteX43" fmla="*/ 1128486 w 1669143"/>
                <a:gd name="connsiteY43" fmla="*/ 1393371 h 1531257"/>
                <a:gd name="connsiteX44" fmla="*/ 1164771 w 1669143"/>
                <a:gd name="connsiteY44" fmla="*/ 1400628 h 1531257"/>
                <a:gd name="connsiteX45" fmla="*/ 1161143 w 1669143"/>
                <a:gd name="connsiteY45" fmla="*/ 1473200 h 1531257"/>
                <a:gd name="connsiteX46" fmla="*/ 1211943 w 1669143"/>
                <a:gd name="connsiteY46" fmla="*/ 1509485 h 1531257"/>
                <a:gd name="connsiteX47" fmla="*/ 1240971 w 1669143"/>
                <a:gd name="connsiteY47" fmla="*/ 1487714 h 1531257"/>
                <a:gd name="connsiteX48" fmla="*/ 1211943 w 1669143"/>
                <a:gd name="connsiteY48" fmla="*/ 1429657 h 1531257"/>
                <a:gd name="connsiteX49" fmla="*/ 1222828 w 1669143"/>
                <a:gd name="connsiteY49" fmla="*/ 1357085 h 1531257"/>
                <a:gd name="connsiteX50" fmla="*/ 1244600 w 1669143"/>
                <a:gd name="connsiteY50" fmla="*/ 1331685 h 1531257"/>
                <a:gd name="connsiteX51" fmla="*/ 1244600 w 1669143"/>
                <a:gd name="connsiteY51" fmla="*/ 1284514 h 1531257"/>
                <a:gd name="connsiteX52" fmla="*/ 1313543 w 1669143"/>
                <a:gd name="connsiteY52" fmla="*/ 1270000 h 1531257"/>
                <a:gd name="connsiteX53" fmla="*/ 1320800 w 1669143"/>
                <a:gd name="connsiteY53" fmla="*/ 1219200 h 1531257"/>
                <a:gd name="connsiteX54" fmla="*/ 1382486 w 1669143"/>
                <a:gd name="connsiteY54" fmla="*/ 1164771 h 1531257"/>
                <a:gd name="connsiteX55" fmla="*/ 1458686 w 1669143"/>
                <a:gd name="connsiteY55" fmla="*/ 1168400 h 1531257"/>
                <a:gd name="connsiteX56" fmla="*/ 1444171 w 1669143"/>
                <a:gd name="connsiteY56" fmla="*/ 1077685 h 1531257"/>
                <a:gd name="connsiteX57" fmla="*/ 1491343 w 1669143"/>
                <a:gd name="connsiteY57" fmla="*/ 1048657 h 1531257"/>
                <a:gd name="connsiteX58" fmla="*/ 1513114 w 1669143"/>
                <a:gd name="connsiteY58" fmla="*/ 1063171 h 1531257"/>
                <a:gd name="connsiteX59" fmla="*/ 1553028 w 1669143"/>
                <a:gd name="connsiteY59" fmla="*/ 979714 h 1531257"/>
                <a:gd name="connsiteX60" fmla="*/ 1553028 w 1669143"/>
                <a:gd name="connsiteY60" fmla="*/ 936171 h 1531257"/>
                <a:gd name="connsiteX61" fmla="*/ 1574800 w 1669143"/>
                <a:gd name="connsiteY61" fmla="*/ 892628 h 1531257"/>
                <a:gd name="connsiteX62" fmla="*/ 1574800 w 1669143"/>
                <a:gd name="connsiteY62" fmla="*/ 849085 h 1531257"/>
                <a:gd name="connsiteX63" fmla="*/ 1603828 w 1669143"/>
                <a:gd name="connsiteY63" fmla="*/ 805543 h 1531257"/>
                <a:gd name="connsiteX64" fmla="*/ 1603828 w 1669143"/>
                <a:gd name="connsiteY64" fmla="*/ 765628 h 1531257"/>
                <a:gd name="connsiteX65" fmla="*/ 1621971 w 1669143"/>
                <a:gd name="connsiteY65" fmla="*/ 711200 h 1531257"/>
                <a:gd name="connsiteX66" fmla="*/ 1600200 w 1669143"/>
                <a:gd name="connsiteY66" fmla="*/ 649514 h 1531257"/>
                <a:gd name="connsiteX67" fmla="*/ 1614714 w 1669143"/>
                <a:gd name="connsiteY67" fmla="*/ 595085 h 1531257"/>
                <a:gd name="connsiteX68" fmla="*/ 1592943 w 1669143"/>
                <a:gd name="connsiteY68" fmla="*/ 569685 h 1531257"/>
                <a:gd name="connsiteX69" fmla="*/ 1596571 w 1669143"/>
                <a:gd name="connsiteY69" fmla="*/ 493485 h 1531257"/>
                <a:gd name="connsiteX70" fmla="*/ 1661886 w 1669143"/>
                <a:gd name="connsiteY70" fmla="*/ 399143 h 1531257"/>
                <a:gd name="connsiteX71" fmla="*/ 1669143 w 1669143"/>
                <a:gd name="connsiteY71" fmla="*/ 297543 h 153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669143" h="1531257">
                  <a:moveTo>
                    <a:pt x="1669143" y="297543"/>
                  </a:moveTo>
                  <a:lnTo>
                    <a:pt x="783771" y="290285"/>
                  </a:lnTo>
                  <a:lnTo>
                    <a:pt x="674914" y="290285"/>
                  </a:lnTo>
                  <a:lnTo>
                    <a:pt x="566057" y="177800"/>
                  </a:lnTo>
                  <a:lnTo>
                    <a:pt x="494756" y="0"/>
                  </a:lnTo>
                  <a:lnTo>
                    <a:pt x="460828" y="32657"/>
                  </a:lnTo>
                  <a:lnTo>
                    <a:pt x="475343" y="87085"/>
                  </a:lnTo>
                  <a:lnTo>
                    <a:pt x="446314" y="137885"/>
                  </a:lnTo>
                  <a:lnTo>
                    <a:pt x="32657" y="156028"/>
                  </a:lnTo>
                  <a:lnTo>
                    <a:pt x="3628" y="185057"/>
                  </a:lnTo>
                  <a:lnTo>
                    <a:pt x="21771" y="257628"/>
                  </a:lnTo>
                  <a:lnTo>
                    <a:pt x="0" y="424543"/>
                  </a:lnTo>
                  <a:lnTo>
                    <a:pt x="58057" y="435428"/>
                  </a:lnTo>
                  <a:lnTo>
                    <a:pt x="76200" y="471714"/>
                  </a:lnTo>
                  <a:lnTo>
                    <a:pt x="141514" y="453571"/>
                  </a:lnTo>
                  <a:lnTo>
                    <a:pt x="217714" y="489857"/>
                  </a:lnTo>
                  <a:lnTo>
                    <a:pt x="217714" y="540657"/>
                  </a:lnTo>
                  <a:lnTo>
                    <a:pt x="214086" y="580571"/>
                  </a:lnTo>
                  <a:lnTo>
                    <a:pt x="257628" y="638628"/>
                  </a:lnTo>
                  <a:lnTo>
                    <a:pt x="228600" y="682171"/>
                  </a:lnTo>
                  <a:lnTo>
                    <a:pt x="239486" y="707571"/>
                  </a:lnTo>
                  <a:lnTo>
                    <a:pt x="185057" y="729343"/>
                  </a:lnTo>
                  <a:lnTo>
                    <a:pt x="192314" y="809171"/>
                  </a:lnTo>
                  <a:lnTo>
                    <a:pt x="163286" y="845457"/>
                  </a:lnTo>
                  <a:lnTo>
                    <a:pt x="192314" y="939800"/>
                  </a:lnTo>
                  <a:cubicBezTo>
                    <a:pt x="191105" y="986971"/>
                    <a:pt x="189895" y="1034143"/>
                    <a:pt x="188686" y="1081314"/>
                  </a:cubicBezTo>
                  <a:lnTo>
                    <a:pt x="170543" y="1095828"/>
                  </a:lnTo>
                  <a:lnTo>
                    <a:pt x="210457" y="1201057"/>
                  </a:lnTo>
                  <a:lnTo>
                    <a:pt x="319314" y="1233714"/>
                  </a:lnTo>
                  <a:lnTo>
                    <a:pt x="399143" y="1215571"/>
                  </a:lnTo>
                  <a:lnTo>
                    <a:pt x="489857" y="1244600"/>
                  </a:lnTo>
                  <a:lnTo>
                    <a:pt x="489857" y="1291771"/>
                  </a:lnTo>
                  <a:lnTo>
                    <a:pt x="500743" y="1407885"/>
                  </a:lnTo>
                  <a:lnTo>
                    <a:pt x="566057" y="1433285"/>
                  </a:lnTo>
                  <a:lnTo>
                    <a:pt x="609600" y="1531257"/>
                  </a:lnTo>
                  <a:lnTo>
                    <a:pt x="696686" y="1404257"/>
                  </a:lnTo>
                  <a:lnTo>
                    <a:pt x="725714" y="1422400"/>
                  </a:lnTo>
                  <a:lnTo>
                    <a:pt x="776514" y="1393371"/>
                  </a:lnTo>
                  <a:lnTo>
                    <a:pt x="816428" y="1393371"/>
                  </a:lnTo>
                  <a:lnTo>
                    <a:pt x="892628" y="1451428"/>
                  </a:lnTo>
                  <a:lnTo>
                    <a:pt x="950686" y="1469571"/>
                  </a:lnTo>
                  <a:lnTo>
                    <a:pt x="1012371" y="1422400"/>
                  </a:lnTo>
                  <a:lnTo>
                    <a:pt x="1070428" y="1440543"/>
                  </a:lnTo>
                  <a:lnTo>
                    <a:pt x="1128486" y="1393371"/>
                  </a:lnTo>
                  <a:lnTo>
                    <a:pt x="1164771" y="1400628"/>
                  </a:lnTo>
                  <a:lnTo>
                    <a:pt x="1161143" y="1473200"/>
                  </a:lnTo>
                  <a:lnTo>
                    <a:pt x="1211943" y="1509485"/>
                  </a:lnTo>
                  <a:lnTo>
                    <a:pt x="1240971" y="1487714"/>
                  </a:lnTo>
                  <a:lnTo>
                    <a:pt x="1211943" y="1429657"/>
                  </a:lnTo>
                  <a:lnTo>
                    <a:pt x="1222828" y="1357085"/>
                  </a:lnTo>
                  <a:lnTo>
                    <a:pt x="1244600" y="1331685"/>
                  </a:lnTo>
                  <a:lnTo>
                    <a:pt x="1244600" y="1284514"/>
                  </a:lnTo>
                  <a:lnTo>
                    <a:pt x="1313543" y="1270000"/>
                  </a:lnTo>
                  <a:lnTo>
                    <a:pt x="1320800" y="1219200"/>
                  </a:lnTo>
                  <a:lnTo>
                    <a:pt x="1382486" y="1164771"/>
                  </a:lnTo>
                  <a:lnTo>
                    <a:pt x="1458686" y="1168400"/>
                  </a:lnTo>
                  <a:lnTo>
                    <a:pt x="1444171" y="1077685"/>
                  </a:lnTo>
                  <a:lnTo>
                    <a:pt x="1491343" y="1048657"/>
                  </a:lnTo>
                  <a:lnTo>
                    <a:pt x="1513114" y="1063171"/>
                  </a:lnTo>
                  <a:lnTo>
                    <a:pt x="1553028" y="979714"/>
                  </a:lnTo>
                  <a:lnTo>
                    <a:pt x="1553028" y="936171"/>
                  </a:lnTo>
                  <a:lnTo>
                    <a:pt x="1574800" y="892628"/>
                  </a:lnTo>
                  <a:lnTo>
                    <a:pt x="1574800" y="849085"/>
                  </a:lnTo>
                  <a:lnTo>
                    <a:pt x="1603828" y="805543"/>
                  </a:lnTo>
                  <a:lnTo>
                    <a:pt x="1603828" y="765628"/>
                  </a:lnTo>
                  <a:lnTo>
                    <a:pt x="1621971" y="711200"/>
                  </a:lnTo>
                  <a:lnTo>
                    <a:pt x="1600200" y="649514"/>
                  </a:lnTo>
                  <a:lnTo>
                    <a:pt x="1614714" y="595085"/>
                  </a:lnTo>
                  <a:lnTo>
                    <a:pt x="1592943" y="569685"/>
                  </a:lnTo>
                  <a:lnTo>
                    <a:pt x="1596571" y="493485"/>
                  </a:lnTo>
                  <a:lnTo>
                    <a:pt x="1661886" y="399143"/>
                  </a:lnTo>
                  <a:lnTo>
                    <a:pt x="1669143" y="297543"/>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29" name="Freeform 17">
              <a:extLst>
                <a:ext uri="{FF2B5EF4-FFF2-40B4-BE49-F238E27FC236}">
                  <a16:creationId xmlns:a16="http://schemas.microsoft.com/office/drawing/2014/main" id="{9F7AC948-8B05-4DA8-BE86-9A48C233FF84}"/>
                </a:ext>
              </a:extLst>
            </p:cNvPr>
            <p:cNvSpPr/>
            <p:nvPr/>
          </p:nvSpPr>
          <p:spPr>
            <a:xfrm>
              <a:off x="7973401" y="4083478"/>
              <a:ext cx="1062037" cy="1030288"/>
            </a:xfrm>
            <a:custGeom>
              <a:avLst/>
              <a:gdLst>
                <a:gd name="connsiteX0" fmla="*/ 94343 w 1063172"/>
                <a:gd name="connsiteY0" fmla="*/ 137886 h 1030514"/>
                <a:gd name="connsiteX1" fmla="*/ 3629 w 1063172"/>
                <a:gd name="connsiteY1" fmla="*/ 366486 h 1030514"/>
                <a:gd name="connsiteX2" fmla="*/ 39914 w 1063172"/>
                <a:gd name="connsiteY2" fmla="*/ 428171 h 1030514"/>
                <a:gd name="connsiteX3" fmla="*/ 0 w 1063172"/>
                <a:gd name="connsiteY3" fmla="*/ 471714 h 1030514"/>
                <a:gd name="connsiteX4" fmla="*/ 50800 w 1063172"/>
                <a:gd name="connsiteY4" fmla="*/ 551543 h 1030514"/>
                <a:gd name="connsiteX5" fmla="*/ 54429 w 1063172"/>
                <a:gd name="connsiteY5" fmla="*/ 573314 h 1030514"/>
                <a:gd name="connsiteX6" fmla="*/ 18143 w 1063172"/>
                <a:gd name="connsiteY6" fmla="*/ 718457 h 1030514"/>
                <a:gd name="connsiteX7" fmla="*/ 32657 w 1063172"/>
                <a:gd name="connsiteY7" fmla="*/ 743857 h 1030514"/>
                <a:gd name="connsiteX8" fmla="*/ 264886 w 1063172"/>
                <a:gd name="connsiteY8" fmla="*/ 743857 h 1030514"/>
                <a:gd name="connsiteX9" fmla="*/ 297543 w 1063172"/>
                <a:gd name="connsiteY9" fmla="*/ 754743 h 1030514"/>
                <a:gd name="connsiteX10" fmla="*/ 330200 w 1063172"/>
                <a:gd name="connsiteY10" fmla="*/ 740229 h 1030514"/>
                <a:gd name="connsiteX11" fmla="*/ 366486 w 1063172"/>
                <a:gd name="connsiteY11" fmla="*/ 780143 h 1030514"/>
                <a:gd name="connsiteX12" fmla="*/ 402772 w 1063172"/>
                <a:gd name="connsiteY12" fmla="*/ 1008743 h 1030514"/>
                <a:gd name="connsiteX13" fmla="*/ 435429 w 1063172"/>
                <a:gd name="connsiteY13" fmla="*/ 1019629 h 1030514"/>
                <a:gd name="connsiteX14" fmla="*/ 497114 w 1063172"/>
                <a:gd name="connsiteY14" fmla="*/ 983343 h 1030514"/>
                <a:gd name="connsiteX15" fmla="*/ 576943 w 1063172"/>
                <a:gd name="connsiteY15" fmla="*/ 1030514 h 1030514"/>
                <a:gd name="connsiteX16" fmla="*/ 627743 w 1063172"/>
                <a:gd name="connsiteY16" fmla="*/ 1023257 h 1030514"/>
                <a:gd name="connsiteX17" fmla="*/ 667657 w 1063172"/>
                <a:gd name="connsiteY17" fmla="*/ 903514 h 1030514"/>
                <a:gd name="connsiteX18" fmla="*/ 878114 w 1063172"/>
                <a:gd name="connsiteY18" fmla="*/ 703943 h 1030514"/>
                <a:gd name="connsiteX19" fmla="*/ 994229 w 1063172"/>
                <a:gd name="connsiteY19" fmla="*/ 504371 h 1030514"/>
                <a:gd name="connsiteX20" fmla="*/ 1045029 w 1063172"/>
                <a:gd name="connsiteY20" fmla="*/ 446314 h 1030514"/>
                <a:gd name="connsiteX21" fmla="*/ 1063172 w 1063172"/>
                <a:gd name="connsiteY21" fmla="*/ 341086 h 1030514"/>
                <a:gd name="connsiteX22" fmla="*/ 968829 w 1063172"/>
                <a:gd name="connsiteY22" fmla="*/ 330200 h 1030514"/>
                <a:gd name="connsiteX23" fmla="*/ 925286 w 1063172"/>
                <a:gd name="connsiteY23" fmla="*/ 272143 h 1030514"/>
                <a:gd name="connsiteX24" fmla="*/ 867229 w 1063172"/>
                <a:gd name="connsiteY24" fmla="*/ 279400 h 1030514"/>
                <a:gd name="connsiteX25" fmla="*/ 823686 w 1063172"/>
                <a:gd name="connsiteY25" fmla="*/ 243114 h 1030514"/>
                <a:gd name="connsiteX26" fmla="*/ 751114 w 1063172"/>
                <a:gd name="connsiteY26" fmla="*/ 232229 h 1030514"/>
                <a:gd name="connsiteX27" fmla="*/ 725714 w 1063172"/>
                <a:gd name="connsiteY27" fmla="*/ 170543 h 1030514"/>
                <a:gd name="connsiteX28" fmla="*/ 689429 w 1063172"/>
                <a:gd name="connsiteY28" fmla="*/ 170543 h 1030514"/>
                <a:gd name="connsiteX29" fmla="*/ 660400 w 1063172"/>
                <a:gd name="connsiteY29" fmla="*/ 112486 h 1030514"/>
                <a:gd name="connsiteX30" fmla="*/ 638629 w 1063172"/>
                <a:gd name="connsiteY30" fmla="*/ 83457 h 1030514"/>
                <a:gd name="connsiteX31" fmla="*/ 635000 w 1063172"/>
                <a:gd name="connsiteY31" fmla="*/ 18143 h 1030514"/>
                <a:gd name="connsiteX32" fmla="*/ 605972 w 1063172"/>
                <a:gd name="connsiteY32" fmla="*/ 14514 h 1030514"/>
                <a:gd name="connsiteX33" fmla="*/ 537029 w 1063172"/>
                <a:gd name="connsiteY33" fmla="*/ 54429 h 1030514"/>
                <a:gd name="connsiteX34" fmla="*/ 489857 w 1063172"/>
                <a:gd name="connsiteY34" fmla="*/ 29029 h 1030514"/>
                <a:gd name="connsiteX35" fmla="*/ 420914 w 1063172"/>
                <a:gd name="connsiteY35" fmla="*/ 72571 h 1030514"/>
                <a:gd name="connsiteX36" fmla="*/ 279400 w 1063172"/>
                <a:gd name="connsiteY36" fmla="*/ 0 h 1030514"/>
                <a:gd name="connsiteX37" fmla="*/ 203200 w 1063172"/>
                <a:gd name="connsiteY37" fmla="*/ 39914 h 1030514"/>
                <a:gd name="connsiteX38" fmla="*/ 156029 w 1063172"/>
                <a:gd name="connsiteY38" fmla="*/ 18143 h 1030514"/>
                <a:gd name="connsiteX39" fmla="*/ 94343 w 1063172"/>
                <a:gd name="connsiteY39" fmla="*/ 137886 h 1030514"/>
                <a:gd name="connsiteX0" fmla="*/ 94343 w 1063172"/>
                <a:gd name="connsiteY0" fmla="*/ 137886 h 1030514"/>
                <a:gd name="connsiteX1" fmla="*/ 3629 w 1063172"/>
                <a:gd name="connsiteY1" fmla="*/ 366486 h 1030514"/>
                <a:gd name="connsiteX2" fmla="*/ 39914 w 1063172"/>
                <a:gd name="connsiteY2" fmla="*/ 428171 h 1030514"/>
                <a:gd name="connsiteX3" fmla="*/ 0 w 1063172"/>
                <a:gd name="connsiteY3" fmla="*/ 471714 h 1030514"/>
                <a:gd name="connsiteX4" fmla="*/ 50800 w 1063172"/>
                <a:gd name="connsiteY4" fmla="*/ 551543 h 1030514"/>
                <a:gd name="connsiteX5" fmla="*/ 54429 w 1063172"/>
                <a:gd name="connsiteY5" fmla="*/ 573314 h 1030514"/>
                <a:gd name="connsiteX6" fmla="*/ 18143 w 1063172"/>
                <a:gd name="connsiteY6" fmla="*/ 718457 h 1030514"/>
                <a:gd name="connsiteX7" fmla="*/ 32657 w 1063172"/>
                <a:gd name="connsiteY7" fmla="*/ 743857 h 1030514"/>
                <a:gd name="connsiteX8" fmla="*/ 264886 w 1063172"/>
                <a:gd name="connsiteY8" fmla="*/ 743857 h 1030514"/>
                <a:gd name="connsiteX9" fmla="*/ 297543 w 1063172"/>
                <a:gd name="connsiteY9" fmla="*/ 754743 h 1030514"/>
                <a:gd name="connsiteX10" fmla="*/ 330200 w 1063172"/>
                <a:gd name="connsiteY10" fmla="*/ 740229 h 1030514"/>
                <a:gd name="connsiteX11" fmla="*/ 366486 w 1063172"/>
                <a:gd name="connsiteY11" fmla="*/ 780143 h 1030514"/>
                <a:gd name="connsiteX12" fmla="*/ 402772 w 1063172"/>
                <a:gd name="connsiteY12" fmla="*/ 1008743 h 1030514"/>
                <a:gd name="connsiteX13" fmla="*/ 435429 w 1063172"/>
                <a:gd name="connsiteY13" fmla="*/ 1019629 h 1030514"/>
                <a:gd name="connsiteX14" fmla="*/ 497114 w 1063172"/>
                <a:gd name="connsiteY14" fmla="*/ 983343 h 1030514"/>
                <a:gd name="connsiteX15" fmla="*/ 576943 w 1063172"/>
                <a:gd name="connsiteY15" fmla="*/ 1030514 h 1030514"/>
                <a:gd name="connsiteX16" fmla="*/ 627743 w 1063172"/>
                <a:gd name="connsiteY16" fmla="*/ 1023257 h 1030514"/>
                <a:gd name="connsiteX17" fmla="*/ 667657 w 1063172"/>
                <a:gd name="connsiteY17" fmla="*/ 903514 h 1030514"/>
                <a:gd name="connsiteX18" fmla="*/ 878114 w 1063172"/>
                <a:gd name="connsiteY18" fmla="*/ 703943 h 1030514"/>
                <a:gd name="connsiteX19" fmla="*/ 994229 w 1063172"/>
                <a:gd name="connsiteY19" fmla="*/ 504371 h 1030514"/>
                <a:gd name="connsiteX20" fmla="*/ 1045029 w 1063172"/>
                <a:gd name="connsiteY20" fmla="*/ 446314 h 1030514"/>
                <a:gd name="connsiteX21" fmla="*/ 1063172 w 1063172"/>
                <a:gd name="connsiteY21" fmla="*/ 341086 h 1030514"/>
                <a:gd name="connsiteX22" fmla="*/ 968829 w 1063172"/>
                <a:gd name="connsiteY22" fmla="*/ 330200 h 1030514"/>
                <a:gd name="connsiteX23" fmla="*/ 925286 w 1063172"/>
                <a:gd name="connsiteY23" fmla="*/ 272143 h 1030514"/>
                <a:gd name="connsiteX24" fmla="*/ 867229 w 1063172"/>
                <a:gd name="connsiteY24" fmla="*/ 279400 h 1030514"/>
                <a:gd name="connsiteX25" fmla="*/ 823686 w 1063172"/>
                <a:gd name="connsiteY25" fmla="*/ 243114 h 1030514"/>
                <a:gd name="connsiteX26" fmla="*/ 751114 w 1063172"/>
                <a:gd name="connsiteY26" fmla="*/ 232229 h 1030514"/>
                <a:gd name="connsiteX27" fmla="*/ 725714 w 1063172"/>
                <a:gd name="connsiteY27" fmla="*/ 170543 h 1030514"/>
                <a:gd name="connsiteX28" fmla="*/ 689429 w 1063172"/>
                <a:gd name="connsiteY28" fmla="*/ 170543 h 1030514"/>
                <a:gd name="connsiteX29" fmla="*/ 683260 w 1063172"/>
                <a:gd name="connsiteY29" fmla="*/ 123916 h 1030514"/>
                <a:gd name="connsiteX30" fmla="*/ 638629 w 1063172"/>
                <a:gd name="connsiteY30" fmla="*/ 83457 h 1030514"/>
                <a:gd name="connsiteX31" fmla="*/ 635000 w 1063172"/>
                <a:gd name="connsiteY31" fmla="*/ 18143 h 1030514"/>
                <a:gd name="connsiteX32" fmla="*/ 605972 w 1063172"/>
                <a:gd name="connsiteY32" fmla="*/ 14514 h 1030514"/>
                <a:gd name="connsiteX33" fmla="*/ 537029 w 1063172"/>
                <a:gd name="connsiteY33" fmla="*/ 54429 h 1030514"/>
                <a:gd name="connsiteX34" fmla="*/ 489857 w 1063172"/>
                <a:gd name="connsiteY34" fmla="*/ 29029 h 1030514"/>
                <a:gd name="connsiteX35" fmla="*/ 420914 w 1063172"/>
                <a:gd name="connsiteY35" fmla="*/ 72571 h 1030514"/>
                <a:gd name="connsiteX36" fmla="*/ 279400 w 1063172"/>
                <a:gd name="connsiteY36" fmla="*/ 0 h 1030514"/>
                <a:gd name="connsiteX37" fmla="*/ 203200 w 1063172"/>
                <a:gd name="connsiteY37" fmla="*/ 39914 h 1030514"/>
                <a:gd name="connsiteX38" fmla="*/ 156029 w 1063172"/>
                <a:gd name="connsiteY38" fmla="*/ 18143 h 1030514"/>
                <a:gd name="connsiteX39" fmla="*/ 94343 w 1063172"/>
                <a:gd name="connsiteY39" fmla="*/ 137886 h 103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63172" h="1030514">
                  <a:moveTo>
                    <a:pt x="94343" y="137886"/>
                  </a:moveTo>
                  <a:lnTo>
                    <a:pt x="3629" y="366486"/>
                  </a:lnTo>
                  <a:lnTo>
                    <a:pt x="39914" y="428171"/>
                  </a:lnTo>
                  <a:lnTo>
                    <a:pt x="0" y="471714"/>
                  </a:lnTo>
                  <a:lnTo>
                    <a:pt x="50800" y="551543"/>
                  </a:lnTo>
                  <a:lnTo>
                    <a:pt x="54429" y="573314"/>
                  </a:lnTo>
                  <a:lnTo>
                    <a:pt x="18143" y="718457"/>
                  </a:lnTo>
                  <a:lnTo>
                    <a:pt x="32657" y="743857"/>
                  </a:lnTo>
                  <a:lnTo>
                    <a:pt x="264886" y="743857"/>
                  </a:lnTo>
                  <a:lnTo>
                    <a:pt x="297543" y="754743"/>
                  </a:lnTo>
                  <a:lnTo>
                    <a:pt x="330200" y="740229"/>
                  </a:lnTo>
                  <a:lnTo>
                    <a:pt x="366486" y="780143"/>
                  </a:lnTo>
                  <a:lnTo>
                    <a:pt x="402772" y="1008743"/>
                  </a:lnTo>
                  <a:lnTo>
                    <a:pt x="435429" y="1019629"/>
                  </a:lnTo>
                  <a:lnTo>
                    <a:pt x="497114" y="983343"/>
                  </a:lnTo>
                  <a:lnTo>
                    <a:pt x="576943" y="1030514"/>
                  </a:lnTo>
                  <a:lnTo>
                    <a:pt x="627743" y="1023257"/>
                  </a:lnTo>
                  <a:lnTo>
                    <a:pt x="667657" y="903514"/>
                  </a:lnTo>
                  <a:lnTo>
                    <a:pt x="878114" y="703943"/>
                  </a:lnTo>
                  <a:lnTo>
                    <a:pt x="994229" y="504371"/>
                  </a:lnTo>
                  <a:lnTo>
                    <a:pt x="1045029" y="446314"/>
                  </a:lnTo>
                  <a:lnTo>
                    <a:pt x="1063172" y="341086"/>
                  </a:lnTo>
                  <a:lnTo>
                    <a:pt x="968829" y="330200"/>
                  </a:lnTo>
                  <a:lnTo>
                    <a:pt x="925286" y="272143"/>
                  </a:lnTo>
                  <a:lnTo>
                    <a:pt x="867229" y="279400"/>
                  </a:lnTo>
                  <a:lnTo>
                    <a:pt x="823686" y="243114"/>
                  </a:lnTo>
                  <a:lnTo>
                    <a:pt x="751114" y="232229"/>
                  </a:lnTo>
                  <a:lnTo>
                    <a:pt x="725714" y="170543"/>
                  </a:lnTo>
                  <a:lnTo>
                    <a:pt x="689429" y="170543"/>
                  </a:lnTo>
                  <a:lnTo>
                    <a:pt x="683260" y="123916"/>
                  </a:lnTo>
                  <a:lnTo>
                    <a:pt x="638629" y="83457"/>
                  </a:lnTo>
                  <a:lnTo>
                    <a:pt x="635000" y="18143"/>
                  </a:lnTo>
                  <a:lnTo>
                    <a:pt x="605972" y="14514"/>
                  </a:lnTo>
                  <a:lnTo>
                    <a:pt x="537029" y="54429"/>
                  </a:lnTo>
                  <a:lnTo>
                    <a:pt x="489857" y="29029"/>
                  </a:lnTo>
                  <a:lnTo>
                    <a:pt x="420914" y="72571"/>
                  </a:lnTo>
                  <a:lnTo>
                    <a:pt x="279400" y="0"/>
                  </a:lnTo>
                  <a:lnTo>
                    <a:pt x="203200" y="39914"/>
                  </a:lnTo>
                  <a:lnTo>
                    <a:pt x="156029" y="18143"/>
                  </a:lnTo>
                  <a:lnTo>
                    <a:pt x="94343" y="137886"/>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0" name="Freeform 19">
              <a:extLst>
                <a:ext uri="{FF2B5EF4-FFF2-40B4-BE49-F238E27FC236}">
                  <a16:creationId xmlns:a16="http://schemas.microsoft.com/office/drawing/2014/main" id="{E2432CC1-F914-4BD1-9671-761847AF3616}"/>
                </a:ext>
              </a:extLst>
            </p:cNvPr>
            <p:cNvSpPr/>
            <p:nvPr/>
          </p:nvSpPr>
          <p:spPr>
            <a:xfrm>
              <a:off x="8506801" y="4918503"/>
              <a:ext cx="923925" cy="655638"/>
            </a:xfrm>
            <a:custGeom>
              <a:avLst/>
              <a:gdLst>
                <a:gd name="connsiteX0" fmla="*/ 54429 w 925286"/>
                <a:gd name="connsiteY0" fmla="*/ 206829 h 656772"/>
                <a:gd name="connsiteX1" fmla="*/ 0 w 925286"/>
                <a:gd name="connsiteY1" fmla="*/ 439058 h 656772"/>
                <a:gd name="connsiteX2" fmla="*/ 76200 w 925286"/>
                <a:gd name="connsiteY2" fmla="*/ 464458 h 656772"/>
                <a:gd name="connsiteX3" fmla="*/ 116114 w 925286"/>
                <a:gd name="connsiteY3" fmla="*/ 580572 h 656772"/>
                <a:gd name="connsiteX4" fmla="*/ 188686 w 925286"/>
                <a:gd name="connsiteY4" fmla="*/ 602343 h 656772"/>
                <a:gd name="connsiteX5" fmla="*/ 221343 w 925286"/>
                <a:gd name="connsiteY5" fmla="*/ 584200 h 656772"/>
                <a:gd name="connsiteX6" fmla="*/ 257629 w 925286"/>
                <a:gd name="connsiteY6" fmla="*/ 616858 h 656772"/>
                <a:gd name="connsiteX7" fmla="*/ 449943 w 925286"/>
                <a:gd name="connsiteY7" fmla="*/ 656772 h 656772"/>
                <a:gd name="connsiteX8" fmla="*/ 460829 w 925286"/>
                <a:gd name="connsiteY8" fmla="*/ 591458 h 656772"/>
                <a:gd name="connsiteX9" fmla="*/ 558800 w 925286"/>
                <a:gd name="connsiteY9" fmla="*/ 533400 h 656772"/>
                <a:gd name="connsiteX10" fmla="*/ 689429 w 925286"/>
                <a:gd name="connsiteY10" fmla="*/ 566058 h 656772"/>
                <a:gd name="connsiteX11" fmla="*/ 758372 w 925286"/>
                <a:gd name="connsiteY11" fmla="*/ 526143 h 656772"/>
                <a:gd name="connsiteX12" fmla="*/ 849086 w 925286"/>
                <a:gd name="connsiteY12" fmla="*/ 569686 h 656772"/>
                <a:gd name="connsiteX13" fmla="*/ 849086 w 925286"/>
                <a:gd name="connsiteY13" fmla="*/ 518886 h 656772"/>
                <a:gd name="connsiteX14" fmla="*/ 838200 w 925286"/>
                <a:gd name="connsiteY14" fmla="*/ 497115 h 656772"/>
                <a:gd name="connsiteX15" fmla="*/ 870857 w 925286"/>
                <a:gd name="connsiteY15" fmla="*/ 460829 h 656772"/>
                <a:gd name="connsiteX16" fmla="*/ 830943 w 925286"/>
                <a:gd name="connsiteY16" fmla="*/ 442686 h 656772"/>
                <a:gd name="connsiteX17" fmla="*/ 863600 w 925286"/>
                <a:gd name="connsiteY17" fmla="*/ 417286 h 656772"/>
                <a:gd name="connsiteX18" fmla="*/ 885372 w 925286"/>
                <a:gd name="connsiteY18" fmla="*/ 413658 h 656772"/>
                <a:gd name="connsiteX19" fmla="*/ 903514 w 925286"/>
                <a:gd name="connsiteY19" fmla="*/ 457200 h 656772"/>
                <a:gd name="connsiteX20" fmla="*/ 925286 w 925286"/>
                <a:gd name="connsiteY20" fmla="*/ 417286 h 656772"/>
                <a:gd name="connsiteX21" fmla="*/ 921657 w 925286"/>
                <a:gd name="connsiteY21" fmla="*/ 355600 h 656772"/>
                <a:gd name="connsiteX22" fmla="*/ 881743 w 925286"/>
                <a:gd name="connsiteY22" fmla="*/ 366486 h 656772"/>
                <a:gd name="connsiteX23" fmla="*/ 827314 w 925286"/>
                <a:gd name="connsiteY23" fmla="*/ 333829 h 656772"/>
                <a:gd name="connsiteX24" fmla="*/ 801914 w 925286"/>
                <a:gd name="connsiteY24" fmla="*/ 261258 h 656772"/>
                <a:gd name="connsiteX25" fmla="*/ 714829 w 925286"/>
                <a:gd name="connsiteY25" fmla="*/ 261258 h 656772"/>
                <a:gd name="connsiteX26" fmla="*/ 678543 w 925286"/>
                <a:gd name="connsiteY26" fmla="*/ 177800 h 656772"/>
                <a:gd name="connsiteX27" fmla="*/ 689429 w 925286"/>
                <a:gd name="connsiteY27" fmla="*/ 79829 h 656772"/>
                <a:gd name="connsiteX28" fmla="*/ 642257 w 925286"/>
                <a:gd name="connsiteY28" fmla="*/ 43543 h 656772"/>
                <a:gd name="connsiteX29" fmla="*/ 547914 w 925286"/>
                <a:gd name="connsiteY29" fmla="*/ 72572 h 656772"/>
                <a:gd name="connsiteX30" fmla="*/ 453572 w 925286"/>
                <a:gd name="connsiteY30" fmla="*/ 21772 h 656772"/>
                <a:gd name="connsiteX31" fmla="*/ 373743 w 925286"/>
                <a:gd name="connsiteY31" fmla="*/ 21772 h 656772"/>
                <a:gd name="connsiteX32" fmla="*/ 370114 w 925286"/>
                <a:gd name="connsiteY32" fmla="*/ 0 h 656772"/>
                <a:gd name="connsiteX33" fmla="*/ 221343 w 925286"/>
                <a:gd name="connsiteY33" fmla="*/ 7258 h 656772"/>
                <a:gd name="connsiteX34" fmla="*/ 123372 w 925286"/>
                <a:gd name="connsiteY34" fmla="*/ 68943 h 656772"/>
                <a:gd name="connsiteX35" fmla="*/ 54429 w 925286"/>
                <a:gd name="connsiteY35" fmla="*/ 206829 h 656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25286" h="656772">
                  <a:moveTo>
                    <a:pt x="54429" y="206829"/>
                  </a:moveTo>
                  <a:lnTo>
                    <a:pt x="0" y="439058"/>
                  </a:lnTo>
                  <a:lnTo>
                    <a:pt x="76200" y="464458"/>
                  </a:lnTo>
                  <a:lnTo>
                    <a:pt x="116114" y="580572"/>
                  </a:lnTo>
                  <a:lnTo>
                    <a:pt x="188686" y="602343"/>
                  </a:lnTo>
                  <a:lnTo>
                    <a:pt x="221343" y="584200"/>
                  </a:lnTo>
                  <a:lnTo>
                    <a:pt x="257629" y="616858"/>
                  </a:lnTo>
                  <a:lnTo>
                    <a:pt x="449943" y="656772"/>
                  </a:lnTo>
                  <a:lnTo>
                    <a:pt x="460829" y="591458"/>
                  </a:lnTo>
                  <a:lnTo>
                    <a:pt x="558800" y="533400"/>
                  </a:lnTo>
                  <a:lnTo>
                    <a:pt x="689429" y="566058"/>
                  </a:lnTo>
                  <a:lnTo>
                    <a:pt x="758372" y="526143"/>
                  </a:lnTo>
                  <a:lnTo>
                    <a:pt x="849086" y="569686"/>
                  </a:lnTo>
                  <a:lnTo>
                    <a:pt x="849086" y="518886"/>
                  </a:lnTo>
                  <a:lnTo>
                    <a:pt x="838200" y="497115"/>
                  </a:lnTo>
                  <a:lnTo>
                    <a:pt x="870857" y="460829"/>
                  </a:lnTo>
                  <a:lnTo>
                    <a:pt x="830943" y="442686"/>
                  </a:lnTo>
                  <a:lnTo>
                    <a:pt x="863600" y="417286"/>
                  </a:lnTo>
                  <a:lnTo>
                    <a:pt x="885372" y="413658"/>
                  </a:lnTo>
                  <a:lnTo>
                    <a:pt x="903514" y="457200"/>
                  </a:lnTo>
                  <a:lnTo>
                    <a:pt x="925286" y="417286"/>
                  </a:lnTo>
                  <a:lnTo>
                    <a:pt x="921657" y="355600"/>
                  </a:lnTo>
                  <a:lnTo>
                    <a:pt x="881743" y="366486"/>
                  </a:lnTo>
                  <a:lnTo>
                    <a:pt x="827314" y="333829"/>
                  </a:lnTo>
                  <a:lnTo>
                    <a:pt x="801914" y="261258"/>
                  </a:lnTo>
                  <a:lnTo>
                    <a:pt x="714829" y="261258"/>
                  </a:lnTo>
                  <a:lnTo>
                    <a:pt x="678543" y="177800"/>
                  </a:lnTo>
                  <a:lnTo>
                    <a:pt x="689429" y="79829"/>
                  </a:lnTo>
                  <a:lnTo>
                    <a:pt x="642257" y="43543"/>
                  </a:lnTo>
                  <a:lnTo>
                    <a:pt x="547914" y="72572"/>
                  </a:lnTo>
                  <a:lnTo>
                    <a:pt x="453572" y="21772"/>
                  </a:lnTo>
                  <a:lnTo>
                    <a:pt x="373743" y="21772"/>
                  </a:lnTo>
                  <a:lnTo>
                    <a:pt x="370114" y="0"/>
                  </a:lnTo>
                  <a:lnTo>
                    <a:pt x="221343" y="7258"/>
                  </a:lnTo>
                  <a:lnTo>
                    <a:pt x="123372" y="68943"/>
                  </a:lnTo>
                  <a:lnTo>
                    <a:pt x="54429" y="206829"/>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1" name="Freeform 20">
              <a:extLst>
                <a:ext uri="{FF2B5EF4-FFF2-40B4-BE49-F238E27FC236}">
                  <a16:creationId xmlns:a16="http://schemas.microsoft.com/office/drawing/2014/main" id="{20FBE077-8447-47AC-8BC9-F55999F09922}"/>
                </a:ext>
              </a:extLst>
            </p:cNvPr>
            <p:cNvSpPr/>
            <p:nvPr/>
          </p:nvSpPr>
          <p:spPr>
            <a:xfrm>
              <a:off x="8608401" y="5447142"/>
              <a:ext cx="787400" cy="563562"/>
            </a:xfrm>
            <a:custGeom>
              <a:avLst/>
              <a:gdLst>
                <a:gd name="connsiteX0" fmla="*/ 10886 w 787400"/>
                <a:gd name="connsiteY0" fmla="*/ 50800 h 562428"/>
                <a:gd name="connsiteX1" fmla="*/ 29029 w 787400"/>
                <a:gd name="connsiteY1" fmla="*/ 145143 h 562428"/>
                <a:gd name="connsiteX2" fmla="*/ 0 w 787400"/>
                <a:gd name="connsiteY2" fmla="*/ 203200 h 562428"/>
                <a:gd name="connsiteX3" fmla="*/ 181429 w 787400"/>
                <a:gd name="connsiteY3" fmla="*/ 203200 h 562428"/>
                <a:gd name="connsiteX4" fmla="*/ 250372 w 787400"/>
                <a:gd name="connsiteY4" fmla="*/ 239486 h 562428"/>
                <a:gd name="connsiteX5" fmla="*/ 384629 w 787400"/>
                <a:gd name="connsiteY5" fmla="*/ 290286 h 562428"/>
                <a:gd name="connsiteX6" fmla="*/ 460829 w 787400"/>
                <a:gd name="connsiteY6" fmla="*/ 424543 h 562428"/>
                <a:gd name="connsiteX7" fmla="*/ 533400 w 787400"/>
                <a:gd name="connsiteY7" fmla="*/ 410028 h 562428"/>
                <a:gd name="connsiteX8" fmla="*/ 573314 w 787400"/>
                <a:gd name="connsiteY8" fmla="*/ 413657 h 562428"/>
                <a:gd name="connsiteX9" fmla="*/ 573314 w 787400"/>
                <a:gd name="connsiteY9" fmla="*/ 449943 h 562428"/>
                <a:gd name="connsiteX10" fmla="*/ 497114 w 787400"/>
                <a:gd name="connsiteY10" fmla="*/ 529771 h 562428"/>
                <a:gd name="connsiteX11" fmla="*/ 533400 w 787400"/>
                <a:gd name="connsiteY11" fmla="*/ 562428 h 562428"/>
                <a:gd name="connsiteX12" fmla="*/ 689429 w 787400"/>
                <a:gd name="connsiteY12" fmla="*/ 428171 h 562428"/>
                <a:gd name="connsiteX13" fmla="*/ 707572 w 787400"/>
                <a:gd name="connsiteY13" fmla="*/ 428171 h 562428"/>
                <a:gd name="connsiteX14" fmla="*/ 707572 w 787400"/>
                <a:gd name="connsiteY14" fmla="*/ 377371 h 562428"/>
                <a:gd name="connsiteX15" fmla="*/ 740229 w 787400"/>
                <a:gd name="connsiteY15" fmla="*/ 381000 h 562428"/>
                <a:gd name="connsiteX16" fmla="*/ 743857 w 787400"/>
                <a:gd name="connsiteY16" fmla="*/ 293914 h 562428"/>
                <a:gd name="connsiteX17" fmla="*/ 747486 w 787400"/>
                <a:gd name="connsiteY17" fmla="*/ 228600 h 562428"/>
                <a:gd name="connsiteX18" fmla="*/ 787400 w 787400"/>
                <a:gd name="connsiteY18" fmla="*/ 185057 h 562428"/>
                <a:gd name="connsiteX19" fmla="*/ 747486 w 787400"/>
                <a:gd name="connsiteY19" fmla="*/ 166914 h 562428"/>
                <a:gd name="connsiteX20" fmla="*/ 722086 w 787400"/>
                <a:gd name="connsiteY20" fmla="*/ 43543 h 562428"/>
                <a:gd name="connsiteX21" fmla="*/ 631372 w 787400"/>
                <a:gd name="connsiteY21" fmla="*/ 0 h 562428"/>
                <a:gd name="connsiteX22" fmla="*/ 573314 w 787400"/>
                <a:gd name="connsiteY22" fmla="*/ 39914 h 562428"/>
                <a:gd name="connsiteX23" fmla="*/ 457200 w 787400"/>
                <a:gd name="connsiteY23" fmla="*/ 0 h 562428"/>
                <a:gd name="connsiteX24" fmla="*/ 362857 w 787400"/>
                <a:gd name="connsiteY24" fmla="*/ 65314 h 562428"/>
                <a:gd name="connsiteX25" fmla="*/ 348343 w 787400"/>
                <a:gd name="connsiteY25" fmla="*/ 134257 h 562428"/>
                <a:gd name="connsiteX26" fmla="*/ 141514 w 787400"/>
                <a:gd name="connsiteY26" fmla="*/ 83457 h 562428"/>
                <a:gd name="connsiteX27" fmla="*/ 116114 w 787400"/>
                <a:gd name="connsiteY27" fmla="*/ 58057 h 562428"/>
                <a:gd name="connsiteX28" fmla="*/ 76200 w 787400"/>
                <a:gd name="connsiteY28" fmla="*/ 79828 h 562428"/>
                <a:gd name="connsiteX29" fmla="*/ 10886 w 787400"/>
                <a:gd name="connsiteY29" fmla="*/ 50800 h 562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87400" h="562428">
                  <a:moveTo>
                    <a:pt x="10886" y="50800"/>
                  </a:moveTo>
                  <a:lnTo>
                    <a:pt x="29029" y="145143"/>
                  </a:lnTo>
                  <a:lnTo>
                    <a:pt x="0" y="203200"/>
                  </a:lnTo>
                  <a:lnTo>
                    <a:pt x="181429" y="203200"/>
                  </a:lnTo>
                  <a:lnTo>
                    <a:pt x="250372" y="239486"/>
                  </a:lnTo>
                  <a:lnTo>
                    <a:pt x="384629" y="290286"/>
                  </a:lnTo>
                  <a:lnTo>
                    <a:pt x="460829" y="424543"/>
                  </a:lnTo>
                  <a:lnTo>
                    <a:pt x="533400" y="410028"/>
                  </a:lnTo>
                  <a:lnTo>
                    <a:pt x="573314" y="413657"/>
                  </a:lnTo>
                  <a:lnTo>
                    <a:pt x="573314" y="449943"/>
                  </a:lnTo>
                  <a:lnTo>
                    <a:pt x="497114" y="529771"/>
                  </a:lnTo>
                  <a:lnTo>
                    <a:pt x="533400" y="562428"/>
                  </a:lnTo>
                  <a:lnTo>
                    <a:pt x="689429" y="428171"/>
                  </a:lnTo>
                  <a:lnTo>
                    <a:pt x="707572" y="428171"/>
                  </a:lnTo>
                  <a:lnTo>
                    <a:pt x="707572" y="377371"/>
                  </a:lnTo>
                  <a:lnTo>
                    <a:pt x="740229" y="381000"/>
                  </a:lnTo>
                  <a:lnTo>
                    <a:pt x="743857" y="293914"/>
                  </a:lnTo>
                  <a:lnTo>
                    <a:pt x="747486" y="228600"/>
                  </a:lnTo>
                  <a:lnTo>
                    <a:pt x="787400" y="185057"/>
                  </a:lnTo>
                  <a:lnTo>
                    <a:pt x="747486" y="166914"/>
                  </a:lnTo>
                  <a:lnTo>
                    <a:pt x="722086" y="43543"/>
                  </a:lnTo>
                  <a:lnTo>
                    <a:pt x="631372" y="0"/>
                  </a:lnTo>
                  <a:lnTo>
                    <a:pt x="573314" y="39914"/>
                  </a:lnTo>
                  <a:lnTo>
                    <a:pt x="457200" y="0"/>
                  </a:lnTo>
                  <a:lnTo>
                    <a:pt x="362857" y="65314"/>
                  </a:lnTo>
                  <a:lnTo>
                    <a:pt x="348343" y="134257"/>
                  </a:lnTo>
                  <a:lnTo>
                    <a:pt x="141514" y="83457"/>
                  </a:lnTo>
                  <a:lnTo>
                    <a:pt x="116114" y="58057"/>
                  </a:lnTo>
                  <a:lnTo>
                    <a:pt x="76200" y="79828"/>
                  </a:lnTo>
                  <a:lnTo>
                    <a:pt x="10886" y="5080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2" name="Freeform 21">
              <a:extLst>
                <a:ext uri="{FF2B5EF4-FFF2-40B4-BE49-F238E27FC236}">
                  <a16:creationId xmlns:a16="http://schemas.microsoft.com/office/drawing/2014/main" id="{11E62372-1BB3-4E8A-92EB-5F03D054CD01}"/>
                </a:ext>
              </a:extLst>
            </p:cNvPr>
            <p:cNvSpPr/>
            <p:nvPr/>
          </p:nvSpPr>
          <p:spPr>
            <a:xfrm>
              <a:off x="8075001" y="5650342"/>
              <a:ext cx="1098550" cy="1066801"/>
            </a:xfrm>
            <a:custGeom>
              <a:avLst/>
              <a:gdLst>
                <a:gd name="connsiteX0" fmla="*/ 529772 w 1099457"/>
                <a:gd name="connsiteY0" fmla="*/ 0 h 1066800"/>
                <a:gd name="connsiteX1" fmla="*/ 322943 w 1099457"/>
                <a:gd name="connsiteY1" fmla="*/ 94343 h 1066800"/>
                <a:gd name="connsiteX2" fmla="*/ 214086 w 1099457"/>
                <a:gd name="connsiteY2" fmla="*/ 181428 h 1066800"/>
                <a:gd name="connsiteX3" fmla="*/ 123372 w 1099457"/>
                <a:gd name="connsiteY3" fmla="*/ 348343 h 1066800"/>
                <a:gd name="connsiteX4" fmla="*/ 0 w 1099457"/>
                <a:gd name="connsiteY4" fmla="*/ 460828 h 1066800"/>
                <a:gd name="connsiteX5" fmla="*/ 83457 w 1099457"/>
                <a:gd name="connsiteY5" fmla="*/ 482600 h 1066800"/>
                <a:gd name="connsiteX6" fmla="*/ 119743 w 1099457"/>
                <a:gd name="connsiteY6" fmla="*/ 533400 h 1066800"/>
                <a:gd name="connsiteX7" fmla="*/ 166914 w 1099457"/>
                <a:gd name="connsiteY7" fmla="*/ 526143 h 1066800"/>
                <a:gd name="connsiteX8" fmla="*/ 221343 w 1099457"/>
                <a:gd name="connsiteY8" fmla="*/ 616857 h 1066800"/>
                <a:gd name="connsiteX9" fmla="*/ 254000 w 1099457"/>
                <a:gd name="connsiteY9" fmla="*/ 584200 h 1066800"/>
                <a:gd name="connsiteX10" fmla="*/ 283029 w 1099457"/>
                <a:gd name="connsiteY10" fmla="*/ 587828 h 1066800"/>
                <a:gd name="connsiteX11" fmla="*/ 478972 w 1099457"/>
                <a:gd name="connsiteY11" fmla="*/ 769257 h 1066800"/>
                <a:gd name="connsiteX12" fmla="*/ 522514 w 1099457"/>
                <a:gd name="connsiteY12" fmla="*/ 776514 h 1066800"/>
                <a:gd name="connsiteX13" fmla="*/ 613229 w 1099457"/>
                <a:gd name="connsiteY13" fmla="*/ 903514 h 1066800"/>
                <a:gd name="connsiteX14" fmla="*/ 667657 w 1099457"/>
                <a:gd name="connsiteY14" fmla="*/ 881743 h 1066800"/>
                <a:gd name="connsiteX15" fmla="*/ 711200 w 1099457"/>
                <a:gd name="connsiteY15" fmla="*/ 812800 h 1066800"/>
                <a:gd name="connsiteX16" fmla="*/ 685800 w 1099457"/>
                <a:gd name="connsiteY16" fmla="*/ 932543 h 1066800"/>
                <a:gd name="connsiteX17" fmla="*/ 660400 w 1099457"/>
                <a:gd name="connsiteY17" fmla="*/ 925286 h 1066800"/>
                <a:gd name="connsiteX18" fmla="*/ 595086 w 1099457"/>
                <a:gd name="connsiteY18" fmla="*/ 961571 h 1066800"/>
                <a:gd name="connsiteX19" fmla="*/ 595086 w 1099457"/>
                <a:gd name="connsiteY19" fmla="*/ 1066800 h 1066800"/>
                <a:gd name="connsiteX20" fmla="*/ 627743 w 1099457"/>
                <a:gd name="connsiteY20" fmla="*/ 1023257 h 1066800"/>
                <a:gd name="connsiteX21" fmla="*/ 645886 w 1099457"/>
                <a:gd name="connsiteY21" fmla="*/ 979714 h 1066800"/>
                <a:gd name="connsiteX22" fmla="*/ 678543 w 1099457"/>
                <a:gd name="connsiteY22" fmla="*/ 943428 h 1066800"/>
                <a:gd name="connsiteX23" fmla="*/ 689429 w 1099457"/>
                <a:gd name="connsiteY23" fmla="*/ 979714 h 1066800"/>
                <a:gd name="connsiteX24" fmla="*/ 758372 w 1099457"/>
                <a:gd name="connsiteY24" fmla="*/ 812800 h 1066800"/>
                <a:gd name="connsiteX25" fmla="*/ 754743 w 1099457"/>
                <a:gd name="connsiteY25" fmla="*/ 762000 h 1066800"/>
                <a:gd name="connsiteX26" fmla="*/ 791029 w 1099457"/>
                <a:gd name="connsiteY26" fmla="*/ 696686 h 1066800"/>
                <a:gd name="connsiteX27" fmla="*/ 830943 w 1099457"/>
                <a:gd name="connsiteY27" fmla="*/ 689428 h 1066800"/>
                <a:gd name="connsiteX28" fmla="*/ 852714 w 1099457"/>
                <a:gd name="connsiteY28" fmla="*/ 631371 h 1066800"/>
                <a:gd name="connsiteX29" fmla="*/ 892629 w 1099457"/>
                <a:gd name="connsiteY29" fmla="*/ 584200 h 1066800"/>
                <a:gd name="connsiteX30" fmla="*/ 867229 w 1099457"/>
                <a:gd name="connsiteY30" fmla="*/ 540657 h 1066800"/>
                <a:gd name="connsiteX31" fmla="*/ 914400 w 1099457"/>
                <a:gd name="connsiteY31" fmla="*/ 562428 h 1066800"/>
                <a:gd name="connsiteX32" fmla="*/ 983343 w 1099457"/>
                <a:gd name="connsiteY32" fmla="*/ 540657 h 1066800"/>
                <a:gd name="connsiteX33" fmla="*/ 961572 w 1099457"/>
                <a:gd name="connsiteY33" fmla="*/ 587828 h 1066800"/>
                <a:gd name="connsiteX34" fmla="*/ 914400 w 1099457"/>
                <a:gd name="connsiteY34" fmla="*/ 664028 h 1066800"/>
                <a:gd name="connsiteX35" fmla="*/ 910772 w 1099457"/>
                <a:gd name="connsiteY35" fmla="*/ 696686 h 1066800"/>
                <a:gd name="connsiteX36" fmla="*/ 856343 w 1099457"/>
                <a:gd name="connsiteY36" fmla="*/ 714828 h 1066800"/>
                <a:gd name="connsiteX37" fmla="*/ 783772 w 1099457"/>
                <a:gd name="connsiteY37" fmla="*/ 776514 h 1066800"/>
                <a:gd name="connsiteX38" fmla="*/ 783772 w 1099457"/>
                <a:gd name="connsiteY38" fmla="*/ 816428 h 1066800"/>
                <a:gd name="connsiteX39" fmla="*/ 976086 w 1099457"/>
                <a:gd name="connsiteY39" fmla="*/ 645886 h 1066800"/>
                <a:gd name="connsiteX40" fmla="*/ 1081314 w 1099457"/>
                <a:gd name="connsiteY40" fmla="*/ 359228 h 1066800"/>
                <a:gd name="connsiteX41" fmla="*/ 1041400 w 1099457"/>
                <a:gd name="connsiteY41" fmla="*/ 330200 h 1066800"/>
                <a:gd name="connsiteX42" fmla="*/ 1099457 w 1099457"/>
                <a:gd name="connsiteY42" fmla="*/ 232228 h 1066800"/>
                <a:gd name="connsiteX43" fmla="*/ 1088572 w 1099457"/>
                <a:gd name="connsiteY43" fmla="*/ 199571 h 1066800"/>
                <a:gd name="connsiteX44" fmla="*/ 994229 w 1099457"/>
                <a:gd name="connsiteY44" fmla="*/ 221343 h 1066800"/>
                <a:gd name="connsiteX45" fmla="*/ 921657 w 1099457"/>
                <a:gd name="connsiteY45" fmla="*/ 79828 h 1066800"/>
                <a:gd name="connsiteX46" fmla="*/ 700314 w 1099457"/>
                <a:gd name="connsiteY46" fmla="*/ 3628 h 1066800"/>
                <a:gd name="connsiteX47" fmla="*/ 529772 w 1099457"/>
                <a:gd name="connsiteY47" fmla="*/ 0 h 106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99457" h="1066800">
                  <a:moveTo>
                    <a:pt x="529772" y="0"/>
                  </a:moveTo>
                  <a:lnTo>
                    <a:pt x="322943" y="94343"/>
                  </a:lnTo>
                  <a:lnTo>
                    <a:pt x="214086" y="181428"/>
                  </a:lnTo>
                  <a:lnTo>
                    <a:pt x="123372" y="348343"/>
                  </a:lnTo>
                  <a:lnTo>
                    <a:pt x="0" y="460828"/>
                  </a:lnTo>
                  <a:lnTo>
                    <a:pt x="83457" y="482600"/>
                  </a:lnTo>
                  <a:lnTo>
                    <a:pt x="119743" y="533400"/>
                  </a:lnTo>
                  <a:lnTo>
                    <a:pt x="166914" y="526143"/>
                  </a:lnTo>
                  <a:lnTo>
                    <a:pt x="221343" y="616857"/>
                  </a:lnTo>
                  <a:lnTo>
                    <a:pt x="254000" y="584200"/>
                  </a:lnTo>
                  <a:lnTo>
                    <a:pt x="283029" y="587828"/>
                  </a:lnTo>
                  <a:lnTo>
                    <a:pt x="478972" y="769257"/>
                  </a:lnTo>
                  <a:lnTo>
                    <a:pt x="522514" y="776514"/>
                  </a:lnTo>
                  <a:lnTo>
                    <a:pt x="613229" y="903514"/>
                  </a:lnTo>
                  <a:lnTo>
                    <a:pt x="667657" y="881743"/>
                  </a:lnTo>
                  <a:lnTo>
                    <a:pt x="711200" y="812800"/>
                  </a:lnTo>
                  <a:lnTo>
                    <a:pt x="685800" y="932543"/>
                  </a:lnTo>
                  <a:lnTo>
                    <a:pt x="660400" y="925286"/>
                  </a:lnTo>
                  <a:lnTo>
                    <a:pt x="595086" y="961571"/>
                  </a:lnTo>
                  <a:lnTo>
                    <a:pt x="595086" y="1066800"/>
                  </a:lnTo>
                  <a:lnTo>
                    <a:pt x="627743" y="1023257"/>
                  </a:lnTo>
                  <a:lnTo>
                    <a:pt x="645886" y="979714"/>
                  </a:lnTo>
                  <a:lnTo>
                    <a:pt x="678543" y="943428"/>
                  </a:lnTo>
                  <a:lnTo>
                    <a:pt x="689429" y="979714"/>
                  </a:lnTo>
                  <a:lnTo>
                    <a:pt x="758372" y="812800"/>
                  </a:lnTo>
                  <a:lnTo>
                    <a:pt x="754743" y="762000"/>
                  </a:lnTo>
                  <a:lnTo>
                    <a:pt x="791029" y="696686"/>
                  </a:lnTo>
                  <a:lnTo>
                    <a:pt x="830943" y="689428"/>
                  </a:lnTo>
                  <a:lnTo>
                    <a:pt x="852714" y="631371"/>
                  </a:lnTo>
                  <a:lnTo>
                    <a:pt x="892629" y="584200"/>
                  </a:lnTo>
                  <a:lnTo>
                    <a:pt x="867229" y="540657"/>
                  </a:lnTo>
                  <a:lnTo>
                    <a:pt x="914400" y="562428"/>
                  </a:lnTo>
                  <a:lnTo>
                    <a:pt x="983343" y="540657"/>
                  </a:lnTo>
                  <a:lnTo>
                    <a:pt x="961572" y="587828"/>
                  </a:lnTo>
                  <a:lnTo>
                    <a:pt x="914400" y="664028"/>
                  </a:lnTo>
                  <a:lnTo>
                    <a:pt x="910772" y="696686"/>
                  </a:lnTo>
                  <a:lnTo>
                    <a:pt x="856343" y="714828"/>
                  </a:lnTo>
                  <a:lnTo>
                    <a:pt x="783772" y="776514"/>
                  </a:lnTo>
                  <a:lnTo>
                    <a:pt x="783772" y="816428"/>
                  </a:lnTo>
                  <a:lnTo>
                    <a:pt x="976086" y="645886"/>
                  </a:lnTo>
                  <a:lnTo>
                    <a:pt x="1081314" y="359228"/>
                  </a:lnTo>
                  <a:lnTo>
                    <a:pt x="1041400" y="330200"/>
                  </a:lnTo>
                  <a:lnTo>
                    <a:pt x="1099457" y="232228"/>
                  </a:lnTo>
                  <a:lnTo>
                    <a:pt x="1088572" y="199571"/>
                  </a:lnTo>
                  <a:lnTo>
                    <a:pt x="994229" y="221343"/>
                  </a:lnTo>
                  <a:lnTo>
                    <a:pt x="921657" y="79828"/>
                  </a:lnTo>
                  <a:lnTo>
                    <a:pt x="700314" y="3628"/>
                  </a:lnTo>
                  <a:lnTo>
                    <a:pt x="529772" y="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3" name="Freeform 27">
              <a:extLst>
                <a:ext uri="{FF2B5EF4-FFF2-40B4-BE49-F238E27FC236}">
                  <a16:creationId xmlns:a16="http://schemas.microsoft.com/office/drawing/2014/main" id="{00B792E2-5DBA-43C5-A3F6-C1A23CF069F8}"/>
                </a:ext>
              </a:extLst>
            </p:cNvPr>
            <p:cNvSpPr/>
            <p:nvPr/>
          </p:nvSpPr>
          <p:spPr>
            <a:xfrm>
              <a:off x="8698889" y="4518453"/>
              <a:ext cx="1230311" cy="776289"/>
            </a:xfrm>
            <a:custGeom>
              <a:avLst/>
              <a:gdLst>
                <a:gd name="connsiteX0" fmla="*/ 732972 w 1230086"/>
                <a:gd name="connsiteY0" fmla="*/ 776514 h 776514"/>
                <a:gd name="connsiteX1" fmla="*/ 914400 w 1230086"/>
                <a:gd name="connsiteY1" fmla="*/ 609600 h 776514"/>
                <a:gd name="connsiteX2" fmla="*/ 979715 w 1230086"/>
                <a:gd name="connsiteY2" fmla="*/ 595085 h 776514"/>
                <a:gd name="connsiteX3" fmla="*/ 979715 w 1230086"/>
                <a:gd name="connsiteY3" fmla="*/ 595085 h 776514"/>
                <a:gd name="connsiteX4" fmla="*/ 1063172 w 1230086"/>
                <a:gd name="connsiteY4" fmla="*/ 569685 h 776514"/>
                <a:gd name="connsiteX5" fmla="*/ 1124858 w 1230086"/>
                <a:gd name="connsiteY5" fmla="*/ 569685 h 776514"/>
                <a:gd name="connsiteX6" fmla="*/ 1197429 w 1230086"/>
                <a:gd name="connsiteY6" fmla="*/ 497114 h 776514"/>
                <a:gd name="connsiteX7" fmla="*/ 1168400 w 1230086"/>
                <a:gd name="connsiteY7" fmla="*/ 464457 h 776514"/>
                <a:gd name="connsiteX8" fmla="*/ 1230086 w 1230086"/>
                <a:gd name="connsiteY8" fmla="*/ 377371 h 776514"/>
                <a:gd name="connsiteX9" fmla="*/ 1215572 w 1230086"/>
                <a:gd name="connsiteY9" fmla="*/ 330200 h 776514"/>
                <a:gd name="connsiteX10" fmla="*/ 1037772 w 1230086"/>
                <a:gd name="connsiteY10" fmla="*/ 344714 h 776514"/>
                <a:gd name="connsiteX11" fmla="*/ 1052286 w 1230086"/>
                <a:gd name="connsiteY11" fmla="*/ 381000 h 776514"/>
                <a:gd name="connsiteX12" fmla="*/ 925286 w 1230086"/>
                <a:gd name="connsiteY12" fmla="*/ 406400 h 776514"/>
                <a:gd name="connsiteX13" fmla="*/ 928915 w 1230086"/>
                <a:gd name="connsiteY13" fmla="*/ 326571 h 776514"/>
                <a:gd name="connsiteX14" fmla="*/ 936172 w 1230086"/>
                <a:gd name="connsiteY14" fmla="*/ 261257 h 776514"/>
                <a:gd name="connsiteX15" fmla="*/ 928915 w 1230086"/>
                <a:gd name="connsiteY15" fmla="*/ 192314 h 776514"/>
                <a:gd name="connsiteX16" fmla="*/ 845458 w 1230086"/>
                <a:gd name="connsiteY16" fmla="*/ 148771 h 776514"/>
                <a:gd name="connsiteX17" fmla="*/ 841829 w 1230086"/>
                <a:gd name="connsiteY17" fmla="*/ 112485 h 776514"/>
                <a:gd name="connsiteX18" fmla="*/ 805543 w 1230086"/>
                <a:gd name="connsiteY18" fmla="*/ 32657 h 776514"/>
                <a:gd name="connsiteX19" fmla="*/ 635000 w 1230086"/>
                <a:gd name="connsiteY19" fmla="*/ 61685 h 776514"/>
                <a:gd name="connsiteX20" fmla="*/ 515258 w 1230086"/>
                <a:gd name="connsiteY20" fmla="*/ 50800 h 776514"/>
                <a:gd name="connsiteX21" fmla="*/ 457200 w 1230086"/>
                <a:gd name="connsiteY21" fmla="*/ 0 h 776514"/>
                <a:gd name="connsiteX22" fmla="*/ 315686 w 1230086"/>
                <a:gd name="connsiteY22" fmla="*/ 3628 h 776514"/>
                <a:gd name="connsiteX23" fmla="*/ 152400 w 1230086"/>
                <a:gd name="connsiteY23" fmla="*/ 257628 h 776514"/>
                <a:gd name="connsiteX24" fmla="*/ 0 w 1230086"/>
                <a:gd name="connsiteY24" fmla="*/ 406400 h 776514"/>
                <a:gd name="connsiteX25" fmla="*/ 174172 w 1230086"/>
                <a:gd name="connsiteY25" fmla="*/ 402771 h 776514"/>
                <a:gd name="connsiteX26" fmla="*/ 185058 w 1230086"/>
                <a:gd name="connsiteY26" fmla="*/ 424542 h 776514"/>
                <a:gd name="connsiteX27" fmla="*/ 268515 w 1230086"/>
                <a:gd name="connsiteY27" fmla="*/ 424542 h 776514"/>
                <a:gd name="connsiteX28" fmla="*/ 351972 w 1230086"/>
                <a:gd name="connsiteY28" fmla="*/ 468085 h 776514"/>
                <a:gd name="connsiteX29" fmla="*/ 453572 w 1230086"/>
                <a:gd name="connsiteY29" fmla="*/ 453571 h 776514"/>
                <a:gd name="connsiteX30" fmla="*/ 486229 w 1230086"/>
                <a:gd name="connsiteY30" fmla="*/ 489857 h 776514"/>
                <a:gd name="connsiteX31" fmla="*/ 486229 w 1230086"/>
                <a:gd name="connsiteY31" fmla="*/ 587828 h 776514"/>
                <a:gd name="connsiteX32" fmla="*/ 522515 w 1230086"/>
                <a:gd name="connsiteY32" fmla="*/ 656771 h 776514"/>
                <a:gd name="connsiteX33" fmla="*/ 602343 w 1230086"/>
                <a:gd name="connsiteY33" fmla="*/ 664028 h 776514"/>
                <a:gd name="connsiteX34" fmla="*/ 638629 w 1230086"/>
                <a:gd name="connsiteY34" fmla="*/ 736600 h 776514"/>
                <a:gd name="connsiteX35" fmla="*/ 732972 w 1230086"/>
                <a:gd name="connsiteY35" fmla="*/ 776514 h 776514"/>
                <a:gd name="connsiteX0" fmla="*/ 732972 w 1230086"/>
                <a:gd name="connsiteY0" fmla="*/ 776514 h 776514"/>
                <a:gd name="connsiteX1" fmla="*/ 914400 w 1230086"/>
                <a:gd name="connsiteY1" fmla="*/ 609600 h 776514"/>
                <a:gd name="connsiteX2" fmla="*/ 979715 w 1230086"/>
                <a:gd name="connsiteY2" fmla="*/ 595085 h 776514"/>
                <a:gd name="connsiteX3" fmla="*/ 979715 w 1230086"/>
                <a:gd name="connsiteY3" fmla="*/ 595085 h 776514"/>
                <a:gd name="connsiteX4" fmla="*/ 1063172 w 1230086"/>
                <a:gd name="connsiteY4" fmla="*/ 569685 h 776514"/>
                <a:gd name="connsiteX5" fmla="*/ 1124858 w 1230086"/>
                <a:gd name="connsiteY5" fmla="*/ 569685 h 776514"/>
                <a:gd name="connsiteX6" fmla="*/ 1197429 w 1230086"/>
                <a:gd name="connsiteY6" fmla="*/ 497114 h 776514"/>
                <a:gd name="connsiteX7" fmla="*/ 1168400 w 1230086"/>
                <a:gd name="connsiteY7" fmla="*/ 464457 h 776514"/>
                <a:gd name="connsiteX8" fmla="*/ 1230086 w 1230086"/>
                <a:gd name="connsiteY8" fmla="*/ 377371 h 776514"/>
                <a:gd name="connsiteX9" fmla="*/ 1215572 w 1230086"/>
                <a:gd name="connsiteY9" fmla="*/ 330200 h 776514"/>
                <a:gd name="connsiteX10" fmla="*/ 1056822 w 1230086"/>
                <a:gd name="connsiteY10" fmla="*/ 329474 h 776514"/>
                <a:gd name="connsiteX11" fmla="*/ 1052286 w 1230086"/>
                <a:gd name="connsiteY11" fmla="*/ 381000 h 776514"/>
                <a:gd name="connsiteX12" fmla="*/ 925286 w 1230086"/>
                <a:gd name="connsiteY12" fmla="*/ 406400 h 776514"/>
                <a:gd name="connsiteX13" fmla="*/ 928915 w 1230086"/>
                <a:gd name="connsiteY13" fmla="*/ 326571 h 776514"/>
                <a:gd name="connsiteX14" fmla="*/ 936172 w 1230086"/>
                <a:gd name="connsiteY14" fmla="*/ 261257 h 776514"/>
                <a:gd name="connsiteX15" fmla="*/ 928915 w 1230086"/>
                <a:gd name="connsiteY15" fmla="*/ 192314 h 776514"/>
                <a:gd name="connsiteX16" fmla="*/ 845458 w 1230086"/>
                <a:gd name="connsiteY16" fmla="*/ 148771 h 776514"/>
                <a:gd name="connsiteX17" fmla="*/ 841829 w 1230086"/>
                <a:gd name="connsiteY17" fmla="*/ 112485 h 776514"/>
                <a:gd name="connsiteX18" fmla="*/ 805543 w 1230086"/>
                <a:gd name="connsiteY18" fmla="*/ 32657 h 776514"/>
                <a:gd name="connsiteX19" fmla="*/ 635000 w 1230086"/>
                <a:gd name="connsiteY19" fmla="*/ 61685 h 776514"/>
                <a:gd name="connsiteX20" fmla="*/ 515258 w 1230086"/>
                <a:gd name="connsiteY20" fmla="*/ 50800 h 776514"/>
                <a:gd name="connsiteX21" fmla="*/ 457200 w 1230086"/>
                <a:gd name="connsiteY21" fmla="*/ 0 h 776514"/>
                <a:gd name="connsiteX22" fmla="*/ 315686 w 1230086"/>
                <a:gd name="connsiteY22" fmla="*/ 3628 h 776514"/>
                <a:gd name="connsiteX23" fmla="*/ 152400 w 1230086"/>
                <a:gd name="connsiteY23" fmla="*/ 257628 h 776514"/>
                <a:gd name="connsiteX24" fmla="*/ 0 w 1230086"/>
                <a:gd name="connsiteY24" fmla="*/ 406400 h 776514"/>
                <a:gd name="connsiteX25" fmla="*/ 174172 w 1230086"/>
                <a:gd name="connsiteY25" fmla="*/ 402771 h 776514"/>
                <a:gd name="connsiteX26" fmla="*/ 185058 w 1230086"/>
                <a:gd name="connsiteY26" fmla="*/ 424542 h 776514"/>
                <a:gd name="connsiteX27" fmla="*/ 268515 w 1230086"/>
                <a:gd name="connsiteY27" fmla="*/ 424542 h 776514"/>
                <a:gd name="connsiteX28" fmla="*/ 351972 w 1230086"/>
                <a:gd name="connsiteY28" fmla="*/ 468085 h 776514"/>
                <a:gd name="connsiteX29" fmla="*/ 453572 w 1230086"/>
                <a:gd name="connsiteY29" fmla="*/ 453571 h 776514"/>
                <a:gd name="connsiteX30" fmla="*/ 486229 w 1230086"/>
                <a:gd name="connsiteY30" fmla="*/ 489857 h 776514"/>
                <a:gd name="connsiteX31" fmla="*/ 486229 w 1230086"/>
                <a:gd name="connsiteY31" fmla="*/ 587828 h 776514"/>
                <a:gd name="connsiteX32" fmla="*/ 522515 w 1230086"/>
                <a:gd name="connsiteY32" fmla="*/ 656771 h 776514"/>
                <a:gd name="connsiteX33" fmla="*/ 602343 w 1230086"/>
                <a:gd name="connsiteY33" fmla="*/ 664028 h 776514"/>
                <a:gd name="connsiteX34" fmla="*/ 638629 w 1230086"/>
                <a:gd name="connsiteY34" fmla="*/ 736600 h 776514"/>
                <a:gd name="connsiteX35" fmla="*/ 732972 w 1230086"/>
                <a:gd name="connsiteY35" fmla="*/ 776514 h 776514"/>
                <a:gd name="connsiteX0" fmla="*/ 732972 w 1230086"/>
                <a:gd name="connsiteY0" fmla="*/ 776514 h 776514"/>
                <a:gd name="connsiteX1" fmla="*/ 914400 w 1230086"/>
                <a:gd name="connsiteY1" fmla="*/ 609600 h 776514"/>
                <a:gd name="connsiteX2" fmla="*/ 979715 w 1230086"/>
                <a:gd name="connsiteY2" fmla="*/ 595085 h 776514"/>
                <a:gd name="connsiteX3" fmla="*/ 979715 w 1230086"/>
                <a:gd name="connsiteY3" fmla="*/ 595085 h 776514"/>
                <a:gd name="connsiteX4" fmla="*/ 1063172 w 1230086"/>
                <a:gd name="connsiteY4" fmla="*/ 569685 h 776514"/>
                <a:gd name="connsiteX5" fmla="*/ 1124858 w 1230086"/>
                <a:gd name="connsiteY5" fmla="*/ 569685 h 776514"/>
                <a:gd name="connsiteX6" fmla="*/ 1197429 w 1230086"/>
                <a:gd name="connsiteY6" fmla="*/ 497114 h 776514"/>
                <a:gd name="connsiteX7" fmla="*/ 1191260 w 1230086"/>
                <a:gd name="connsiteY7" fmla="*/ 464457 h 776514"/>
                <a:gd name="connsiteX8" fmla="*/ 1230086 w 1230086"/>
                <a:gd name="connsiteY8" fmla="*/ 377371 h 776514"/>
                <a:gd name="connsiteX9" fmla="*/ 1215572 w 1230086"/>
                <a:gd name="connsiteY9" fmla="*/ 330200 h 776514"/>
                <a:gd name="connsiteX10" fmla="*/ 1056822 w 1230086"/>
                <a:gd name="connsiteY10" fmla="*/ 329474 h 776514"/>
                <a:gd name="connsiteX11" fmla="*/ 1052286 w 1230086"/>
                <a:gd name="connsiteY11" fmla="*/ 381000 h 776514"/>
                <a:gd name="connsiteX12" fmla="*/ 925286 w 1230086"/>
                <a:gd name="connsiteY12" fmla="*/ 406400 h 776514"/>
                <a:gd name="connsiteX13" fmla="*/ 928915 w 1230086"/>
                <a:gd name="connsiteY13" fmla="*/ 326571 h 776514"/>
                <a:gd name="connsiteX14" fmla="*/ 936172 w 1230086"/>
                <a:gd name="connsiteY14" fmla="*/ 261257 h 776514"/>
                <a:gd name="connsiteX15" fmla="*/ 928915 w 1230086"/>
                <a:gd name="connsiteY15" fmla="*/ 192314 h 776514"/>
                <a:gd name="connsiteX16" fmla="*/ 845458 w 1230086"/>
                <a:gd name="connsiteY16" fmla="*/ 148771 h 776514"/>
                <a:gd name="connsiteX17" fmla="*/ 841829 w 1230086"/>
                <a:gd name="connsiteY17" fmla="*/ 112485 h 776514"/>
                <a:gd name="connsiteX18" fmla="*/ 805543 w 1230086"/>
                <a:gd name="connsiteY18" fmla="*/ 32657 h 776514"/>
                <a:gd name="connsiteX19" fmla="*/ 635000 w 1230086"/>
                <a:gd name="connsiteY19" fmla="*/ 61685 h 776514"/>
                <a:gd name="connsiteX20" fmla="*/ 515258 w 1230086"/>
                <a:gd name="connsiteY20" fmla="*/ 50800 h 776514"/>
                <a:gd name="connsiteX21" fmla="*/ 457200 w 1230086"/>
                <a:gd name="connsiteY21" fmla="*/ 0 h 776514"/>
                <a:gd name="connsiteX22" fmla="*/ 315686 w 1230086"/>
                <a:gd name="connsiteY22" fmla="*/ 3628 h 776514"/>
                <a:gd name="connsiteX23" fmla="*/ 152400 w 1230086"/>
                <a:gd name="connsiteY23" fmla="*/ 257628 h 776514"/>
                <a:gd name="connsiteX24" fmla="*/ 0 w 1230086"/>
                <a:gd name="connsiteY24" fmla="*/ 406400 h 776514"/>
                <a:gd name="connsiteX25" fmla="*/ 174172 w 1230086"/>
                <a:gd name="connsiteY25" fmla="*/ 402771 h 776514"/>
                <a:gd name="connsiteX26" fmla="*/ 185058 w 1230086"/>
                <a:gd name="connsiteY26" fmla="*/ 424542 h 776514"/>
                <a:gd name="connsiteX27" fmla="*/ 268515 w 1230086"/>
                <a:gd name="connsiteY27" fmla="*/ 424542 h 776514"/>
                <a:gd name="connsiteX28" fmla="*/ 351972 w 1230086"/>
                <a:gd name="connsiteY28" fmla="*/ 468085 h 776514"/>
                <a:gd name="connsiteX29" fmla="*/ 453572 w 1230086"/>
                <a:gd name="connsiteY29" fmla="*/ 453571 h 776514"/>
                <a:gd name="connsiteX30" fmla="*/ 486229 w 1230086"/>
                <a:gd name="connsiteY30" fmla="*/ 489857 h 776514"/>
                <a:gd name="connsiteX31" fmla="*/ 486229 w 1230086"/>
                <a:gd name="connsiteY31" fmla="*/ 587828 h 776514"/>
                <a:gd name="connsiteX32" fmla="*/ 522515 w 1230086"/>
                <a:gd name="connsiteY32" fmla="*/ 656771 h 776514"/>
                <a:gd name="connsiteX33" fmla="*/ 602343 w 1230086"/>
                <a:gd name="connsiteY33" fmla="*/ 664028 h 776514"/>
                <a:gd name="connsiteX34" fmla="*/ 638629 w 1230086"/>
                <a:gd name="connsiteY34" fmla="*/ 736600 h 776514"/>
                <a:gd name="connsiteX35" fmla="*/ 732972 w 1230086"/>
                <a:gd name="connsiteY35" fmla="*/ 776514 h 776514"/>
                <a:gd name="connsiteX0" fmla="*/ 732972 w 1230086"/>
                <a:gd name="connsiteY0" fmla="*/ 776514 h 776514"/>
                <a:gd name="connsiteX1" fmla="*/ 914400 w 1230086"/>
                <a:gd name="connsiteY1" fmla="*/ 609600 h 776514"/>
                <a:gd name="connsiteX2" fmla="*/ 979715 w 1230086"/>
                <a:gd name="connsiteY2" fmla="*/ 595085 h 776514"/>
                <a:gd name="connsiteX3" fmla="*/ 979715 w 1230086"/>
                <a:gd name="connsiteY3" fmla="*/ 595085 h 776514"/>
                <a:gd name="connsiteX4" fmla="*/ 1063172 w 1230086"/>
                <a:gd name="connsiteY4" fmla="*/ 569685 h 776514"/>
                <a:gd name="connsiteX5" fmla="*/ 1124858 w 1230086"/>
                <a:gd name="connsiteY5" fmla="*/ 569685 h 776514"/>
                <a:gd name="connsiteX6" fmla="*/ 1197429 w 1230086"/>
                <a:gd name="connsiteY6" fmla="*/ 497114 h 776514"/>
                <a:gd name="connsiteX7" fmla="*/ 1191260 w 1230086"/>
                <a:gd name="connsiteY7" fmla="*/ 464457 h 776514"/>
                <a:gd name="connsiteX8" fmla="*/ 1230086 w 1230086"/>
                <a:gd name="connsiteY8" fmla="*/ 377371 h 776514"/>
                <a:gd name="connsiteX9" fmla="*/ 1215572 w 1230086"/>
                <a:gd name="connsiteY9" fmla="*/ 330200 h 776514"/>
                <a:gd name="connsiteX10" fmla="*/ 1056822 w 1230086"/>
                <a:gd name="connsiteY10" fmla="*/ 329474 h 776514"/>
                <a:gd name="connsiteX11" fmla="*/ 1052286 w 1230086"/>
                <a:gd name="connsiteY11" fmla="*/ 381000 h 776514"/>
                <a:gd name="connsiteX12" fmla="*/ 925286 w 1230086"/>
                <a:gd name="connsiteY12" fmla="*/ 406400 h 776514"/>
                <a:gd name="connsiteX13" fmla="*/ 928915 w 1230086"/>
                <a:gd name="connsiteY13" fmla="*/ 326571 h 776514"/>
                <a:gd name="connsiteX14" fmla="*/ 936172 w 1230086"/>
                <a:gd name="connsiteY14" fmla="*/ 261257 h 776514"/>
                <a:gd name="connsiteX15" fmla="*/ 928915 w 1230086"/>
                <a:gd name="connsiteY15" fmla="*/ 192314 h 776514"/>
                <a:gd name="connsiteX16" fmla="*/ 845458 w 1230086"/>
                <a:gd name="connsiteY16" fmla="*/ 148771 h 776514"/>
                <a:gd name="connsiteX17" fmla="*/ 841829 w 1230086"/>
                <a:gd name="connsiteY17" fmla="*/ 112485 h 776514"/>
                <a:gd name="connsiteX18" fmla="*/ 805543 w 1230086"/>
                <a:gd name="connsiteY18" fmla="*/ 32657 h 776514"/>
                <a:gd name="connsiteX19" fmla="*/ 635000 w 1230086"/>
                <a:gd name="connsiteY19" fmla="*/ 61685 h 776514"/>
                <a:gd name="connsiteX20" fmla="*/ 515258 w 1230086"/>
                <a:gd name="connsiteY20" fmla="*/ 50800 h 776514"/>
                <a:gd name="connsiteX21" fmla="*/ 457200 w 1230086"/>
                <a:gd name="connsiteY21" fmla="*/ 0 h 776514"/>
                <a:gd name="connsiteX22" fmla="*/ 315686 w 1230086"/>
                <a:gd name="connsiteY22" fmla="*/ 3628 h 776514"/>
                <a:gd name="connsiteX23" fmla="*/ 152400 w 1230086"/>
                <a:gd name="connsiteY23" fmla="*/ 257628 h 776514"/>
                <a:gd name="connsiteX24" fmla="*/ 0 w 1230086"/>
                <a:gd name="connsiteY24" fmla="*/ 406400 h 776514"/>
                <a:gd name="connsiteX25" fmla="*/ 174172 w 1230086"/>
                <a:gd name="connsiteY25" fmla="*/ 402771 h 776514"/>
                <a:gd name="connsiteX26" fmla="*/ 185058 w 1230086"/>
                <a:gd name="connsiteY26" fmla="*/ 424542 h 776514"/>
                <a:gd name="connsiteX27" fmla="*/ 268515 w 1230086"/>
                <a:gd name="connsiteY27" fmla="*/ 424542 h 776514"/>
                <a:gd name="connsiteX28" fmla="*/ 351972 w 1230086"/>
                <a:gd name="connsiteY28" fmla="*/ 468085 h 776514"/>
                <a:gd name="connsiteX29" fmla="*/ 453572 w 1230086"/>
                <a:gd name="connsiteY29" fmla="*/ 453571 h 776514"/>
                <a:gd name="connsiteX30" fmla="*/ 486229 w 1230086"/>
                <a:gd name="connsiteY30" fmla="*/ 489857 h 776514"/>
                <a:gd name="connsiteX31" fmla="*/ 486229 w 1230086"/>
                <a:gd name="connsiteY31" fmla="*/ 587828 h 776514"/>
                <a:gd name="connsiteX32" fmla="*/ 522515 w 1230086"/>
                <a:gd name="connsiteY32" fmla="*/ 656771 h 776514"/>
                <a:gd name="connsiteX33" fmla="*/ 602343 w 1230086"/>
                <a:gd name="connsiteY33" fmla="*/ 664028 h 776514"/>
                <a:gd name="connsiteX34" fmla="*/ 638629 w 1230086"/>
                <a:gd name="connsiteY34" fmla="*/ 736600 h 776514"/>
                <a:gd name="connsiteX35" fmla="*/ 732972 w 1230086"/>
                <a:gd name="connsiteY35" fmla="*/ 776514 h 77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30086" h="776514">
                  <a:moveTo>
                    <a:pt x="732972" y="776514"/>
                  </a:moveTo>
                  <a:lnTo>
                    <a:pt x="914400" y="609600"/>
                  </a:lnTo>
                  <a:lnTo>
                    <a:pt x="979715" y="595085"/>
                  </a:lnTo>
                  <a:lnTo>
                    <a:pt x="979715" y="595085"/>
                  </a:lnTo>
                  <a:lnTo>
                    <a:pt x="1063172" y="569685"/>
                  </a:lnTo>
                  <a:lnTo>
                    <a:pt x="1124858" y="569685"/>
                  </a:lnTo>
                  <a:lnTo>
                    <a:pt x="1197429" y="497114"/>
                  </a:lnTo>
                  <a:cubicBezTo>
                    <a:pt x="1195373" y="486228"/>
                    <a:pt x="1204746" y="475343"/>
                    <a:pt x="1191260" y="464457"/>
                  </a:cubicBezTo>
                  <a:lnTo>
                    <a:pt x="1230086" y="377371"/>
                  </a:lnTo>
                  <a:lnTo>
                    <a:pt x="1215572" y="330200"/>
                  </a:lnTo>
                  <a:lnTo>
                    <a:pt x="1056822" y="329474"/>
                  </a:lnTo>
                  <a:lnTo>
                    <a:pt x="1052286" y="381000"/>
                  </a:lnTo>
                  <a:lnTo>
                    <a:pt x="925286" y="406400"/>
                  </a:lnTo>
                  <a:lnTo>
                    <a:pt x="928915" y="326571"/>
                  </a:lnTo>
                  <a:lnTo>
                    <a:pt x="936172" y="261257"/>
                  </a:lnTo>
                  <a:lnTo>
                    <a:pt x="928915" y="192314"/>
                  </a:lnTo>
                  <a:lnTo>
                    <a:pt x="845458" y="148771"/>
                  </a:lnTo>
                  <a:lnTo>
                    <a:pt x="841829" y="112485"/>
                  </a:lnTo>
                  <a:lnTo>
                    <a:pt x="805543" y="32657"/>
                  </a:lnTo>
                  <a:lnTo>
                    <a:pt x="635000" y="61685"/>
                  </a:lnTo>
                  <a:lnTo>
                    <a:pt x="515258" y="50800"/>
                  </a:lnTo>
                  <a:lnTo>
                    <a:pt x="457200" y="0"/>
                  </a:lnTo>
                  <a:lnTo>
                    <a:pt x="315686" y="3628"/>
                  </a:lnTo>
                  <a:lnTo>
                    <a:pt x="152400" y="257628"/>
                  </a:lnTo>
                  <a:lnTo>
                    <a:pt x="0" y="406400"/>
                  </a:lnTo>
                  <a:lnTo>
                    <a:pt x="174172" y="402771"/>
                  </a:lnTo>
                  <a:lnTo>
                    <a:pt x="185058" y="424542"/>
                  </a:lnTo>
                  <a:lnTo>
                    <a:pt x="268515" y="424542"/>
                  </a:lnTo>
                  <a:lnTo>
                    <a:pt x="351972" y="468085"/>
                  </a:lnTo>
                  <a:lnTo>
                    <a:pt x="453572" y="453571"/>
                  </a:lnTo>
                  <a:lnTo>
                    <a:pt x="486229" y="489857"/>
                  </a:lnTo>
                  <a:lnTo>
                    <a:pt x="486229" y="587828"/>
                  </a:lnTo>
                  <a:lnTo>
                    <a:pt x="522515" y="656771"/>
                  </a:lnTo>
                  <a:lnTo>
                    <a:pt x="602343" y="664028"/>
                  </a:lnTo>
                  <a:lnTo>
                    <a:pt x="638629" y="736600"/>
                  </a:lnTo>
                  <a:lnTo>
                    <a:pt x="732972" y="776514"/>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4" name="Freeform 42">
              <a:extLst>
                <a:ext uri="{FF2B5EF4-FFF2-40B4-BE49-F238E27FC236}">
                  <a16:creationId xmlns:a16="http://schemas.microsoft.com/office/drawing/2014/main" id="{54AD1309-FA03-4287-A3C1-0515FDECD43A}"/>
                </a:ext>
              </a:extLst>
            </p:cNvPr>
            <p:cNvSpPr/>
            <p:nvPr/>
          </p:nvSpPr>
          <p:spPr>
            <a:xfrm>
              <a:off x="9884750" y="4639103"/>
              <a:ext cx="569912" cy="384176"/>
            </a:xfrm>
            <a:custGeom>
              <a:avLst/>
              <a:gdLst>
                <a:gd name="connsiteX0" fmla="*/ 0 w 569686"/>
                <a:gd name="connsiteY0" fmla="*/ 384629 h 384629"/>
                <a:gd name="connsiteX1" fmla="*/ 90715 w 569686"/>
                <a:gd name="connsiteY1" fmla="*/ 377372 h 384629"/>
                <a:gd name="connsiteX2" fmla="*/ 39915 w 569686"/>
                <a:gd name="connsiteY2" fmla="*/ 333829 h 384629"/>
                <a:gd name="connsiteX3" fmla="*/ 65315 w 569686"/>
                <a:gd name="connsiteY3" fmla="*/ 308429 h 384629"/>
                <a:gd name="connsiteX4" fmla="*/ 97972 w 569686"/>
                <a:gd name="connsiteY4" fmla="*/ 322943 h 384629"/>
                <a:gd name="connsiteX5" fmla="*/ 199572 w 569686"/>
                <a:gd name="connsiteY5" fmla="*/ 322943 h 384629"/>
                <a:gd name="connsiteX6" fmla="*/ 275772 w 569686"/>
                <a:gd name="connsiteY6" fmla="*/ 279400 h 384629"/>
                <a:gd name="connsiteX7" fmla="*/ 275772 w 569686"/>
                <a:gd name="connsiteY7" fmla="*/ 330200 h 384629"/>
                <a:gd name="connsiteX8" fmla="*/ 468086 w 569686"/>
                <a:gd name="connsiteY8" fmla="*/ 322943 h 384629"/>
                <a:gd name="connsiteX9" fmla="*/ 446315 w 569686"/>
                <a:gd name="connsiteY9" fmla="*/ 235858 h 384629"/>
                <a:gd name="connsiteX10" fmla="*/ 569686 w 569686"/>
                <a:gd name="connsiteY10" fmla="*/ 177800 h 384629"/>
                <a:gd name="connsiteX11" fmla="*/ 569686 w 569686"/>
                <a:gd name="connsiteY11" fmla="*/ 72572 h 384629"/>
                <a:gd name="connsiteX12" fmla="*/ 482600 w 569686"/>
                <a:gd name="connsiteY12" fmla="*/ 61686 h 384629"/>
                <a:gd name="connsiteX13" fmla="*/ 442686 w 569686"/>
                <a:gd name="connsiteY13" fmla="*/ 0 h 384629"/>
                <a:gd name="connsiteX14" fmla="*/ 373743 w 569686"/>
                <a:gd name="connsiteY14" fmla="*/ 25400 h 384629"/>
                <a:gd name="connsiteX15" fmla="*/ 410029 w 569686"/>
                <a:gd name="connsiteY15" fmla="*/ 65315 h 384629"/>
                <a:gd name="connsiteX16" fmla="*/ 370115 w 569686"/>
                <a:gd name="connsiteY16" fmla="*/ 79829 h 384629"/>
                <a:gd name="connsiteX17" fmla="*/ 370115 w 569686"/>
                <a:gd name="connsiteY17" fmla="*/ 137886 h 384629"/>
                <a:gd name="connsiteX18" fmla="*/ 330200 w 569686"/>
                <a:gd name="connsiteY18" fmla="*/ 166915 h 384629"/>
                <a:gd name="connsiteX19" fmla="*/ 290286 w 569686"/>
                <a:gd name="connsiteY19" fmla="*/ 141515 h 384629"/>
                <a:gd name="connsiteX20" fmla="*/ 224972 w 569686"/>
                <a:gd name="connsiteY20" fmla="*/ 170543 h 384629"/>
                <a:gd name="connsiteX21" fmla="*/ 25400 w 569686"/>
                <a:gd name="connsiteY21" fmla="*/ 221343 h 384629"/>
                <a:gd name="connsiteX22" fmla="*/ 32657 w 569686"/>
                <a:gd name="connsiteY22" fmla="*/ 264886 h 384629"/>
                <a:gd name="connsiteX23" fmla="*/ 0 w 569686"/>
                <a:gd name="connsiteY23" fmla="*/ 384629 h 384629"/>
                <a:gd name="connsiteX0" fmla="*/ 0 w 569686"/>
                <a:gd name="connsiteY0" fmla="*/ 384629 h 384629"/>
                <a:gd name="connsiteX1" fmla="*/ 90715 w 569686"/>
                <a:gd name="connsiteY1" fmla="*/ 377372 h 384629"/>
                <a:gd name="connsiteX2" fmla="*/ 39915 w 569686"/>
                <a:gd name="connsiteY2" fmla="*/ 333829 h 384629"/>
                <a:gd name="connsiteX3" fmla="*/ 65315 w 569686"/>
                <a:gd name="connsiteY3" fmla="*/ 308429 h 384629"/>
                <a:gd name="connsiteX4" fmla="*/ 97972 w 569686"/>
                <a:gd name="connsiteY4" fmla="*/ 322943 h 384629"/>
                <a:gd name="connsiteX5" fmla="*/ 199572 w 569686"/>
                <a:gd name="connsiteY5" fmla="*/ 322943 h 384629"/>
                <a:gd name="connsiteX6" fmla="*/ 275772 w 569686"/>
                <a:gd name="connsiteY6" fmla="*/ 279400 h 384629"/>
                <a:gd name="connsiteX7" fmla="*/ 275772 w 569686"/>
                <a:gd name="connsiteY7" fmla="*/ 330200 h 384629"/>
                <a:gd name="connsiteX8" fmla="*/ 468086 w 569686"/>
                <a:gd name="connsiteY8" fmla="*/ 322943 h 384629"/>
                <a:gd name="connsiteX9" fmla="*/ 446315 w 569686"/>
                <a:gd name="connsiteY9" fmla="*/ 235858 h 384629"/>
                <a:gd name="connsiteX10" fmla="*/ 569686 w 569686"/>
                <a:gd name="connsiteY10" fmla="*/ 177800 h 384629"/>
                <a:gd name="connsiteX11" fmla="*/ 569686 w 569686"/>
                <a:gd name="connsiteY11" fmla="*/ 57332 h 384629"/>
                <a:gd name="connsiteX12" fmla="*/ 482600 w 569686"/>
                <a:gd name="connsiteY12" fmla="*/ 61686 h 384629"/>
                <a:gd name="connsiteX13" fmla="*/ 442686 w 569686"/>
                <a:gd name="connsiteY13" fmla="*/ 0 h 384629"/>
                <a:gd name="connsiteX14" fmla="*/ 373743 w 569686"/>
                <a:gd name="connsiteY14" fmla="*/ 25400 h 384629"/>
                <a:gd name="connsiteX15" fmla="*/ 410029 w 569686"/>
                <a:gd name="connsiteY15" fmla="*/ 65315 h 384629"/>
                <a:gd name="connsiteX16" fmla="*/ 370115 w 569686"/>
                <a:gd name="connsiteY16" fmla="*/ 79829 h 384629"/>
                <a:gd name="connsiteX17" fmla="*/ 370115 w 569686"/>
                <a:gd name="connsiteY17" fmla="*/ 137886 h 384629"/>
                <a:gd name="connsiteX18" fmla="*/ 330200 w 569686"/>
                <a:gd name="connsiteY18" fmla="*/ 166915 h 384629"/>
                <a:gd name="connsiteX19" fmla="*/ 290286 w 569686"/>
                <a:gd name="connsiteY19" fmla="*/ 141515 h 384629"/>
                <a:gd name="connsiteX20" fmla="*/ 224972 w 569686"/>
                <a:gd name="connsiteY20" fmla="*/ 170543 h 384629"/>
                <a:gd name="connsiteX21" fmla="*/ 25400 w 569686"/>
                <a:gd name="connsiteY21" fmla="*/ 221343 h 384629"/>
                <a:gd name="connsiteX22" fmla="*/ 32657 w 569686"/>
                <a:gd name="connsiteY22" fmla="*/ 264886 h 384629"/>
                <a:gd name="connsiteX23" fmla="*/ 0 w 569686"/>
                <a:gd name="connsiteY23" fmla="*/ 384629 h 38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9686" h="384629">
                  <a:moveTo>
                    <a:pt x="0" y="384629"/>
                  </a:moveTo>
                  <a:lnTo>
                    <a:pt x="90715" y="377372"/>
                  </a:lnTo>
                  <a:lnTo>
                    <a:pt x="39915" y="333829"/>
                  </a:lnTo>
                  <a:lnTo>
                    <a:pt x="65315" y="308429"/>
                  </a:lnTo>
                  <a:lnTo>
                    <a:pt x="97972" y="322943"/>
                  </a:lnTo>
                  <a:lnTo>
                    <a:pt x="199572" y="322943"/>
                  </a:lnTo>
                  <a:lnTo>
                    <a:pt x="275772" y="279400"/>
                  </a:lnTo>
                  <a:lnTo>
                    <a:pt x="275772" y="330200"/>
                  </a:lnTo>
                  <a:lnTo>
                    <a:pt x="468086" y="322943"/>
                  </a:lnTo>
                  <a:lnTo>
                    <a:pt x="446315" y="235858"/>
                  </a:lnTo>
                  <a:lnTo>
                    <a:pt x="569686" y="177800"/>
                  </a:lnTo>
                  <a:lnTo>
                    <a:pt x="569686" y="57332"/>
                  </a:lnTo>
                  <a:lnTo>
                    <a:pt x="482600" y="61686"/>
                  </a:lnTo>
                  <a:lnTo>
                    <a:pt x="442686" y="0"/>
                  </a:lnTo>
                  <a:lnTo>
                    <a:pt x="373743" y="25400"/>
                  </a:lnTo>
                  <a:lnTo>
                    <a:pt x="410029" y="65315"/>
                  </a:lnTo>
                  <a:lnTo>
                    <a:pt x="370115" y="79829"/>
                  </a:lnTo>
                  <a:lnTo>
                    <a:pt x="370115" y="137886"/>
                  </a:lnTo>
                  <a:lnTo>
                    <a:pt x="330200" y="166915"/>
                  </a:lnTo>
                  <a:lnTo>
                    <a:pt x="290286" y="141515"/>
                  </a:lnTo>
                  <a:lnTo>
                    <a:pt x="224972" y="170543"/>
                  </a:lnTo>
                  <a:lnTo>
                    <a:pt x="25400" y="221343"/>
                  </a:lnTo>
                  <a:lnTo>
                    <a:pt x="32657" y="264886"/>
                  </a:lnTo>
                  <a:lnTo>
                    <a:pt x="0" y="384629"/>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5" name="Freeform 46">
              <a:extLst>
                <a:ext uri="{FF2B5EF4-FFF2-40B4-BE49-F238E27FC236}">
                  <a16:creationId xmlns:a16="http://schemas.microsoft.com/office/drawing/2014/main" id="{CF95B550-47CE-40B7-BC39-6A53EDB5B93F}"/>
                </a:ext>
              </a:extLst>
            </p:cNvPr>
            <p:cNvSpPr/>
            <p:nvPr/>
          </p:nvSpPr>
          <p:spPr>
            <a:xfrm>
              <a:off x="10316550" y="4173966"/>
              <a:ext cx="333375" cy="522287"/>
            </a:xfrm>
            <a:custGeom>
              <a:avLst/>
              <a:gdLst>
                <a:gd name="connsiteX0" fmla="*/ 148772 w 333829"/>
                <a:gd name="connsiteY0" fmla="*/ 522515 h 522515"/>
                <a:gd name="connsiteX1" fmla="*/ 235857 w 333829"/>
                <a:gd name="connsiteY1" fmla="*/ 442686 h 522515"/>
                <a:gd name="connsiteX2" fmla="*/ 250372 w 333829"/>
                <a:gd name="connsiteY2" fmla="*/ 326572 h 522515"/>
                <a:gd name="connsiteX3" fmla="*/ 333829 w 333829"/>
                <a:gd name="connsiteY3" fmla="*/ 217715 h 522515"/>
                <a:gd name="connsiteX4" fmla="*/ 326572 w 333829"/>
                <a:gd name="connsiteY4" fmla="*/ 79829 h 522515"/>
                <a:gd name="connsiteX5" fmla="*/ 177800 w 333829"/>
                <a:gd name="connsiteY5" fmla="*/ 0 h 522515"/>
                <a:gd name="connsiteX6" fmla="*/ 188686 w 333829"/>
                <a:gd name="connsiteY6" fmla="*/ 65315 h 522515"/>
                <a:gd name="connsiteX7" fmla="*/ 123372 w 333829"/>
                <a:gd name="connsiteY7" fmla="*/ 61686 h 522515"/>
                <a:gd name="connsiteX8" fmla="*/ 119743 w 333829"/>
                <a:gd name="connsiteY8" fmla="*/ 134257 h 522515"/>
                <a:gd name="connsiteX9" fmla="*/ 79829 w 333829"/>
                <a:gd name="connsiteY9" fmla="*/ 152400 h 522515"/>
                <a:gd name="connsiteX10" fmla="*/ 145143 w 333829"/>
                <a:gd name="connsiteY10" fmla="*/ 221343 h 522515"/>
                <a:gd name="connsiteX11" fmla="*/ 134257 w 333829"/>
                <a:gd name="connsiteY11" fmla="*/ 279400 h 522515"/>
                <a:gd name="connsiteX12" fmla="*/ 101600 w 333829"/>
                <a:gd name="connsiteY12" fmla="*/ 279400 h 522515"/>
                <a:gd name="connsiteX13" fmla="*/ 72572 w 333829"/>
                <a:gd name="connsiteY13" fmla="*/ 370115 h 522515"/>
                <a:gd name="connsiteX14" fmla="*/ 3629 w 333829"/>
                <a:gd name="connsiteY14" fmla="*/ 370115 h 522515"/>
                <a:gd name="connsiteX15" fmla="*/ 0 w 333829"/>
                <a:gd name="connsiteY15" fmla="*/ 471715 h 522515"/>
                <a:gd name="connsiteX16" fmla="*/ 47172 w 333829"/>
                <a:gd name="connsiteY16" fmla="*/ 518886 h 522515"/>
                <a:gd name="connsiteX17" fmla="*/ 148772 w 333829"/>
                <a:gd name="connsiteY17" fmla="*/ 522515 h 52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3829" h="522515">
                  <a:moveTo>
                    <a:pt x="148772" y="522515"/>
                  </a:moveTo>
                  <a:lnTo>
                    <a:pt x="235857" y="442686"/>
                  </a:lnTo>
                  <a:lnTo>
                    <a:pt x="250372" y="326572"/>
                  </a:lnTo>
                  <a:lnTo>
                    <a:pt x="333829" y="217715"/>
                  </a:lnTo>
                  <a:lnTo>
                    <a:pt x="326572" y="79829"/>
                  </a:lnTo>
                  <a:lnTo>
                    <a:pt x="177800" y="0"/>
                  </a:lnTo>
                  <a:lnTo>
                    <a:pt x="188686" y="65315"/>
                  </a:lnTo>
                  <a:lnTo>
                    <a:pt x="123372" y="61686"/>
                  </a:lnTo>
                  <a:lnTo>
                    <a:pt x="119743" y="134257"/>
                  </a:lnTo>
                  <a:lnTo>
                    <a:pt x="79829" y="152400"/>
                  </a:lnTo>
                  <a:lnTo>
                    <a:pt x="145143" y="221343"/>
                  </a:lnTo>
                  <a:lnTo>
                    <a:pt x="134257" y="279400"/>
                  </a:lnTo>
                  <a:lnTo>
                    <a:pt x="101600" y="279400"/>
                  </a:lnTo>
                  <a:lnTo>
                    <a:pt x="72572" y="370115"/>
                  </a:lnTo>
                  <a:lnTo>
                    <a:pt x="3629" y="370115"/>
                  </a:lnTo>
                  <a:lnTo>
                    <a:pt x="0" y="471715"/>
                  </a:lnTo>
                  <a:lnTo>
                    <a:pt x="47172" y="518886"/>
                  </a:lnTo>
                  <a:lnTo>
                    <a:pt x="148772" y="522515"/>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6" name="Freeform 54">
              <a:extLst>
                <a:ext uri="{FF2B5EF4-FFF2-40B4-BE49-F238E27FC236}">
                  <a16:creationId xmlns:a16="http://schemas.microsoft.com/office/drawing/2014/main" id="{062DD4FF-C45E-4ED2-935F-0FCE0F06CB97}"/>
                </a:ext>
              </a:extLst>
            </p:cNvPr>
            <p:cNvSpPr/>
            <p:nvPr/>
          </p:nvSpPr>
          <p:spPr>
            <a:xfrm>
              <a:off x="9024326" y="3643741"/>
              <a:ext cx="1568449" cy="1274763"/>
            </a:xfrm>
            <a:custGeom>
              <a:avLst/>
              <a:gdLst>
                <a:gd name="connsiteX0" fmla="*/ 1542143 w 1567543"/>
                <a:gd name="connsiteY0" fmla="*/ 551543 h 1273628"/>
                <a:gd name="connsiteX1" fmla="*/ 1527628 w 1567543"/>
                <a:gd name="connsiteY1" fmla="*/ 497114 h 1273628"/>
                <a:gd name="connsiteX2" fmla="*/ 1527628 w 1567543"/>
                <a:gd name="connsiteY2" fmla="*/ 497114 h 1273628"/>
                <a:gd name="connsiteX3" fmla="*/ 1498600 w 1567543"/>
                <a:gd name="connsiteY3" fmla="*/ 497114 h 1273628"/>
                <a:gd name="connsiteX4" fmla="*/ 1498600 w 1567543"/>
                <a:gd name="connsiteY4" fmla="*/ 428171 h 1273628"/>
                <a:gd name="connsiteX5" fmla="*/ 1527628 w 1567543"/>
                <a:gd name="connsiteY5" fmla="*/ 373743 h 1273628"/>
                <a:gd name="connsiteX6" fmla="*/ 1549400 w 1567543"/>
                <a:gd name="connsiteY6" fmla="*/ 330200 h 1273628"/>
                <a:gd name="connsiteX7" fmla="*/ 1567543 w 1567543"/>
                <a:gd name="connsiteY7" fmla="*/ 275771 h 1273628"/>
                <a:gd name="connsiteX8" fmla="*/ 1513114 w 1567543"/>
                <a:gd name="connsiteY8" fmla="*/ 206828 h 1273628"/>
                <a:gd name="connsiteX9" fmla="*/ 1418771 w 1567543"/>
                <a:gd name="connsiteY9" fmla="*/ 195943 h 1273628"/>
                <a:gd name="connsiteX10" fmla="*/ 1386114 w 1567543"/>
                <a:gd name="connsiteY10" fmla="*/ 217714 h 1273628"/>
                <a:gd name="connsiteX11" fmla="*/ 1357086 w 1567543"/>
                <a:gd name="connsiteY11" fmla="*/ 181428 h 1273628"/>
                <a:gd name="connsiteX12" fmla="*/ 1270000 w 1567543"/>
                <a:gd name="connsiteY12" fmla="*/ 116114 h 1273628"/>
                <a:gd name="connsiteX13" fmla="*/ 1219200 w 1567543"/>
                <a:gd name="connsiteY13" fmla="*/ 134257 h 1273628"/>
                <a:gd name="connsiteX14" fmla="*/ 1182914 w 1567543"/>
                <a:gd name="connsiteY14" fmla="*/ 87086 h 1273628"/>
                <a:gd name="connsiteX15" fmla="*/ 1146628 w 1567543"/>
                <a:gd name="connsiteY15" fmla="*/ 72571 h 1273628"/>
                <a:gd name="connsiteX16" fmla="*/ 1124857 w 1567543"/>
                <a:gd name="connsiteY16" fmla="*/ 29028 h 1273628"/>
                <a:gd name="connsiteX17" fmla="*/ 1070428 w 1567543"/>
                <a:gd name="connsiteY17" fmla="*/ 29028 h 1273628"/>
                <a:gd name="connsiteX18" fmla="*/ 1045028 w 1567543"/>
                <a:gd name="connsiteY18" fmla="*/ 58057 h 1273628"/>
                <a:gd name="connsiteX19" fmla="*/ 990600 w 1567543"/>
                <a:gd name="connsiteY19" fmla="*/ 0 h 1273628"/>
                <a:gd name="connsiteX20" fmla="*/ 870857 w 1567543"/>
                <a:gd name="connsiteY20" fmla="*/ 25400 h 1273628"/>
                <a:gd name="connsiteX21" fmla="*/ 867228 w 1567543"/>
                <a:gd name="connsiteY21" fmla="*/ 58057 h 1273628"/>
                <a:gd name="connsiteX22" fmla="*/ 762000 w 1567543"/>
                <a:gd name="connsiteY22" fmla="*/ 108857 h 1273628"/>
                <a:gd name="connsiteX23" fmla="*/ 722086 w 1567543"/>
                <a:gd name="connsiteY23" fmla="*/ 123371 h 1273628"/>
                <a:gd name="connsiteX24" fmla="*/ 667657 w 1567543"/>
                <a:gd name="connsiteY24" fmla="*/ 148771 h 1273628"/>
                <a:gd name="connsiteX25" fmla="*/ 667657 w 1567543"/>
                <a:gd name="connsiteY25" fmla="*/ 94343 h 1273628"/>
                <a:gd name="connsiteX26" fmla="*/ 620486 w 1567543"/>
                <a:gd name="connsiteY26" fmla="*/ 54428 h 1273628"/>
                <a:gd name="connsiteX27" fmla="*/ 605971 w 1567543"/>
                <a:gd name="connsiteY27" fmla="*/ 76200 h 1273628"/>
                <a:gd name="connsiteX28" fmla="*/ 620486 w 1567543"/>
                <a:gd name="connsiteY28" fmla="*/ 108857 h 1273628"/>
                <a:gd name="connsiteX29" fmla="*/ 598714 w 1567543"/>
                <a:gd name="connsiteY29" fmla="*/ 119743 h 1273628"/>
                <a:gd name="connsiteX30" fmla="*/ 580571 w 1567543"/>
                <a:gd name="connsiteY30" fmla="*/ 97971 h 1273628"/>
                <a:gd name="connsiteX31" fmla="*/ 566057 w 1567543"/>
                <a:gd name="connsiteY31" fmla="*/ 127000 h 1273628"/>
                <a:gd name="connsiteX32" fmla="*/ 584200 w 1567543"/>
                <a:gd name="connsiteY32" fmla="*/ 174171 h 1273628"/>
                <a:gd name="connsiteX33" fmla="*/ 555171 w 1567543"/>
                <a:gd name="connsiteY33" fmla="*/ 177800 h 1273628"/>
                <a:gd name="connsiteX34" fmla="*/ 573314 w 1567543"/>
                <a:gd name="connsiteY34" fmla="*/ 228600 h 1273628"/>
                <a:gd name="connsiteX35" fmla="*/ 482600 w 1567543"/>
                <a:gd name="connsiteY35" fmla="*/ 330200 h 1273628"/>
                <a:gd name="connsiteX36" fmla="*/ 518886 w 1567543"/>
                <a:gd name="connsiteY36" fmla="*/ 399143 h 1273628"/>
                <a:gd name="connsiteX37" fmla="*/ 475343 w 1567543"/>
                <a:gd name="connsiteY37" fmla="*/ 457200 h 1273628"/>
                <a:gd name="connsiteX38" fmla="*/ 508000 w 1567543"/>
                <a:gd name="connsiteY38" fmla="*/ 475343 h 1273628"/>
                <a:gd name="connsiteX39" fmla="*/ 511628 w 1567543"/>
                <a:gd name="connsiteY39" fmla="*/ 504371 h 1273628"/>
                <a:gd name="connsiteX40" fmla="*/ 478971 w 1567543"/>
                <a:gd name="connsiteY40" fmla="*/ 529771 h 1273628"/>
                <a:gd name="connsiteX41" fmla="*/ 482600 w 1567543"/>
                <a:gd name="connsiteY41" fmla="*/ 576943 h 1273628"/>
                <a:gd name="connsiteX42" fmla="*/ 478971 w 1567543"/>
                <a:gd name="connsiteY42" fmla="*/ 587828 h 1273628"/>
                <a:gd name="connsiteX43" fmla="*/ 399143 w 1567543"/>
                <a:gd name="connsiteY43" fmla="*/ 638628 h 1273628"/>
                <a:gd name="connsiteX44" fmla="*/ 304800 w 1567543"/>
                <a:gd name="connsiteY44" fmla="*/ 616857 h 1273628"/>
                <a:gd name="connsiteX45" fmla="*/ 232228 w 1567543"/>
                <a:gd name="connsiteY45" fmla="*/ 674914 h 1273628"/>
                <a:gd name="connsiteX46" fmla="*/ 83457 w 1567543"/>
                <a:gd name="connsiteY46" fmla="*/ 711200 h 1273628"/>
                <a:gd name="connsiteX47" fmla="*/ 7257 w 1567543"/>
                <a:gd name="connsiteY47" fmla="*/ 791028 h 1273628"/>
                <a:gd name="connsiteX48" fmla="*/ 0 w 1567543"/>
                <a:gd name="connsiteY48" fmla="*/ 881743 h 1273628"/>
                <a:gd name="connsiteX49" fmla="*/ 116114 w 1567543"/>
                <a:gd name="connsiteY49" fmla="*/ 867228 h 1273628"/>
                <a:gd name="connsiteX50" fmla="*/ 188686 w 1567543"/>
                <a:gd name="connsiteY50" fmla="*/ 932543 h 1273628"/>
                <a:gd name="connsiteX51" fmla="*/ 319314 w 1567543"/>
                <a:gd name="connsiteY51" fmla="*/ 939800 h 1273628"/>
                <a:gd name="connsiteX52" fmla="*/ 453571 w 1567543"/>
                <a:gd name="connsiteY52" fmla="*/ 914400 h 1273628"/>
                <a:gd name="connsiteX53" fmla="*/ 508000 w 1567543"/>
                <a:gd name="connsiteY53" fmla="*/ 961571 h 1273628"/>
                <a:gd name="connsiteX54" fmla="*/ 518886 w 1567543"/>
                <a:gd name="connsiteY54" fmla="*/ 1037771 h 1273628"/>
                <a:gd name="connsiteX55" fmla="*/ 605971 w 1567543"/>
                <a:gd name="connsiteY55" fmla="*/ 1081314 h 1273628"/>
                <a:gd name="connsiteX56" fmla="*/ 613228 w 1567543"/>
                <a:gd name="connsiteY56" fmla="*/ 1273628 h 1273628"/>
                <a:gd name="connsiteX57" fmla="*/ 725714 w 1567543"/>
                <a:gd name="connsiteY57" fmla="*/ 1251857 h 1273628"/>
                <a:gd name="connsiteX58" fmla="*/ 725714 w 1567543"/>
                <a:gd name="connsiteY58" fmla="*/ 1251857 h 1273628"/>
                <a:gd name="connsiteX59" fmla="*/ 722086 w 1567543"/>
                <a:gd name="connsiteY59" fmla="*/ 1208314 h 1273628"/>
                <a:gd name="connsiteX60" fmla="*/ 885371 w 1567543"/>
                <a:gd name="connsiteY60" fmla="*/ 1197428 h 1273628"/>
                <a:gd name="connsiteX61" fmla="*/ 925286 w 1567543"/>
                <a:gd name="connsiteY61" fmla="*/ 1208314 h 1273628"/>
                <a:gd name="connsiteX62" fmla="*/ 1161143 w 1567543"/>
                <a:gd name="connsiteY62" fmla="*/ 1143000 h 1273628"/>
                <a:gd name="connsiteX63" fmla="*/ 1204686 w 1567543"/>
                <a:gd name="connsiteY63" fmla="*/ 1164771 h 1273628"/>
                <a:gd name="connsiteX64" fmla="*/ 1240971 w 1567543"/>
                <a:gd name="connsiteY64" fmla="*/ 1135743 h 1273628"/>
                <a:gd name="connsiteX65" fmla="*/ 1226457 w 1567543"/>
                <a:gd name="connsiteY65" fmla="*/ 1066800 h 1273628"/>
                <a:gd name="connsiteX66" fmla="*/ 1262743 w 1567543"/>
                <a:gd name="connsiteY66" fmla="*/ 1052286 h 1273628"/>
                <a:gd name="connsiteX67" fmla="*/ 1248228 w 1567543"/>
                <a:gd name="connsiteY67" fmla="*/ 1019628 h 1273628"/>
                <a:gd name="connsiteX68" fmla="*/ 1295400 w 1567543"/>
                <a:gd name="connsiteY68" fmla="*/ 990600 h 1273628"/>
                <a:gd name="connsiteX69" fmla="*/ 1302657 w 1567543"/>
                <a:gd name="connsiteY69" fmla="*/ 896257 h 1273628"/>
                <a:gd name="connsiteX70" fmla="*/ 1367971 w 1567543"/>
                <a:gd name="connsiteY70" fmla="*/ 892628 h 1273628"/>
                <a:gd name="connsiteX71" fmla="*/ 1397000 w 1567543"/>
                <a:gd name="connsiteY71" fmla="*/ 816428 h 1273628"/>
                <a:gd name="connsiteX72" fmla="*/ 1426028 w 1567543"/>
                <a:gd name="connsiteY72" fmla="*/ 805543 h 1273628"/>
                <a:gd name="connsiteX73" fmla="*/ 1433286 w 1567543"/>
                <a:gd name="connsiteY73" fmla="*/ 743857 h 1273628"/>
                <a:gd name="connsiteX74" fmla="*/ 1367971 w 1567543"/>
                <a:gd name="connsiteY74" fmla="*/ 674914 h 1273628"/>
                <a:gd name="connsiteX75" fmla="*/ 1415143 w 1567543"/>
                <a:gd name="connsiteY75" fmla="*/ 653143 h 1273628"/>
                <a:gd name="connsiteX76" fmla="*/ 1407886 w 1567543"/>
                <a:gd name="connsiteY76" fmla="*/ 598714 h 1273628"/>
                <a:gd name="connsiteX77" fmla="*/ 1473200 w 1567543"/>
                <a:gd name="connsiteY77" fmla="*/ 598714 h 1273628"/>
                <a:gd name="connsiteX78" fmla="*/ 1469571 w 1567543"/>
                <a:gd name="connsiteY78" fmla="*/ 537028 h 1273628"/>
                <a:gd name="connsiteX79" fmla="*/ 1542143 w 1567543"/>
                <a:gd name="connsiteY79" fmla="*/ 551543 h 1273628"/>
                <a:gd name="connsiteX0" fmla="*/ 1542143 w 1567543"/>
                <a:gd name="connsiteY0" fmla="*/ 551543 h 1273628"/>
                <a:gd name="connsiteX1" fmla="*/ 1527628 w 1567543"/>
                <a:gd name="connsiteY1" fmla="*/ 497114 h 1273628"/>
                <a:gd name="connsiteX2" fmla="*/ 1527628 w 1567543"/>
                <a:gd name="connsiteY2" fmla="*/ 497114 h 1273628"/>
                <a:gd name="connsiteX3" fmla="*/ 1498600 w 1567543"/>
                <a:gd name="connsiteY3" fmla="*/ 497114 h 1273628"/>
                <a:gd name="connsiteX4" fmla="*/ 1521460 w 1567543"/>
                <a:gd name="connsiteY4" fmla="*/ 424361 h 1273628"/>
                <a:gd name="connsiteX5" fmla="*/ 1527628 w 1567543"/>
                <a:gd name="connsiteY5" fmla="*/ 373743 h 1273628"/>
                <a:gd name="connsiteX6" fmla="*/ 1549400 w 1567543"/>
                <a:gd name="connsiteY6" fmla="*/ 330200 h 1273628"/>
                <a:gd name="connsiteX7" fmla="*/ 1567543 w 1567543"/>
                <a:gd name="connsiteY7" fmla="*/ 275771 h 1273628"/>
                <a:gd name="connsiteX8" fmla="*/ 1513114 w 1567543"/>
                <a:gd name="connsiteY8" fmla="*/ 206828 h 1273628"/>
                <a:gd name="connsiteX9" fmla="*/ 1418771 w 1567543"/>
                <a:gd name="connsiteY9" fmla="*/ 195943 h 1273628"/>
                <a:gd name="connsiteX10" fmla="*/ 1386114 w 1567543"/>
                <a:gd name="connsiteY10" fmla="*/ 217714 h 1273628"/>
                <a:gd name="connsiteX11" fmla="*/ 1357086 w 1567543"/>
                <a:gd name="connsiteY11" fmla="*/ 181428 h 1273628"/>
                <a:gd name="connsiteX12" fmla="*/ 1270000 w 1567543"/>
                <a:gd name="connsiteY12" fmla="*/ 116114 h 1273628"/>
                <a:gd name="connsiteX13" fmla="*/ 1219200 w 1567543"/>
                <a:gd name="connsiteY13" fmla="*/ 134257 h 1273628"/>
                <a:gd name="connsiteX14" fmla="*/ 1182914 w 1567543"/>
                <a:gd name="connsiteY14" fmla="*/ 87086 h 1273628"/>
                <a:gd name="connsiteX15" fmla="*/ 1146628 w 1567543"/>
                <a:gd name="connsiteY15" fmla="*/ 72571 h 1273628"/>
                <a:gd name="connsiteX16" fmla="*/ 1124857 w 1567543"/>
                <a:gd name="connsiteY16" fmla="*/ 29028 h 1273628"/>
                <a:gd name="connsiteX17" fmla="*/ 1070428 w 1567543"/>
                <a:gd name="connsiteY17" fmla="*/ 29028 h 1273628"/>
                <a:gd name="connsiteX18" fmla="*/ 1045028 w 1567543"/>
                <a:gd name="connsiteY18" fmla="*/ 58057 h 1273628"/>
                <a:gd name="connsiteX19" fmla="*/ 990600 w 1567543"/>
                <a:gd name="connsiteY19" fmla="*/ 0 h 1273628"/>
                <a:gd name="connsiteX20" fmla="*/ 870857 w 1567543"/>
                <a:gd name="connsiteY20" fmla="*/ 25400 h 1273628"/>
                <a:gd name="connsiteX21" fmla="*/ 867228 w 1567543"/>
                <a:gd name="connsiteY21" fmla="*/ 58057 h 1273628"/>
                <a:gd name="connsiteX22" fmla="*/ 762000 w 1567543"/>
                <a:gd name="connsiteY22" fmla="*/ 108857 h 1273628"/>
                <a:gd name="connsiteX23" fmla="*/ 722086 w 1567543"/>
                <a:gd name="connsiteY23" fmla="*/ 123371 h 1273628"/>
                <a:gd name="connsiteX24" fmla="*/ 667657 w 1567543"/>
                <a:gd name="connsiteY24" fmla="*/ 148771 h 1273628"/>
                <a:gd name="connsiteX25" fmla="*/ 667657 w 1567543"/>
                <a:gd name="connsiteY25" fmla="*/ 94343 h 1273628"/>
                <a:gd name="connsiteX26" fmla="*/ 620486 w 1567543"/>
                <a:gd name="connsiteY26" fmla="*/ 54428 h 1273628"/>
                <a:gd name="connsiteX27" fmla="*/ 605971 w 1567543"/>
                <a:gd name="connsiteY27" fmla="*/ 76200 h 1273628"/>
                <a:gd name="connsiteX28" fmla="*/ 620486 w 1567543"/>
                <a:gd name="connsiteY28" fmla="*/ 108857 h 1273628"/>
                <a:gd name="connsiteX29" fmla="*/ 598714 w 1567543"/>
                <a:gd name="connsiteY29" fmla="*/ 119743 h 1273628"/>
                <a:gd name="connsiteX30" fmla="*/ 580571 w 1567543"/>
                <a:gd name="connsiteY30" fmla="*/ 97971 h 1273628"/>
                <a:gd name="connsiteX31" fmla="*/ 566057 w 1567543"/>
                <a:gd name="connsiteY31" fmla="*/ 127000 h 1273628"/>
                <a:gd name="connsiteX32" fmla="*/ 584200 w 1567543"/>
                <a:gd name="connsiteY32" fmla="*/ 174171 h 1273628"/>
                <a:gd name="connsiteX33" fmla="*/ 555171 w 1567543"/>
                <a:gd name="connsiteY33" fmla="*/ 177800 h 1273628"/>
                <a:gd name="connsiteX34" fmla="*/ 573314 w 1567543"/>
                <a:gd name="connsiteY34" fmla="*/ 228600 h 1273628"/>
                <a:gd name="connsiteX35" fmla="*/ 482600 w 1567543"/>
                <a:gd name="connsiteY35" fmla="*/ 330200 h 1273628"/>
                <a:gd name="connsiteX36" fmla="*/ 518886 w 1567543"/>
                <a:gd name="connsiteY36" fmla="*/ 399143 h 1273628"/>
                <a:gd name="connsiteX37" fmla="*/ 475343 w 1567543"/>
                <a:gd name="connsiteY37" fmla="*/ 457200 h 1273628"/>
                <a:gd name="connsiteX38" fmla="*/ 508000 w 1567543"/>
                <a:gd name="connsiteY38" fmla="*/ 475343 h 1273628"/>
                <a:gd name="connsiteX39" fmla="*/ 511628 w 1567543"/>
                <a:gd name="connsiteY39" fmla="*/ 504371 h 1273628"/>
                <a:gd name="connsiteX40" fmla="*/ 478971 w 1567543"/>
                <a:gd name="connsiteY40" fmla="*/ 529771 h 1273628"/>
                <a:gd name="connsiteX41" fmla="*/ 482600 w 1567543"/>
                <a:gd name="connsiteY41" fmla="*/ 576943 h 1273628"/>
                <a:gd name="connsiteX42" fmla="*/ 478971 w 1567543"/>
                <a:gd name="connsiteY42" fmla="*/ 587828 h 1273628"/>
                <a:gd name="connsiteX43" fmla="*/ 399143 w 1567543"/>
                <a:gd name="connsiteY43" fmla="*/ 638628 h 1273628"/>
                <a:gd name="connsiteX44" fmla="*/ 304800 w 1567543"/>
                <a:gd name="connsiteY44" fmla="*/ 616857 h 1273628"/>
                <a:gd name="connsiteX45" fmla="*/ 232228 w 1567543"/>
                <a:gd name="connsiteY45" fmla="*/ 674914 h 1273628"/>
                <a:gd name="connsiteX46" fmla="*/ 83457 w 1567543"/>
                <a:gd name="connsiteY46" fmla="*/ 711200 h 1273628"/>
                <a:gd name="connsiteX47" fmla="*/ 7257 w 1567543"/>
                <a:gd name="connsiteY47" fmla="*/ 791028 h 1273628"/>
                <a:gd name="connsiteX48" fmla="*/ 0 w 1567543"/>
                <a:gd name="connsiteY48" fmla="*/ 881743 h 1273628"/>
                <a:gd name="connsiteX49" fmla="*/ 116114 w 1567543"/>
                <a:gd name="connsiteY49" fmla="*/ 867228 h 1273628"/>
                <a:gd name="connsiteX50" fmla="*/ 188686 w 1567543"/>
                <a:gd name="connsiteY50" fmla="*/ 932543 h 1273628"/>
                <a:gd name="connsiteX51" fmla="*/ 319314 w 1567543"/>
                <a:gd name="connsiteY51" fmla="*/ 939800 h 1273628"/>
                <a:gd name="connsiteX52" fmla="*/ 453571 w 1567543"/>
                <a:gd name="connsiteY52" fmla="*/ 914400 h 1273628"/>
                <a:gd name="connsiteX53" fmla="*/ 508000 w 1567543"/>
                <a:gd name="connsiteY53" fmla="*/ 961571 h 1273628"/>
                <a:gd name="connsiteX54" fmla="*/ 518886 w 1567543"/>
                <a:gd name="connsiteY54" fmla="*/ 1037771 h 1273628"/>
                <a:gd name="connsiteX55" fmla="*/ 605971 w 1567543"/>
                <a:gd name="connsiteY55" fmla="*/ 1081314 h 1273628"/>
                <a:gd name="connsiteX56" fmla="*/ 613228 w 1567543"/>
                <a:gd name="connsiteY56" fmla="*/ 1273628 h 1273628"/>
                <a:gd name="connsiteX57" fmla="*/ 725714 w 1567543"/>
                <a:gd name="connsiteY57" fmla="*/ 1251857 h 1273628"/>
                <a:gd name="connsiteX58" fmla="*/ 725714 w 1567543"/>
                <a:gd name="connsiteY58" fmla="*/ 1251857 h 1273628"/>
                <a:gd name="connsiteX59" fmla="*/ 722086 w 1567543"/>
                <a:gd name="connsiteY59" fmla="*/ 1208314 h 1273628"/>
                <a:gd name="connsiteX60" fmla="*/ 885371 w 1567543"/>
                <a:gd name="connsiteY60" fmla="*/ 1197428 h 1273628"/>
                <a:gd name="connsiteX61" fmla="*/ 925286 w 1567543"/>
                <a:gd name="connsiteY61" fmla="*/ 1208314 h 1273628"/>
                <a:gd name="connsiteX62" fmla="*/ 1161143 w 1567543"/>
                <a:gd name="connsiteY62" fmla="*/ 1143000 h 1273628"/>
                <a:gd name="connsiteX63" fmla="*/ 1204686 w 1567543"/>
                <a:gd name="connsiteY63" fmla="*/ 1164771 h 1273628"/>
                <a:gd name="connsiteX64" fmla="*/ 1240971 w 1567543"/>
                <a:gd name="connsiteY64" fmla="*/ 1135743 h 1273628"/>
                <a:gd name="connsiteX65" fmla="*/ 1226457 w 1567543"/>
                <a:gd name="connsiteY65" fmla="*/ 1066800 h 1273628"/>
                <a:gd name="connsiteX66" fmla="*/ 1262743 w 1567543"/>
                <a:gd name="connsiteY66" fmla="*/ 1052286 h 1273628"/>
                <a:gd name="connsiteX67" fmla="*/ 1248228 w 1567543"/>
                <a:gd name="connsiteY67" fmla="*/ 1019628 h 1273628"/>
                <a:gd name="connsiteX68" fmla="*/ 1295400 w 1567543"/>
                <a:gd name="connsiteY68" fmla="*/ 990600 h 1273628"/>
                <a:gd name="connsiteX69" fmla="*/ 1302657 w 1567543"/>
                <a:gd name="connsiteY69" fmla="*/ 896257 h 1273628"/>
                <a:gd name="connsiteX70" fmla="*/ 1367971 w 1567543"/>
                <a:gd name="connsiteY70" fmla="*/ 892628 h 1273628"/>
                <a:gd name="connsiteX71" fmla="*/ 1397000 w 1567543"/>
                <a:gd name="connsiteY71" fmla="*/ 816428 h 1273628"/>
                <a:gd name="connsiteX72" fmla="*/ 1426028 w 1567543"/>
                <a:gd name="connsiteY72" fmla="*/ 805543 h 1273628"/>
                <a:gd name="connsiteX73" fmla="*/ 1433286 w 1567543"/>
                <a:gd name="connsiteY73" fmla="*/ 743857 h 1273628"/>
                <a:gd name="connsiteX74" fmla="*/ 1367971 w 1567543"/>
                <a:gd name="connsiteY74" fmla="*/ 674914 h 1273628"/>
                <a:gd name="connsiteX75" fmla="*/ 1415143 w 1567543"/>
                <a:gd name="connsiteY75" fmla="*/ 653143 h 1273628"/>
                <a:gd name="connsiteX76" fmla="*/ 1407886 w 1567543"/>
                <a:gd name="connsiteY76" fmla="*/ 598714 h 1273628"/>
                <a:gd name="connsiteX77" fmla="*/ 1473200 w 1567543"/>
                <a:gd name="connsiteY77" fmla="*/ 598714 h 1273628"/>
                <a:gd name="connsiteX78" fmla="*/ 1469571 w 1567543"/>
                <a:gd name="connsiteY78" fmla="*/ 537028 h 1273628"/>
                <a:gd name="connsiteX79" fmla="*/ 1542143 w 1567543"/>
                <a:gd name="connsiteY79" fmla="*/ 551543 h 1273628"/>
                <a:gd name="connsiteX0" fmla="*/ 1542143 w 1567543"/>
                <a:gd name="connsiteY0" fmla="*/ 551543 h 1273628"/>
                <a:gd name="connsiteX1" fmla="*/ 1527628 w 1567543"/>
                <a:gd name="connsiteY1" fmla="*/ 497114 h 1273628"/>
                <a:gd name="connsiteX2" fmla="*/ 1527628 w 1567543"/>
                <a:gd name="connsiteY2" fmla="*/ 497114 h 1273628"/>
                <a:gd name="connsiteX3" fmla="*/ 1498600 w 1567543"/>
                <a:gd name="connsiteY3" fmla="*/ 497114 h 1273628"/>
                <a:gd name="connsiteX4" fmla="*/ 1521460 w 1567543"/>
                <a:gd name="connsiteY4" fmla="*/ 424361 h 1273628"/>
                <a:gd name="connsiteX5" fmla="*/ 1539058 w 1567543"/>
                <a:gd name="connsiteY5" fmla="*/ 377553 h 1273628"/>
                <a:gd name="connsiteX6" fmla="*/ 1549400 w 1567543"/>
                <a:gd name="connsiteY6" fmla="*/ 330200 h 1273628"/>
                <a:gd name="connsiteX7" fmla="*/ 1567543 w 1567543"/>
                <a:gd name="connsiteY7" fmla="*/ 275771 h 1273628"/>
                <a:gd name="connsiteX8" fmla="*/ 1513114 w 1567543"/>
                <a:gd name="connsiteY8" fmla="*/ 206828 h 1273628"/>
                <a:gd name="connsiteX9" fmla="*/ 1418771 w 1567543"/>
                <a:gd name="connsiteY9" fmla="*/ 195943 h 1273628"/>
                <a:gd name="connsiteX10" fmla="*/ 1386114 w 1567543"/>
                <a:gd name="connsiteY10" fmla="*/ 217714 h 1273628"/>
                <a:gd name="connsiteX11" fmla="*/ 1357086 w 1567543"/>
                <a:gd name="connsiteY11" fmla="*/ 181428 h 1273628"/>
                <a:gd name="connsiteX12" fmla="*/ 1270000 w 1567543"/>
                <a:gd name="connsiteY12" fmla="*/ 116114 h 1273628"/>
                <a:gd name="connsiteX13" fmla="*/ 1219200 w 1567543"/>
                <a:gd name="connsiteY13" fmla="*/ 134257 h 1273628"/>
                <a:gd name="connsiteX14" fmla="*/ 1182914 w 1567543"/>
                <a:gd name="connsiteY14" fmla="*/ 87086 h 1273628"/>
                <a:gd name="connsiteX15" fmla="*/ 1146628 w 1567543"/>
                <a:gd name="connsiteY15" fmla="*/ 72571 h 1273628"/>
                <a:gd name="connsiteX16" fmla="*/ 1124857 w 1567543"/>
                <a:gd name="connsiteY16" fmla="*/ 29028 h 1273628"/>
                <a:gd name="connsiteX17" fmla="*/ 1070428 w 1567543"/>
                <a:gd name="connsiteY17" fmla="*/ 29028 h 1273628"/>
                <a:gd name="connsiteX18" fmla="*/ 1045028 w 1567543"/>
                <a:gd name="connsiteY18" fmla="*/ 58057 h 1273628"/>
                <a:gd name="connsiteX19" fmla="*/ 990600 w 1567543"/>
                <a:gd name="connsiteY19" fmla="*/ 0 h 1273628"/>
                <a:gd name="connsiteX20" fmla="*/ 870857 w 1567543"/>
                <a:gd name="connsiteY20" fmla="*/ 25400 h 1273628"/>
                <a:gd name="connsiteX21" fmla="*/ 867228 w 1567543"/>
                <a:gd name="connsiteY21" fmla="*/ 58057 h 1273628"/>
                <a:gd name="connsiteX22" fmla="*/ 762000 w 1567543"/>
                <a:gd name="connsiteY22" fmla="*/ 108857 h 1273628"/>
                <a:gd name="connsiteX23" fmla="*/ 722086 w 1567543"/>
                <a:gd name="connsiteY23" fmla="*/ 123371 h 1273628"/>
                <a:gd name="connsiteX24" fmla="*/ 667657 w 1567543"/>
                <a:gd name="connsiteY24" fmla="*/ 148771 h 1273628"/>
                <a:gd name="connsiteX25" fmla="*/ 667657 w 1567543"/>
                <a:gd name="connsiteY25" fmla="*/ 94343 h 1273628"/>
                <a:gd name="connsiteX26" fmla="*/ 620486 w 1567543"/>
                <a:gd name="connsiteY26" fmla="*/ 54428 h 1273628"/>
                <a:gd name="connsiteX27" fmla="*/ 605971 w 1567543"/>
                <a:gd name="connsiteY27" fmla="*/ 76200 h 1273628"/>
                <a:gd name="connsiteX28" fmla="*/ 620486 w 1567543"/>
                <a:gd name="connsiteY28" fmla="*/ 108857 h 1273628"/>
                <a:gd name="connsiteX29" fmla="*/ 598714 w 1567543"/>
                <a:gd name="connsiteY29" fmla="*/ 119743 h 1273628"/>
                <a:gd name="connsiteX30" fmla="*/ 580571 w 1567543"/>
                <a:gd name="connsiteY30" fmla="*/ 97971 h 1273628"/>
                <a:gd name="connsiteX31" fmla="*/ 566057 w 1567543"/>
                <a:gd name="connsiteY31" fmla="*/ 127000 h 1273628"/>
                <a:gd name="connsiteX32" fmla="*/ 584200 w 1567543"/>
                <a:gd name="connsiteY32" fmla="*/ 174171 h 1273628"/>
                <a:gd name="connsiteX33" fmla="*/ 555171 w 1567543"/>
                <a:gd name="connsiteY33" fmla="*/ 177800 h 1273628"/>
                <a:gd name="connsiteX34" fmla="*/ 573314 w 1567543"/>
                <a:gd name="connsiteY34" fmla="*/ 228600 h 1273628"/>
                <a:gd name="connsiteX35" fmla="*/ 482600 w 1567543"/>
                <a:gd name="connsiteY35" fmla="*/ 330200 h 1273628"/>
                <a:gd name="connsiteX36" fmla="*/ 518886 w 1567543"/>
                <a:gd name="connsiteY36" fmla="*/ 399143 h 1273628"/>
                <a:gd name="connsiteX37" fmla="*/ 475343 w 1567543"/>
                <a:gd name="connsiteY37" fmla="*/ 457200 h 1273628"/>
                <a:gd name="connsiteX38" fmla="*/ 508000 w 1567543"/>
                <a:gd name="connsiteY38" fmla="*/ 475343 h 1273628"/>
                <a:gd name="connsiteX39" fmla="*/ 511628 w 1567543"/>
                <a:gd name="connsiteY39" fmla="*/ 504371 h 1273628"/>
                <a:gd name="connsiteX40" fmla="*/ 478971 w 1567543"/>
                <a:gd name="connsiteY40" fmla="*/ 529771 h 1273628"/>
                <a:gd name="connsiteX41" fmla="*/ 482600 w 1567543"/>
                <a:gd name="connsiteY41" fmla="*/ 576943 h 1273628"/>
                <a:gd name="connsiteX42" fmla="*/ 478971 w 1567543"/>
                <a:gd name="connsiteY42" fmla="*/ 587828 h 1273628"/>
                <a:gd name="connsiteX43" fmla="*/ 399143 w 1567543"/>
                <a:gd name="connsiteY43" fmla="*/ 638628 h 1273628"/>
                <a:gd name="connsiteX44" fmla="*/ 304800 w 1567543"/>
                <a:gd name="connsiteY44" fmla="*/ 616857 h 1273628"/>
                <a:gd name="connsiteX45" fmla="*/ 232228 w 1567543"/>
                <a:gd name="connsiteY45" fmla="*/ 674914 h 1273628"/>
                <a:gd name="connsiteX46" fmla="*/ 83457 w 1567543"/>
                <a:gd name="connsiteY46" fmla="*/ 711200 h 1273628"/>
                <a:gd name="connsiteX47" fmla="*/ 7257 w 1567543"/>
                <a:gd name="connsiteY47" fmla="*/ 791028 h 1273628"/>
                <a:gd name="connsiteX48" fmla="*/ 0 w 1567543"/>
                <a:gd name="connsiteY48" fmla="*/ 881743 h 1273628"/>
                <a:gd name="connsiteX49" fmla="*/ 116114 w 1567543"/>
                <a:gd name="connsiteY49" fmla="*/ 867228 h 1273628"/>
                <a:gd name="connsiteX50" fmla="*/ 188686 w 1567543"/>
                <a:gd name="connsiteY50" fmla="*/ 932543 h 1273628"/>
                <a:gd name="connsiteX51" fmla="*/ 319314 w 1567543"/>
                <a:gd name="connsiteY51" fmla="*/ 939800 h 1273628"/>
                <a:gd name="connsiteX52" fmla="*/ 453571 w 1567543"/>
                <a:gd name="connsiteY52" fmla="*/ 914400 h 1273628"/>
                <a:gd name="connsiteX53" fmla="*/ 508000 w 1567543"/>
                <a:gd name="connsiteY53" fmla="*/ 961571 h 1273628"/>
                <a:gd name="connsiteX54" fmla="*/ 518886 w 1567543"/>
                <a:gd name="connsiteY54" fmla="*/ 1037771 h 1273628"/>
                <a:gd name="connsiteX55" fmla="*/ 605971 w 1567543"/>
                <a:gd name="connsiteY55" fmla="*/ 1081314 h 1273628"/>
                <a:gd name="connsiteX56" fmla="*/ 613228 w 1567543"/>
                <a:gd name="connsiteY56" fmla="*/ 1273628 h 1273628"/>
                <a:gd name="connsiteX57" fmla="*/ 725714 w 1567543"/>
                <a:gd name="connsiteY57" fmla="*/ 1251857 h 1273628"/>
                <a:gd name="connsiteX58" fmla="*/ 725714 w 1567543"/>
                <a:gd name="connsiteY58" fmla="*/ 1251857 h 1273628"/>
                <a:gd name="connsiteX59" fmla="*/ 722086 w 1567543"/>
                <a:gd name="connsiteY59" fmla="*/ 1208314 h 1273628"/>
                <a:gd name="connsiteX60" fmla="*/ 885371 w 1567543"/>
                <a:gd name="connsiteY60" fmla="*/ 1197428 h 1273628"/>
                <a:gd name="connsiteX61" fmla="*/ 925286 w 1567543"/>
                <a:gd name="connsiteY61" fmla="*/ 1208314 h 1273628"/>
                <a:gd name="connsiteX62" fmla="*/ 1161143 w 1567543"/>
                <a:gd name="connsiteY62" fmla="*/ 1143000 h 1273628"/>
                <a:gd name="connsiteX63" fmla="*/ 1204686 w 1567543"/>
                <a:gd name="connsiteY63" fmla="*/ 1164771 h 1273628"/>
                <a:gd name="connsiteX64" fmla="*/ 1240971 w 1567543"/>
                <a:gd name="connsiteY64" fmla="*/ 1135743 h 1273628"/>
                <a:gd name="connsiteX65" fmla="*/ 1226457 w 1567543"/>
                <a:gd name="connsiteY65" fmla="*/ 1066800 h 1273628"/>
                <a:gd name="connsiteX66" fmla="*/ 1262743 w 1567543"/>
                <a:gd name="connsiteY66" fmla="*/ 1052286 h 1273628"/>
                <a:gd name="connsiteX67" fmla="*/ 1248228 w 1567543"/>
                <a:gd name="connsiteY67" fmla="*/ 1019628 h 1273628"/>
                <a:gd name="connsiteX68" fmla="*/ 1295400 w 1567543"/>
                <a:gd name="connsiteY68" fmla="*/ 990600 h 1273628"/>
                <a:gd name="connsiteX69" fmla="*/ 1302657 w 1567543"/>
                <a:gd name="connsiteY69" fmla="*/ 896257 h 1273628"/>
                <a:gd name="connsiteX70" fmla="*/ 1367971 w 1567543"/>
                <a:gd name="connsiteY70" fmla="*/ 892628 h 1273628"/>
                <a:gd name="connsiteX71" fmla="*/ 1397000 w 1567543"/>
                <a:gd name="connsiteY71" fmla="*/ 816428 h 1273628"/>
                <a:gd name="connsiteX72" fmla="*/ 1426028 w 1567543"/>
                <a:gd name="connsiteY72" fmla="*/ 805543 h 1273628"/>
                <a:gd name="connsiteX73" fmla="*/ 1433286 w 1567543"/>
                <a:gd name="connsiteY73" fmla="*/ 743857 h 1273628"/>
                <a:gd name="connsiteX74" fmla="*/ 1367971 w 1567543"/>
                <a:gd name="connsiteY74" fmla="*/ 674914 h 1273628"/>
                <a:gd name="connsiteX75" fmla="*/ 1415143 w 1567543"/>
                <a:gd name="connsiteY75" fmla="*/ 653143 h 1273628"/>
                <a:gd name="connsiteX76" fmla="*/ 1407886 w 1567543"/>
                <a:gd name="connsiteY76" fmla="*/ 598714 h 1273628"/>
                <a:gd name="connsiteX77" fmla="*/ 1473200 w 1567543"/>
                <a:gd name="connsiteY77" fmla="*/ 598714 h 1273628"/>
                <a:gd name="connsiteX78" fmla="*/ 1469571 w 1567543"/>
                <a:gd name="connsiteY78" fmla="*/ 537028 h 1273628"/>
                <a:gd name="connsiteX79" fmla="*/ 1542143 w 1567543"/>
                <a:gd name="connsiteY79" fmla="*/ 551543 h 127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567543" h="1273628">
                  <a:moveTo>
                    <a:pt x="1542143" y="551543"/>
                  </a:moveTo>
                  <a:lnTo>
                    <a:pt x="1527628" y="497114"/>
                  </a:lnTo>
                  <a:lnTo>
                    <a:pt x="1527628" y="497114"/>
                  </a:lnTo>
                  <a:lnTo>
                    <a:pt x="1498600" y="497114"/>
                  </a:lnTo>
                  <a:lnTo>
                    <a:pt x="1521460" y="424361"/>
                  </a:lnTo>
                  <a:lnTo>
                    <a:pt x="1539058" y="377553"/>
                  </a:lnTo>
                  <a:lnTo>
                    <a:pt x="1549400" y="330200"/>
                  </a:lnTo>
                  <a:lnTo>
                    <a:pt x="1567543" y="275771"/>
                  </a:lnTo>
                  <a:lnTo>
                    <a:pt x="1513114" y="206828"/>
                  </a:lnTo>
                  <a:lnTo>
                    <a:pt x="1418771" y="195943"/>
                  </a:lnTo>
                  <a:lnTo>
                    <a:pt x="1386114" y="217714"/>
                  </a:lnTo>
                  <a:lnTo>
                    <a:pt x="1357086" y="181428"/>
                  </a:lnTo>
                  <a:lnTo>
                    <a:pt x="1270000" y="116114"/>
                  </a:lnTo>
                  <a:lnTo>
                    <a:pt x="1219200" y="134257"/>
                  </a:lnTo>
                  <a:lnTo>
                    <a:pt x="1182914" y="87086"/>
                  </a:lnTo>
                  <a:lnTo>
                    <a:pt x="1146628" y="72571"/>
                  </a:lnTo>
                  <a:lnTo>
                    <a:pt x="1124857" y="29028"/>
                  </a:lnTo>
                  <a:lnTo>
                    <a:pt x="1070428" y="29028"/>
                  </a:lnTo>
                  <a:lnTo>
                    <a:pt x="1045028" y="58057"/>
                  </a:lnTo>
                  <a:lnTo>
                    <a:pt x="990600" y="0"/>
                  </a:lnTo>
                  <a:lnTo>
                    <a:pt x="870857" y="25400"/>
                  </a:lnTo>
                  <a:lnTo>
                    <a:pt x="867228" y="58057"/>
                  </a:lnTo>
                  <a:lnTo>
                    <a:pt x="762000" y="108857"/>
                  </a:lnTo>
                  <a:lnTo>
                    <a:pt x="722086" y="123371"/>
                  </a:lnTo>
                  <a:lnTo>
                    <a:pt x="667657" y="148771"/>
                  </a:lnTo>
                  <a:lnTo>
                    <a:pt x="667657" y="94343"/>
                  </a:lnTo>
                  <a:lnTo>
                    <a:pt x="620486" y="54428"/>
                  </a:lnTo>
                  <a:lnTo>
                    <a:pt x="605971" y="76200"/>
                  </a:lnTo>
                  <a:lnTo>
                    <a:pt x="620486" y="108857"/>
                  </a:lnTo>
                  <a:lnTo>
                    <a:pt x="598714" y="119743"/>
                  </a:lnTo>
                  <a:lnTo>
                    <a:pt x="580571" y="97971"/>
                  </a:lnTo>
                  <a:lnTo>
                    <a:pt x="566057" y="127000"/>
                  </a:lnTo>
                  <a:lnTo>
                    <a:pt x="584200" y="174171"/>
                  </a:lnTo>
                  <a:lnTo>
                    <a:pt x="555171" y="177800"/>
                  </a:lnTo>
                  <a:lnTo>
                    <a:pt x="573314" y="228600"/>
                  </a:lnTo>
                  <a:lnTo>
                    <a:pt x="482600" y="330200"/>
                  </a:lnTo>
                  <a:lnTo>
                    <a:pt x="518886" y="399143"/>
                  </a:lnTo>
                  <a:lnTo>
                    <a:pt x="475343" y="457200"/>
                  </a:lnTo>
                  <a:lnTo>
                    <a:pt x="508000" y="475343"/>
                  </a:lnTo>
                  <a:lnTo>
                    <a:pt x="511628" y="504371"/>
                  </a:lnTo>
                  <a:lnTo>
                    <a:pt x="478971" y="529771"/>
                  </a:lnTo>
                  <a:lnTo>
                    <a:pt x="482600" y="576943"/>
                  </a:lnTo>
                  <a:lnTo>
                    <a:pt x="478971" y="587828"/>
                  </a:lnTo>
                  <a:lnTo>
                    <a:pt x="399143" y="638628"/>
                  </a:lnTo>
                  <a:lnTo>
                    <a:pt x="304800" y="616857"/>
                  </a:lnTo>
                  <a:lnTo>
                    <a:pt x="232228" y="674914"/>
                  </a:lnTo>
                  <a:lnTo>
                    <a:pt x="83457" y="711200"/>
                  </a:lnTo>
                  <a:lnTo>
                    <a:pt x="7257" y="791028"/>
                  </a:lnTo>
                  <a:lnTo>
                    <a:pt x="0" y="881743"/>
                  </a:lnTo>
                  <a:lnTo>
                    <a:pt x="116114" y="867228"/>
                  </a:lnTo>
                  <a:lnTo>
                    <a:pt x="188686" y="932543"/>
                  </a:lnTo>
                  <a:lnTo>
                    <a:pt x="319314" y="939800"/>
                  </a:lnTo>
                  <a:lnTo>
                    <a:pt x="453571" y="914400"/>
                  </a:lnTo>
                  <a:lnTo>
                    <a:pt x="508000" y="961571"/>
                  </a:lnTo>
                  <a:lnTo>
                    <a:pt x="518886" y="1037771"/>
                  </a:lnTo>
                  <a:lnTo>
                    <a:pt x="605971" y="1081314"/>
                  </a:lnTo>
                  <a:lnTo>
                    <a:pt x="613228" y="1273628"/>
                  </a:lnTo>
                  <a:lnTo>
                    <a:pt x="725714" y="1251857"/>
                  </a:lnTo>
                  <a:lnTo>
                    <a:pt x="725714" y="1251857"/>
                  </a:lnTo>
                  <a:lnTo>
                    <a:pt x="722086" y="1208314"/>
                  </a:lnTo>
                  <a:lnTo>
                    <a:pt x="885371" y="1197428"/>
                  </a:lnTo>
                  <a:lnTo>
                    <a:pt x="925286" y="1208314"/>
                  </a:lnTo>
                  <a:lnTo>
                    <a:pt x="1161143" y="1143000"/>
                  </a:lnTo>
                  <a:lnTo>
                    <a:pt x="1204686" y="1164771"/>
                  </a:lnTo>
                  <a:lnTo>
                    <a:pt x="1240971" y="1135743"/>
                  </a:lnTo>
                  <a:lnTo>
                    <a:pt x="1226457" y="1066800"/>
                  </a:lnTo>
                  <a:lnTo>
                    <a:pt x="1262743" y="1052286"/>
                  </a:lnTo>
                  <a:lnTo>
                    <a:pt x="1248228" y="1019628"/>
                  </a:lnTo>
                  <a:lnTo>
                    <a:pt x="1295400" y="990600"/>
                  </a:lnTo>
                  <a:lnTo>
                    <a:pt x="1302657" y="896257"/>
                  </a:lnTo>
                  <a:lnTo>
                    <a:pt x="1367971" y="892628"/>
                  </a:lnTo>
                  <a:lnTo>
                    <a:pt x="1397000" y="816428"/>
                  </a:lnTo>
                  <a:lnTo>
                    <a:pt x="1426028" y="805543"/>
                  </a:lnTo>
                  <a:lnTo>
                    <a:pt x="1433286" y="743857"/>
                  </a:lnTo>
                  <a:lnTo>
                    <a:pt x="1367971" y="674914"/>
                  </a:lnTo>
                  <a:lnTo>
                    <a:pt x="1415143" y="653143"/>
                  </a:lnTo>
                  <a:lnTo>
                    <a:pt x="1407886" y="598714"/>
                  </a:lnTo>
                  <a:lnTo>
                    <a:pt x="1473200" y="598714"/>
                  </a:lnTo>
                  <a:lnTo>
                    <a:pt x="1469571" y="537028"/>
                  </a:lnTo>
                  <a:lnTo>
                    <a:pt x="1542143" y="551543"/>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7" name="Freeform 56">
              <a:extLst>
                <a:ext uri="{FF2B5EF4-FFF2-40B4-BE49-F238E27FC236}">
                  <a16:creationId xmlns:a16="http://schemas.microsoft.com/office/drawing/2014/main" id="{71D319C8-18CA-4131-A62C-04FD840A8C9B}"/>
                </a:ext>
              </a:extLst>
            </p:cNvPr>
            <p:cNvSpPr/>
            <p:nvPr/>
          </p:nvSpPr>
          <p:spPr>
            <a:xfrm>
              <a:off x="8654439" y="3361165"/>
              <a:ext cx="1074736" cy="1069975"/>
            </a:xfrm>
            <a:custGeom>
              <a:avLst/>
              <a:gdLst>
                <a:gd name="connsiteX0" fmla="*/ 1055914 w 1074057"/>
                <a:gd name="connsiteY0" fmla="*/ 388257 h 1070429"/>
                <a:gd name="connsiteX1" fmla="*/ 1074057 w 1074057"/>
                <a:gd name="connsiteY1" fmla="*/ 283029 h 1070429"/>
                <a:gd name="connsiteX2" fmla="*/ 1037771 w 1074057"/>
                <a:gd name="connsiteY2" fmla="*/ 264886 h 1070429"/>
                <a:gd name="connsiteX3" fmla="*/ 1012371 w 1074057"/>
                <a:gd name="connsiteY3" fmla="*/ 206829 h 1070429"/>
                <a:gd name="connsiteX4" fmla="*/ 1045028 w 1074057"/>
                <a:gd name="connsiteY4" fmla="*/ 141515 h 1070429"/>
                <a:gd name="connsiteX5" fmla="*/ 1023257 w 1074057"/>
                <a:gd name="connsiteY5" fmla="*/ 97972 h 1070429"/>
                <a:gd name="connsiteX6" fmla="*/ 1063171 w 1074057"/>
                <a:gd name="connsiteY6" fmla="*/ 90715 h 1070429"/>
                <a:gd name="connsiteX7" fmla="*/ 1048657 w 1074057"/>
                <a:gd name="connsiteY7" fmla="*/ 61686 h 1070429"/>
                <a:gd name="connsiteX8" fmla="*/ 794657 w 1074057"/>
                <a:gd name="connsiteY8" fmla="*/ 134257 h 1070429"/>
                <a:gd name="connsiteX9" fmla="*/ 751114 w 1074057"/>
                <a:gd name="connsiteY9" fmla="*/ 101600 h 1070429"/>
                <a:gd name="connsiteX10" fmla="*/ 664028 w 1074057"/>
                <a:gd name="connsiteY10" fmla="*/ 119743 h 1070429"/>
                <a:gd name="connsiteX11" fmla="*/ 653142 w 1074057"/>
                <a:gd name="connsiteY11" fmla="*/ 54429 h 1070429"/>
                <a:gd name="connsiteX12" fmla="*/ 584200 w 1074057"/>
                <a:gd name="connsiteY12" fmla="*/ 47172 h 1070429"/>
                <a:gd name="connsiteX13" fmla="*/ 540657 w 1074057"/>
                <a:gd name="connsiteY13" fmla="*/ 116115 h 1070429"/>
                <a:gd name="connsiteX14" fmla="*/ 453571 w 1074057"/>
                <a:gd name="connsiteY14" fmla="*/ 76200 h 1070429"/>
                <a:gd name="connsiteX15" fmla="*/ 457200 w 1074057"/>
                <a:gd name="connsiteY15" fmla="*/ 0 h 1070429"/>
                <a:gd name="connsiteX16" fmla="*/ 399142 w 1074057"/>
                <a:gd name="connsiteY16" fmla="*/ 58057 h 1070429"/>
                <a:gd name="connsiteX17" fmla="*/ 406400 w 1074057"/>
                <a:gd name="connsiteY17" fmla="*/ 141515 h 1070429"/>
                <a:gd name="connsiteX18" fmla="*/ 362857 w 1074057"/>
                <a:gd name="connsiteY18" fmla="*/ 181429 h 1070429"/>
                <a:gd name="connsiteX19" fmla="*/ 370114 w 1074057"/>
                <a:gd name="connsiteY19" fmla="*/ 235857 h 1070429"/>
                <a:gd name="connsiteX20" fmla="*/ 348342 w 1074057"/>
                <a:gd name="connsiteY20" fmla="*/ 261257 h 1070429"/>
                <a:gd name="connsiteX21" fmla="*/ 344714 w 1074057"/>
                <a:gd name="connsiteY21" fmla="*/ 326572 h 1070429"/>
                <a:gd name="connsiteX22" fmla="*/ 308428 w 1074057"/>
                <a:gd name="connsiteY22" fmla="*/ 402772 h 1070429"/>
                <a:gd name="connsiteX23" fmla="*/ 279400 w 1074057"/>
                <a:gd name="connsiteY23" fmla="*/ 384629 h 1070429"/>
                <a:gd name="connsiteX24" fmla="*/ 228600 w 1074057"/>
                <a:gd name="connsiteY24" fmla="*/ 413657 h 1070429"/>
                <a:gd name="connsiteX25" fmla="*/ 250371 w 1074057"/>
                <a:gd name="connsiteY25" fmla="*/ 497115 h 1070429"/>
                <a:gd name="connsiteX26" fmla="*/ 177800 w 1074057"/>
                <a:gd name="connsiteY26" fmla="*/ 508000 h 1070429"/>
                <a:gd name="connsiteX27" fmla="*/ 119742 w 1074057"/>
                <a:gd name="connsiteY27" fmla="*/ 551543 h 1070429"/>
                <a:gd name="connsiteX28" fmla="*/ 112485 w 1074057"/>
                <a:gd name="connsiteY28" fmla="*/ 613229 h 1070429"/>
                <a:gd name="connsiteX29" fmla="*/ 32657 w 1074057"/>
                <a:gd name="connsiteY29" fmla="*/ 624115 h 1070429"/>
                <a:gd name="connsiteX30" fmla="*/ 32657 w 1074057"/>
                <a:gd name="connsiteY30" fmla="*/ 660400 h 1070429"/>
                <a:gd name="connsiteX31" fmla="*/ 7257 w 1074057"/>
                <a:gd name="connsiteY31" fmla="*/ 769257 h 1070429"/>
                <a:gd name="connsiteX32" fmla="*/ 25400 w 1074057"/>
                <a:gd name="connsiteY32" fmla="*/ 823686 h 1070429"/>
                <a:gd name="connsiteX33" fmla="*/ 0 w 1074057"/>
                <a:gd name="connsiteY33" fmla="*/ 852715 h 1070429"/>
                <a:gd name="connsiteX34" fmla="*/ 7257 w 1074057"/>
                <a:gd name="connsiteY34" fmla="*/ 881743 h 1070429"/>
                <a:gd name="connsiteX35" fmla="*/ 47171 w 1074057"/>
                <a:gd name="connsiteY35" fmla="*/ 896257 h 1070429"/>
                <a:gd name="connsiteX36" fmla="*/ 68942 w 1074057"/>
                <a:gd name="connsiteY36" fmla="*/ 950686 h 1070429"/>
                <a:gd name="connsiteX37" fmla="*/ 137885 w 1074057"/>
                <a:gd name="connsiteY37" fmla="*/ 968829 h 1070429"/>
                <a:gd name="connsiteX38" fmla="*/ 210457 w 1074057"/>
                <a:gd name="connsiteY38" fmla="*/ 1005115 h 1070429"/>
                <a:gd name="connsiteX39" fmla="*/ 250371 w 1074057"/>
                <a:gd name="connsiteY39" fmla="*/ 994229 h 1070429"/>
                <a:gd name="connsiteX40" fmla="*/ 290285 w 1074057"/>
                <a:gd name="connsiteY40" fmla="*/ 1052286 h 1070429"/>
                <a:gd name="connsiteX41" fmla="*/ 381000 w 1074057"/>
                <a:gd name="connsiteY41" fmla="*/ 1070429 h 1070429"/>
                <a:gd name="connsiteX42" fmla="*/ 449942 w 1074057"/>
                <a:gd name="connsiteY42" fmla="*/ 997857 h 1070429"/>
                <a:gd name="connsiteX43" fmla="*/ 609600 w 1074057"/>
                <a:gd name="connsiteY43" fmla="*/ 947057 h 1070429"/>
                <a:gd name="connsiteX44" fmla="*/ 678542 w 1074057"/>
                <a:gd name="connsiteY44" fmla="*/ 896257 h 1070429"/>
                <a:gd name="connsiteX45" fmla="*/ 765628 w 1074057"/>
                <a:gd name="connsiteY45" fmla="*/ 918029 h 1070429"/>
                <a:gd name="connsiteX46" fmla="*/ 856342 w 1074057"/>
                <a:gd name="connsiteY46" fmla="*/ 859972 h 1070429"/>
                <a:gd name="connsiteX47" fmla="*/ 845457 w 1074057"/>
                <a:gd name="connsiteY47" fmla="*/ 816429 h 1070429"/>
                <a:gd name="connsiteX48" fmla="*/ 885371 w 1074057"/>
                <a:gd name="connsiteY48" fmla="*/ 780143 h 1070429"/>
                <a:gd name="connsiteX49" fmla="*/ 852714 w 1074057"/>
                <a:gd name="connsiteY49" fmla="*/ 740229 h 1070429"/>
                <a:gd name="connsiteX50" fmla="*/ 878114 w 1074057"/>
                <a:gd name="connsiteY50" fmla="*/ 682172 h 1070429"/>
                <a:gd name="connsiteX51" fmla="*/ 867228 w 1074057"/>
                <a:gd name="connsiteY51" fmla="*/ 609600 h 1070429"/>
                <a:gd name="connsiteX52" fmla="*/ 943428 w 1074057"/>
                <a:gd name="connsiteY52" fmla="*/ 500743 h 1070429"/>
                <a:gd name="connsiteX53" fmla="*/ 925285 w 1074057"/>
                <a:gd name="connsiteY53" fmla="*/ 453572 h 1070429"/>
                <a:gd name="connsiteX54" fmla="*/ 961571 w 1074057"/>
                <a:gd name="connsiteY54" fmla="*/ 457200 h 1070429"/>
                <a:gd name="connsiteX55" fmla="*/ 947057 w 1074057"/>
                <a:gd name="connsiteY55" fmla="*/ 381000 h 1070429"/>
                <a:gd name="connsiteX56" fmla="*/ 972457 w 1074057"/>
                <a:gd name="connsiteY56" fmla="*/ 402772 h 1070429"/>
                <a:gd name="connsiteX57" fmla="*/ 986971 w 1074057"/>
                <a:gd name="connsiteY57" fmla="*/ 391886 h 1070429"/>
                <a:gd name="connsiteX58" fmla="*/ 979714 w 1074057"/>
                <a:gd name="connsiteY58" fmla="*/ 351972 h 1070429"/>
                <a:gd name="connsiteX59" fmla="*/ 1005114 w 1074057"/>
                <a:gd name="connsiteY59" fmla="*/ 351972 h 1070429"/>
                <a:gd name="connsiteX60" fmla="*/ 1055914 w 1074057"/>
                <a:gd name="connsiteY60" fmla="*/ 388257 h 107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74057" h="1070429">
                  <a:moveTo>
                    <a:pt x="1055914" y="388257"/>
                  </a:moveTo>
                  <a:lnTo>
                    <a:pt x="1074057" y="283029"/>
                  </a:lnTo>
                  <a:lnTo>
                    <a:pt x="1037771" y="264886"/>
                  </a:lnTo>
                  <a:lnTo>
                    <a:pt x="1012371" y="206829"/>
                  </a:lnTo>
                  <a:lnTo>
                    <a:pt x="1045028" y="141515"/>
                  </a:lnTo>
                  <a:lnTo>
                    <a:pt x="1023257" y="97972"/>
                  </a:lnTo>
                  <a:lnTo>
                    <a:pt x="1063171" y="90715"/>
                  </a:lnTo>
                  <a:lnTo>
                    <a:pt x="1048657" y="61686"/>
                  </a:lnTo>
                  <a:lnTo>
                    <a:pt x="794657" y="134257"/>
                  </a:lnTo>
                  <a:lnTo>
                    <a:pt x="751114" y="101600"/>
                  </a:lnTo>
                  <a:lnTo>
                    <a:pt x="664028" y="119743"/>
                  </a:lnTo>
                  <a:lnTo>
                    <a:pt x="653142" y="54429"/>
                  </a:lnTo>
                  <a:lnTo>
                    <a:pt x="584200" y="47172"/>
                  </a:lnTo>
                  <a:lnTo>
                    <a:pt x="540657" y="116115"/>
                  </a:lnTo>
                  <a:lnTo>
                    <a:pt x="453571" y="76200"/>
                  </a:lnTo>
                  <a:lnTo>
                    <a:pt x="457200" y="0"/>
                  </a:lnTo>
                  <a:lnTo>
                    <a:pt x="399142" y="58057"/>
                  </a:lnTo>
                  <a:lnTo>
                    <a:pt x="406400" y="141515"/>
                  </a:lnTo>
                  <a:lnTo>
                    <a:pt x="362857" y="181429"/>
                  </a:lnTo>
                  <a:lnTo>
                    <a:pt x="370114" y="235857"/>
                  </a:lnTo>
                  <a:lnTo>
                    <a:pt x="348342" y="261257"/>
                  </a:lnTo>
                  <a:lnTo>
                    <a:pt x="344714" y="326572"/>
                  </a:lnTo>
                  <a:lnTo>
                    <a:pt x="308428" y="402772"/>
                  </a:lnTo>
                  <a:lnTo>
                    <a:pt x="279400" y="384629"/>
                  </a:lnTo>
                  <a:lnTo>
                    <a:pt x="228600" y="413657"/>
                  </a:lnTo>
                  <a:lnTo>
                    <a:pt x="250371" y="497115"/>
                  </a:lnTo>
                  <a:lnTo>
                    <a:pt x="177800" y="508000"/>
                  </a:lnTo>
                  <a:lnTo>
                    <a:pt x="119742" y="551543"/>
                  </a:lnTo>
                  <a:lnTo>
                    <a:pt x="112485" y="613229"/>
                  </a:lnTo>
                  <a:lnTo>
                    <a:pt x="32657" y="624115"/>
                  </a:lnTo>
                  <a:lnTo>
                    <a:pt x="32657" y="660400"/>
                  </a:lnTo>
                  <a:lnTo>
                    <a:pt x="7257" y="769257"/>
                  </a:lnTo>
                  <a:lnTo>
                    <a:pt x="25400" y="823686"/>
                  </a:lnTo>
                  <a:lnTo>
                    <a:pt x="0" y="852715"/>
                  </a:lnTo>
                  <a:lnTo>
                    <a:pt x="7257" y="881743"/>
                  </a:lnTo>
                  <a:lnTo>
                    <a:pt x="47171" y="896257"/>
                  </a:lnTo>
                  <a:lnTo>
                    <a:pt x="68942" y="950686"/>
                  </a:lnTo>
                  <a:lnTo>
                    <a:pt x="137885" y="968829"/>
                  </a:lnTo>
                  <a:lnTo>
                    <a:pt x="210457" y="1005115"/>
                  </a:lnTo>
                  <a:lnTo>
                    <a:pt x="250371" y="994229"/>
                  </a:lnTo>
                  <a:lnTo>
                    <a:pt x="290285" y="1052286"/>
                  </a:lnTo>
                  <a:lnTo>
                    <a:pt x="381000" y="1070429"/>
                  </a:lnTo>
                  <a:lnTo>
                    <a:pt x="449942" y="997857"/>
                  </a:lnTo>
                  <a:lnTo>
                    <a:pt x="609600" y="947057"/>
                  </a:lnTo>
                  <a:lnTo>
                    <a:pt x="678542" y="896257"/>
                  </a:lnTo>
                  <a:lnTo>
                    <a:pt x="765628" y="918029"/>
                  </a:lnTo>
                  <a:lnTo>
                    <a:pt x="856342" y="859972"/>
                  </a:lnTo>
                  <a:lnTo>
                    <a:pt x="845457" y="816429"/>
                  </a:lnTo>
                  <a:lnTo>
                    <a:pt x="885371" y="780143"/>
                  </a:lnTo>
                  <a:lnTo>
                    <a:pt x="852714" y="740229"/>
                  </a:lnTo>
                  <a:lnTo>
                    <a:pt x="878114" y="682172"/>
                  </a:lnTo>
                  <a:lnTo>
                    <a:pt x="867228" y="609600"/>
                  </a:lnTo>
                  <a:lnTo>
                    <a:pt x="943428" y="500743"/>
                  </a:lnTo>
                  <a:lnTo>
                    <a:pt x="925285" y="453572"/>
                  </a:lnTo>
                  <a:lnTo>
                    <a:pt x="961571" y="457200"/>
                  </a:lnTo>
                  <a:lnTo>
                    <a:pt x="947057" y="381000"/>
                  </a:lnTo>
                  <a:lnTo>
                    <a:pt x="972457" y="402772"/>
                  </a:lnTo>
                  <a:lnTo>
                    <a:pt x="986971" y="391886"/>
                  </a:lnTo>
                  <a:lnTo>
                    <a:pt x="979714" y="351972"/>
                  </a:lnTo>
                  <a:lnTo>
                    <a:pt x="1005114" y="351972"/>
                  </a:lnTo>
                  <a:lnTo>
                    <a:pt x="1055914" y="388257"/>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8" name="Freeform 23551">
              <a:extLst>
                <a:ext uri="{FF2B5EF4-FFF2-40B4-BE49-F238E27FC236}">
                  <a16:creationId xmlns:a16="http://schemas.microsoft.com/office/drawing/2014/main" id="{580EDE7B-E045-4337-8E70-CE53191FEB9E}"/>
                </a:ext>
              </a:extLst>
            </p:cNvPr>
            <p:cNvSpPr/>
            <p:nvPr/>
          </p:nvSpPr>
          <p:spPr>
            <a:xfrm>
              <a:off x="9627575" y="2808715"/>
              <a:ext cx="1357312" cy="1444626"/>
            </a:xfrm>
            <a:custGeom>
              <a:avLst/>
              <a:gdLst>
                <a:gd name="connsiteX0" fmla="*/ 1030514 w 1357085"/>
                <a:gd name="connsiteY0" fmla="*/ 1433286 h 1433286"/>
                <a:gd name="connsiteX1" fmla="*/ 1099457 w 1357085"/>
                <a:gd name="connsiteY1" fmla="*/ 1338943 h 1433286"/>
                <a:gd name="connsiteX2" fmla="*/ 1081314 w 1357085"/>
                <a:gd name="connsiteY2" fmla="*/ 1273629 h 1433286"/>
                <a:gd name="connsiteX3" fmla="*/ 1121228 w 1357085"/>
                <a:gd name="connsiteY3" fmla="*/ 1034143 h 1433286"/>
                <a:gd name="connsiteX4" fmla="*/ 1099457 w 1357085"/>
                <a:gd name="connsiteY4" fmla="*/ 997857 h 1433286"/>
                <a:gd name="connsiteX5" fmla="*/ 1121228 w 1357085"/>
                <a:gd name="connsiteY5" fmla="*/ 947057 h 1433286"/>
                <a:gd name="connsiteX6" fmla="*/ 1113971 w 1357085"/>
                <a:gd name="connsiteY6" fmla="*/ 849086 h 1433286"/>
                <a:gd name="connsiteX7" fmla="*/ 1132114 w 1357085"/>
                <a:gd name="connsiteY7" fmla="*/ 740229 h 1433286"/>
                <a:gd name="connsiteX8" fmla="*/ 1150257 w 1357085"/>
                <a:gd name="connsiteY8" fmla="*/ 631372 h 1433286"/>
                <a:gd name="connsiteX9" fmla="*/ 1164771 w 1357085"/>
                <a:gd name="connsiteY9" fmla="*/ 584200 h 1433286"/>
                <a:gd name="connsiteX10" fmla="*/ 1201057 w 1357085"/>
                <a:gd name="connsiteY10" fmla="*/ 631372 h 1433286"/>
                <a:gd name="connsiteX11" fmla="*/ 1357085 w 1357085"/>
                <a:gd name="connsiteY11" fmla="*/ 406400 h 1433286"/>
                <a:gd name="connsiteX12" fmla="*/ 1317171 w 1357085"/>
                <a:gd name="connsiteY12" fmla="*/ 399143 h 1433286"/>
                <a:gd name="connsiteX13" fmla="*/ 1299028 w 1357085"/>
                <a:gd name="connsiteY13" fmla="*/ 366486 h 1433286"/>
                <a:gd name="connsiteX14" fmla="*/ 1259114 w 1357085"/>
                <a:gd name="connsiteY14" fmla="*/ 359229 h 1433286"/>
                <a:gd name="connsiteX15" fmla="*/ 1255485 w 1357085"/>
                <a:gd name="connsiteY15" fmla="*/ 304800 h 1433286"/>
                <a:gd name="connsiteX16" fmla="*/ 1299028 w 1357085"/>
                <a:gd name="connsiteY16" fmla="*/ 279400 h 1433286"/>
                <a:gd name="connsiteX17" fmla="*/ 1291771 w 1357085"/>
                <a:gd name="connsiteY17" fmla="*/ 239486 h 1433286"/>
                <a:gd name="connsiteX18" fmla="*/ 1237343 w 1357085"/>
                <a:gd name="connsiteY18" fmla="*/ 217714 h 1433286"/>
                <a:gd name="connsiteX19" fmla="*/ 1233714 w 1357085"/>
                <a:gd name="connsiteY19" fmla="*/ 181429 h 1433286"/>
                <a:gd name="connsiteX20" fmla="*/ 1161143 w 1357085"/>
                <a:gd name="connsiteY20" fmla="*/ 112486 h 1433286"/>
                <a:gd name="connsiteX21" fmla="*/ 1124857 w 1357085"/>
                <a:gd name="connsiteY21" fmla="*/ 119743 h 1433286"/>
                <a:gd name="connsiteX22" fmla="*/ 1103085 w 1357085"/>
                <a:gd name="connsiteY22" fmla="*/ 87086 h 1433286"/>
                <a:gd name="connsiteX23" fmla="*/ 1005114 w 1357085"/>
                <a:gd name="connsiteY23" fmla="*/ 29029 h 1433286"/>
                <a:gd name="connsiteX24" fmla="*/ 957943 w 1357085"/>
                <a:gd name="connsiteY24" fmla="*/ 87086 h 1433286"/>
                <a:gd name="connsiteX25" fmla="*/ 907143 w 1357085"/>
                <a:gd name="connsiteY25" fmla="*/ 127000 h 1433286"/>
                <a:gd name="connsiteX26" fmla="*/ 867228 w 1357085"/>
                <a:gd name="connsiteY26" fmla="*/ 156029 h 1433286"/>
                <a:gd name="connsiteX27" fmla="*/ 816428 w 1357085"/>
                <a:gd name="connsiteY27" fmla="*/ 170543 h 1433286"/>
                <a:gd name="connsiteX28" fmla="*/ 780143 w 1357085"/>
                <a:gd name="connsiteY28" fmla="*/ 192314 h 1433286"/>
                <a:gd name="connsiteX29" fmla="*/ 736600 w 1357085"/>
                <a:gd name="connsiteY29" fmla="*/ 210457 h 1433286"/>
                <a:gd name="connsiteX30" fmla="*/ 653143 w 1357085"/>
                <a:gd name="connsiteY30" fmla="*/ 210457 h 1433286"/>
                <a:gd name="connsiteX31" fmla="*/ 620485 w 1357085"/>
                <a:gd name="connsiteY31" fmla="*/ 250372 h 1433286"/>
                <a:gd name="connsiteX32" fmla="*/ 602343 w 1357085"/>
                <a:gd name="connsiteY32" fmla="*/ 290286 h 1433286"/>
                <a:gd name="connsiteX33" fmla="*/ 555171 w 1357085"/>
                <a:gd name="connsiteY33" fmla="*/ 322943 h 1433286"/>
                <a:gd name="connsiteX34" fmla="*/ 529771 w 1357085"/>
                <a:gd name="connsiteY34" fmla="*/ 330200 h 1433286"/>
                <a:gd name="connsiteX35" fmla="*/ 551543 w 1357085"/>
                <a:gd name="connsiteY35" fmla="*/ 279400 h 1433286"/>
                <a:gd name="connsiteX36" fmla="*/ 547914 w 1357085"/>
                <a:gd name="connsiteY36" fmla="*/ 232229 h 1433286"/>
                <a:gd name="connsiteX37" fmla="*/ 595085 w 1357085"/>
                <a:gd name="connsiteY37" fmla="*/ 221343 h 1433286"/>
                <a:gd name="connsiteX38" fmla="*/ 664028 w 1357085"/>
                <a:gd name="connsiteY38" fmla="*/ 166914 h 1433286"/>
                <a:gd name="connsiteX39" fmla="*/ 725714 w 1357085"/>
                <a:gd name="connsiteY39" fmla="*/ 163286 h 1433286"/>
                <a:gd name="connsiteX40" fmla="*/ 798285 w 1357085"/>
                <a:gd name="connsiteY40" fmla="*/ 127000 h 1433286"/>
                <a:gd name="connsiteX41" fmla="*/ 834571 w 1357085"/>
                <a:gd name="connsiteY41" fmla="*/ 134257 h 1433286"/>
                <a:gd name="connsiteX42" fmla="*/ 892628 w 1357085"/>
                <a:gd name="connsiteY42" fmla="*/ 112486 h 1433286"/>
                <a:gd name="connsiteX43" fmla="*/ 838200 w 1357085"/>
                <a:gd name="connsiteY43" fmla="*/ 7257 h 1433286"/>
                <a:gd name="connsiteX44" fmla="*/ 783771 w 1357085"/>
                <a:gd name="connsiteY44" fmla="*/ 0 h 1433286"/>
                <a:gd name="connsiteX45" fmla="*/ 729343 w 1357085"/>
                <a:gd name="connsiteY45" fmla="*/ 39914 h 1433286"/>
                <a:gd name="connsiteX46" fmla="*/ 671285 w 1357085"/>
                <a:gd name="connsiteY46" fmla="*/ 76200 h 1433286"/>
                <a:gd name="connsiteX47" fmla="*/ 605971 w 1357085"/>
                <a:gd name="connsiteY47" fmla="*/ 108857 h 1433286"/>
                <a:gd name="connsiteX48" fmla="*/ 562428 w 1357085"/>
                <a:gd name="connsiteY48" fmla="*/ 123372 h 1433286"/>
                <a:gd name="connsiteX49" fmla="*/ 508000 w 1357085"/>
                <a:gd name="connsiteY49" fmla="*/ 83457 h 1433286"/>
                <a:gd name="connsiteX50" fmla="*/ 475343 w 1357085"/>
                <a:gd name="connsiteY50" fmla="*/ 101600 h 1433286"/>
                <a:gd name="connsiteX51" fmla="*/ 439057 w 1357085"/>
                <a:gd name="connsiteY51" fmla="*/ 76200 h 1433286"/>
                <a:gd name="connsiteX52" fmla="*/ 417285 w 1357085"/>
                <a:gd name="connsiteY52" fmla="*/ 108857 h 1433286"/>
                <a:gd name="connsiteX53" fmla="*/ 442685 w 1357085"/>
                <a:gd name="connsiteY53" fmla="*/ 174172 h 1433286"/>
                <a:gd name="connsiteX54" fmla="*/ 428171 w 1357085"/>
                <a:gd name="connsiteY54" fmla="*/ 210457 h 1433286"/>
                <a:gd name="connsiteX55" fmla="*/ 391885 w 1357085"/>
                <a:gd name="connsiteY55" fmla="*/ 217714 h 1433286"/>
                <a:gd name="connsiteX56" fmla="*/ 373743 w 1357085"/>
                <a:gd name="connsiteY56" fmla="*/ 264886 h 1433286"/>
                <a:gd name="connsiteX57" fmla="*/ 322943 w 1357085"/>
                <a:gd name="connsiteY57" fmla="*/ 275772 h 1433286"/>
                <a:gd name="connsiteX58" fmla="*/ 283028 w 1357085"/>
                <a:gd name="connsiteY58" fmla="*/ 304800 h 1433286"/>
                <a:gd name="connsiteX59" fmla="*/ 203200 w 1357085"/>
                <a:gd name="connsiteY59" fmla="*/ 297543 h 1433286"/>
                <a:gd name="connsiteX60" fmla="*/ 145143 w 1357085"/>
                <a:gd name="connsiteY60" fmla="*/ 239486 h 1433286"/>
                <a:gd name="connsiteX61" fmla="*/ 87085 w 1357085"/>
                <a:gd name="connsiteY61" fmla="*/ 250372 h 1433286"/>
                <a:gd name="connsiteX62" fmla="*/ 39914 w 1357085"/>
                <a:gd name="connsiteY62" fmla="*/ 279400 h 1433286"/>
                <a:gd name="connsiteX63" fmla="*/ 39914 w 1357085"/>
                <a:gd name="connsiteY63" fmla="*/ 322943 h 1433286"/>
                <a:gd name="connsiteX64" fmla="*/ 0 w 1357085"/>
                <a:gd name="connsiteY64" fmla="*/ 377372 h 1433286"/>
                <a:gd name="connsiteX65" fmla="*/ 50800 w 1357085"/>
                <a:gd name="connsiteY65" fmla="*/ 406400 h 1433286"/>
                <a:gd name="connsiteX66" fmla="*/ 72571 w 1357085"/>
                <a:gd name="connsiteY66" fmla="*/ 413657 h 1433286"/>
                <a:gd name="connsiteX67" fmla="*/ 72571 w 1357085"/>
                <a:gd name="connsiteY67" fmla="*/ 464457 h 1433286"/>
                <a:gd name="connsiteX68" fmla="*/ 39914 w 1357085"/>
                <a:gd name="connsiteY68" fmla="*/ 522514 h 1433286"/>
                <a:gd name="connsiteX69" fmla="*/ 54428 w 1357085"/>
                <a:gd name="connsiteY69" fmla="*/ 598714 h 1433286"/>
                <a:gd name="connsiteX70" fmla="*/ 79828 w 1357085"/>
                <a:gd name="connsiteY70" fmla="*/ 613229 h 1433286"/>
                <a:gd name="connsiteX71" fmla="*/ 90714 w 1357085"/>
                <a:gd name="connsiteY71" fmla="*/ 642257 h 1433286"/>
                <a:gd name="connsiteX72" fmla="*/ 54428 w 1357085"/>
                <a:gd name="connsiteY72" fmla="*/ 653143 h 1433286"/>
                <a:gd name="connsiteX73" fmla="*/ 68943 w 1357085"/>
                <a:gd name="connsiteY73" fmla="*/ 689429 h 1433286"/>
                <a:gd name="connsiteX74" fmla="*/ 43543 w 1357085"/>
                <a:gd name="connsiteY74" fmla="*/ 758372 h 1433286"/>
                <a:gd name="connsiteX75" fmla="*/ 61685 w 1357085"/>
                <a:gd name="connsiteY75" fmla="*/ 801914 h 1433286"/>
                <a:gd name="connsiteX76" fmla="*/ 101600 w 1357085"/>
                <a:gd name="connsiteY76" fmla="*/ 830943 h 1433286"/>
                <a:gd name="connsiteX77" fmla="*/ 83457 w 1357085"/>
                <a:gd name="connsiteY77" fmla="*/ 928914 h 1433286"/>
                <a:gd name="connsiteX78" fmla="*/ 68943 w 1357085"/>
                <a:gd name="connsiteY78" fmla="*/ 947057 h 1433286"/>
                <a:gd name="connsiteX79" fmla="*/ 72571 w 1357085"/>
                <a:gd name="connsiteY79" fmla="*/ 961572 h 1433286"/>
                <a:gd name="connsiteX80" fmla="*/ 264885 w 1357085"/>
                <a:gd name="connsiteY80" fmla="*/ 889000 h 1433286"/>
                <a:gd name="connsiteX81" fmla="*/ 264885 w 1357085"/>
                <a:gd name="connsiteY81" fmla="*/ 852714 h 1433286"/>
                <a:gd name="connsiteX82" fmla="*/ 391885 w 1357085"/>
                <a:gd name="connsiteY82" fmla="*/ 830943 h 1433286"/>
                <a:gd name="connsiteX83" fmla="*/ 449943 w 1357085"/>
                <a:gd name="connsiteY83" fmla="*/ 881743 h 1433286"/>
                <a:gd name="connsiteX84" fmla="*/ 482600 w 1357085"/>
                <a:gd name="connsiteY84" fmla="*/ 845457 h 1433286"/>
                <a:gd name="connsiteX85" fmla="*/ 526143 w 1357085"/>
                <a:gd name="connsiteY85" fmla="*/ 849086 h 1433286"/>
                <a:gd name="connsiteX86" fmla="*/ 555171 w 1357085"/>
                <a:gd name="connsiteY86" fmla="*/ 914400 h 1433286"/>
                <a:gd name="connsiteX87" fmla="*/ 587828 w 1357085"/>
                <a:gd name="connsiteY87" fmla="*/ 932543 h 1433286"/>
                <a:gd name="connsiteX88" fmla="*/ 620485 w 1357085"/>
                <a:gd name="connsiteY88" fmla="*/ 954314 h 1433286"/>
                <a:gd name="connsiteX89" fmla="*/ 674914 w 1357085"/>
                <a:gd name="connsiteY89" fmla="*/ 936172 h 1433286"/>
                <a:gd name="connsiteX90" fmla="*/ 791028 w 1357085"/>
                <a:gd name="connsiteY90" fmla="*/ 1034143 h 1433286"/>
                <a:gd name="connsiteX91" fmla="*/ 834571 w 1357085"/>
                <a:gd name="connsiteY91" fmla="*/ 1023257 h 1433286"/>
                <a:gd name="connsiteX92" fmla="*/ 921657 w 1357085"/>
                <a:gd name="connsiteY92" fmla="*/ 1045029 h 1433286"/>
                <a:gd name="connsiteX93" fmla="*/ 961571 w 1357085"/>
                <a:gd name="connsiteY93" fmla="*/ 1113972 h 1433286"/>
                <a:gd name="connsiteX94" fmla="*/ 903514 w 1357085"/>
                <a:gd name="connsiteY94" fmla="*/ 1280886 h 1433286"/>
                <a:gd name="connsiteX95" fmla="*/ 903514 w 1357085"/>
                <a:gd name="connsiteY95" fmla="*/ 1317172 h 1433286"/>
                <a:gd name="connsiteX96" fmla="*/ 932543 w 1357085"/>
                <a:gd name="connsiteY96" fmla="*/ 1328057 h 1433286"/>
                <a:gd name="connsiteX97" fmla="*/ 936171 w 1357085"/>
                <a:gd name="connsiteY97" fmla="*/ 1378857 h 1433286"/>
                <a:gd name="connsiteX98" fmla="*/ 1030514 w 1357085"/>
                <a:gd name="connsiteY98" fmla="*/ 1433286 h 1433286"/>
                <a:gd name="connsiteX0" fmla="*/ 1030514 w 1357085"/>
                <a:gd name="connsiteY0" fmla="*/ 1433286 h 1433286"/>
                <a:gd name="connsiteX1" fmla="*/ 1099457 w 1357085"/>
                <a:gd name="connsiteY1" fmla="*/ 1338943 h 1433286"/>
                <a:gd name="connsiteX2" fmla="*/ 1081314 w 1357085"/>
                <a:gd name="connsiteY2" fmla="*/ 1273629 h 1433286"/>
                <a:gd name="connsiteX3" fmla="*/ 1121228 w 1357085"/>
                <a:gd name="connsiteY3" fmla="*/ 1034143 h 1433286"/>
                <a:gd name="connsiteX4" fmla="*/ 1099457 w 1357085"/>
                <a:gd name="connsiteY4" fmla="*/ 997857 h 1433286"/>
                <a:gd name="connsiteX5" fmla="*/ 1121228 w 1357085"/>
                <a:gd name="connsiteY5" fmla="*/ 947057 h 1433286"/>
                <a:gd name="connsiteX6" fmla="*/ 1113971 w 1357085"/>
                <a:gd name="connsiteY6" fmla="*/ 849086 h 1433286"/>
                <a:gd name="connsiteX7" fmla="*/ 1132114 w 1357085"/>
                <a:gd name="connsiteY7" fmla="*/ 740229 h 1433286"/>
                <a:gd name="connsiteX8" fmla="*/ 1150257 w 1357085"/>
                <a:gd name="connsiteY8" fmla="*/ 631372 h 1433286"/>
                <a:gd name="connsiteX9" fmla="*/ 1164771 w 1357085"/>
                <a:gd name="connsiteY9" fmla="*/ 584200 h 1433286"/>
                <a:gd name="connsiteX10" fmla="*/ 1201057 w 1357085"/>
                <a:gd name="connsiteY10" fmla="*/ 631372 h 1433286"/>
                <a:gd name="connsiteX11" fmla="*/ 1357085 w 1357085"/>
                <a:gd name="connsiteY11" fmla="*/ 406400 h 1433286"/>
                <a:gd name="connsiteX12" fmla="*/ 1317171 w 1357085"/>
                <a:gd name="connsiteY12" fmla="*/ 399143 h 1433286"/>
                <a:gd name="connsiteX13" fmla="*/ 1299028 w 1357085"/>
                <a:gd name="connsiteY13" fmla="*/ 366486 h 1433286"/>
                <a:gd name="connsiteX14" fmla="*/ 1259114 w 1357085"/>
                <a:gd name="connsiteY14" fmla="*/ 359229 h 1433286"/>
                <a:gd name="connsiteX15" fmla="*/ 1255485 w 1357085"/>
                <a:gd name="connsiteY15" fmla="*/ 304800 h 1433286"/>
                <a:gd name="connsiteX16" fmla="*/ 1299028 w 1357085"/>
                <a:gd name="connsiteY16" fmla="*/ 279400 h 1433286"/>
                <a:gd name="connsiteX17" fmla="*/ 1291771 w 1357085"/>
                <a:gd name="connsiteY17" fmla="*/ 239486 h 1433286"/>
                <a:gd name="connsiteX18" fmla="*/ 1237343 w 1357085"/>
                <a:gd name="connsiteY18" fmla="*/ 217714 h 1433286"/>
                <a:gd name="connsiteX19" fmla="*/ 1233714 w 1357085"/>
                <a:gd name="connsiteY19" fmla="*/ 181429 h 1433286"/>
                <a:gd name="connsiteX20" fmla="*/ 1161143 w 1357085"/>
                <a:gd name="connsiteY20" fmla="*/ 112486 h 1433286"/>
                <a:gd name="connsiteX21" fmla="*/ 1124857 w 1357085"/>
                <a:gd name="connsiteY21" fmla="*/ 119743 h 1433286"/>
                <a:gd name="connsiteX22" fmla="*/ 1103085 w 1357085"/>
                <a:gd name="connsiteY22" fmla="*/ 87086 h 1433286"/>
                <a:gd name="connsiteX23" fmla="*/ 1005114 w 1357085"/>
                <a:gd name="connsiteY23" fmla="*/ 29029 h 1433286"/>
                <a:gd name="connsiteX24" fmla="*/ 957943 w 1357085"/>
                <a:gd name="connsiteY24" fmla="*/ 87086 h 1433286"/>
                <a:gd name="connsiteX25" fmla="*/ 907143 w 1357085"/>
                <a:gd name="connsiteY25" fmla="*/ 127000 h 1433286"/>
                <a:gd name="connsiteX26" fmla="*/ 867228 w 1357085"/>
                <a:gd name="connsiteY26" fmla="*/ 156029 h 1433286"/>
                <a:gd name="connsiteX27" fmla="*/ 816428 w 1357085"/>
                <a:gd name="connsiteY27" fmla="*/ 170543 h 1433286"/>
                <a:gd name="connsiteX28" fmla="*/ 780143 w 1357085"/>
                <a:gd name="connsiteY28" fmla="*/ 192314 h 1433286"/>
                <a:gd name="connsiteX29" fmla="*/ 736600 w 1357085"/>
                <a:gd name="connsiteY29" fmla="*/ 210457 h 1433286"/>
                <a:gd name="connsiteX30" fmla="*/ 653143 w 1357085"/>
                <a:gd name="connsiteY30" fmla="*/ 210457 h 1433286"/>
                <a:gd name="connsiteX31" fmla="*/ 620485 w 1357085"/>
                <a:gd name="connsiteY31" fmla="*/ 250372 h 1433286"/>
                <a:gd name="connsiteX32" fmla="*/ 602343 w 1357085"/>
                <a:gd name="connsiteY32" fmla="*/ 290286 h 1433286"/>
                <a:gd name="connsiteX33" fmla="*/ 555171 w 1357085"/>
                <a:gd name="connsiteY33" fmla="*/ 322943 h 1433286"/>
                <a:gd name="connsiteX34" fmla="*/ 529771 w 1357085"/>
                <a:gd name="connsiteY34" fmla="*/ 330200 h 1433286"/>
                <a:gd name="connsiteX35" fmla="*/ 551543 w 1357085"/>
                <a:gd name="connsiteY35" fmla="*/ 279400 h 1433286"/>
                <a:gd name="connsiteX36" fmla="*/ 547914 w 1357085"/>
                <a:gd name="connsiteY36" fmla="*/ 232229 h 1433286"/>
                <a:gd name="connsiteX37" fmla="*/ 595085 w 1357085"/>
                <a:gd name="connsiteY37" fmla="*/ 221343 h 1433286"/>
                <a:gd name="connsiteX38" fmla="*/ 664028 w 1357085"/>
                <a:gd name="connsiteY38" fmla="*/ 166914 h 1433286"/>
                <a:gd name="connsiteX39" fmla="*/ 725714 w 1357085"/>
                <a:gd name="connsiteY39" fmla="*/ 163286 h 1433286"/>
                <a:gd name="connsiteX40" fmla="*/ 798285 w 1357085"/>
                <a:gd name="connsiteY40" fmla="*/ 127000 h 1433286"/>
                <a:gd name="connsiteX41" fmla="*/ 834571 w 1357085"/>
                <a:gd name="connsiteY41" fmla="*/ 134257 h 1433286"/>
                <a:gd name="connsiteX42" fmla="*/ 892628 w 1357085"/>
                <a:gd name="connsiteY42" fmla="*/ 112486 h 1433286"/>
                <a:gd name="connsiteX43" fmla="*/ 838200 w 1357085"/>
                <a:gd name="connsiteY43" fmla="*/ 7257 h 1433286"/>
                <a:gd name="connsiteX44" fmla="*/ 783771 w 1357085"/>
                <a:gd name="connsiteY44" fmla="*/ 0 h 1433286"/>
                <a:gd name="connsiteX45" fmla="*/ 717913 w 1357085"/>
                <a:gd name="connsiteY45" fmla="*/ 32294 h 1433286"/>
                <a:gd name="connsiteX46" fmla="*/ 671285 w 1357085"/>
                <a:gd name="connsiteY46" fmla="*/ 76200 h 1433286"/>
                <a:gd name="connsiteX47" fmla="*/ 605971 w 1357085"/>
                <a:gd name="connsiteY47" fmla="*/ 108857 h 1433286"/>
                <a:gd name="connsiteX48" fmla="*/ 562428 w 1357085"/>
                <a:gd name="connsiteY48" fmla="*/ 123372 h 1433286"/>
                <a:gd name="connsiteX49" fmla="*/ 508000 w 1357085"/>
                <a:gd name="connsiteY49" fmla="*/ 83457 h 1433286"/>
                <a:gd name="connsiteX50" fmla="*/ 475343 w 1357085"/>
                <a:gd name="connsiteY50" fmla="*/ 101600 h 1433286"/>
                <a:gd name="connsiteX51" fmla="*/ 439057 w 1357085"/>
                <a:gd name="connsiteY51" fmla="*/ 76200 h 1433286"/>
                <a:gd name="connsiteX52" fmla="*/ 417285 w 1357085"/>
                <a:gd name="connsiteY52" fmla="*/ 108857 h 1433286"/>
                <a:gd name="connsiteX53" fmla="*/ 442685 w 1357085"/>
                <a:gd name="connsiteY53" fmla="*/ 174172 h 1433286"/>
                <a:gd name="connsiteX54" fmla="*/ 428171 w 1357085"/>
                <a:gd name="connsiteY54" fmla="*/ 210457 h 1433286"/>
                <a:gd name="connsiteX55" fmla="*/ 391885 w 1357085"/>
                <a:gd name="connsiteY55" fmla="*/ 217714 h 1433286"/>
                <a:gd name="connsiteX56" fmla="*/ 373743 w 1357085"/>
                <a:gd name="connsiteY56" fmla="*/ 264886 h 1433286"/>
                <a:gd name="connsiteX57" fmla="*/ 322943 w 1357085"/>
                <a:gd name="connsiteY57" fmla="*/ 275772 h 1433286"/>
                <a:gd name="connsiteX58" fmla="*/ 283028 w 1357085"/>
                <a:gd name="connsiteY58" fmla="*/ 304800 h 1433286"/>
                <a:gd name="connsiteX59" fmla="*/ 203200 w 1357085"/>
                <a:gd name="connsiteY59" fmla="*/ 297543 h 1433286"/>
                <a:gd name="connsiteX60" fmla="*/ 145143 w 1357085"/>
                <a:gd name="connsiteY60" fmla="*/ 239486 h 1433286"/>
                <a:gd name="connsiteX61" fmla="*/ 87085 w 1357085"/>
                <a:gd name="connsiteY61" fmla="*/ 250372 h 1433286"/>
                <a:gd name="connsiteX62" fmla="*/ 39914 w 1357085"/>
                <a:gd name="connsiteY62" fmla="*/ 279400 h 1433286"/>
                <a:gd name="connsiteX63" fmla="*/ 39914 w 1357085"/>
                <a:gd name="connsiteY63" fmla="*/ 322943 h 1433286"/>
                <a:gd name="connsiteX64" fmla="*/ 0 w 1357085"/>
                <a:gd name="connsiteY64" fmla="*/ 377372 h 1433286"/>
                <a:gd name="connsiteX65" fmla="*/ 50800 w 1357085"/>
                <a:gd name="connsiteY65" fmla="*/ 406400 h 1433286"/>
                <a:gd name="connsiteX66" fmla="*/ 72571 w 1357085"/>
                <a:gd name="connsiteY66" fmla="*/ 413657 h 1433286"/>
                <a:gd name="connsiteX67" fmla="*/ 72571 w 1357085"/>
                <a:gd name="connsiteY67" fmla="*/ 464457 h 1433286"/>
                <a:gd name="connsiteX68" fmla="*/ 39914 w 1357085"/>
                <a:gd name="connsiteY68" fmla="*/ 522514 h 1433286"/>
                <a:gd name="connsiteX69" fmla="*/ 54428 w 1357085"/>
                <a:gd name="connsiteY69" fmla="*/ 598714 h 1433286"/>
                <a:gd name="connsiteX70" fmla="*/ 79828 w 1357085"/>
                <a:gd name="connsiteY70" fmla="*/ 613229 h 1433286"/>
                <a:gd name="connsiteX71" fmla="*/ 90714 w 1357085"/>
                <a:gd name="connsiteY71" fmla="*/ 642257 h 1433286"/>
                <a:gd name="connsiteX72" fmla="*/ 54428 w 1357085"/>
                <a:gd name="connsiteY72" fmla="*/ 653143 h 1433286"/>
                <a:gd name="connsiteX73" fmla="*/ 68943 w 1357085"/>
                <a:gd name="connsiteY73" fmla="*/ 689429 h 1433286"/>
                <a:gd name="connsiteX74" fmla="*/ 43543 w 1357085"/>
                <a:gd name="connsiteY74" fmla="*/ 758372 h 1433286"/>
                <a:gd name="connsiteX75" fmla="*/ 61685 w 1357085"/>
                <a:gd name="connsiteY75" fmla="*/ 801914 h 1433286"/>
                <a:gd name="connsiteX76" fmla="*/ 101600 w 1357085"/>
                <a:gd name="connsiteY76" fmla="*/ 830943 h 1433286"/>
                <a:gd name="connsiteX77" fmla="*/ 83457 w 1357085"/>
                <a:gd name="connsiteY77" fmla="*/ 928914 h 1433286"/>
                <a:gd name="connsiteX78" fmla="*/ 68943 w 1357085"/>
                <a:gd name="connsiteY78" fmla="*/ 947057 h 1433286"/>
                <a:gd name="connsiteX79" fmla="*/ 72571 w 1357085"/>
                <a:gd name="connsiteY79" fmla="*/ 961572 h 1433286"/>
                <a:gd name="connsiteX80" fmla="*/ 264885 w 1357085"/>
                <a:gd name="connsiteY80" fmla="*/ 889000 h 1433286"/>
                <a:gd name="connsiteX81" fmla="*/ 264885 w 1357085"/>
                <a:gd name="connsiteY81" fmla="*/ 852714 h 1433286"/>
                <a:gd name="connsiteX82" fmla="*/ 391885 w 1357085"/>
                <a:gd name="connsiteY82" fmla="*/ 830943 h 1433286"/>
                <a:gd name="connsiteX83" fmla="*/ 449943 w 1357085"/>
                <a:gd name="connsiteY83" fmla="*/ 881743 h 1433286"/>
                <a:gd name="connsiteX84" fmla="*/ 482600 w 1357085"/>
                <a:gd name="connsiteY84" fmla="*/ 845457 h 1433286"/>
                <a:gd name="connsiteX85" fmla="*/ 526143 w 1357085"/>
                <a:gd name="connsiteY85" fmla="*/ 849086 h 1433286"/>
                <a:gd name="connsiteX86" fmla="*/ 555171 w 1357085"/>
                <a:gd name="connsiteY86" fmla="*/ 914400 h 1433286"/>
                <a:gd name="connsiteX87" fmla="*/ 587828 w 1357085"/>
                <a:gd name="connsiteY87" fmla="*/ 932543 h 1433286"/>
                <a:gd name="connsiteX88" fmla="*/ 620485 w 1357085"/>
                <a:gd name="connsiteY88" fmla="*/ 954314 h 1433286"/>
                <a:gd name="connsiteX89" fmla="*/ 674914 w 1357085"/>
                <a:gd name="connsiteY89" fmla="*/ 936172 h 1433286"/>
                <a:gd name="connsiteX90" fmla="*/ 791028 w 1357085"/>
                <a:gd name="connsiteY90" fmla="*/ 1034143 h 1433286"/>
                <a:gd name="connsiteX91" fmla="*/ 834571 w 1357085"/>
                <a:gd name="connsiteY91" fmla="*/ 1023257 h 1433286"/>
                <a:gd name="connsiteX92" fmla="*/ 921657 w 1357085"/>
                <a:gd name="connsiteY92" fmla="*/ 1045029 h 1433286"/>
                <a:gd name="connsiteX93" fmla="*/ 961571 w 1357085"/>
                <a:gd name="connsiteY93" fmla="*/ 1113972 h 1433286"/>
                <a:gd name="connsiteX94" fmla="*/ 903514 w 1357085"/>
                <a:gd name="connsiteY94" fmla="*/ 1280886 h 1433286"/>
                <a:gd name="connsiteX95" fmla="*/ 903514 w 1357085"/>
                <a:gd name="connsiteY95" fmla="*/ 1317172 h 1433286"/>
                <a:gd name="connsiteX96" fmla="*/ 932543 w 1357085"/>
                <a:gd name="connsiteY96" fmla="*/ 1328057 h 1433286"/>
                <a:gd name="connsiteX97" fmla="*/ 936171 w 1357085"/>
                <a:gd name="connsiteY97" fmla="*/ 1378857 h 1433286"/>
                <a:gd name="connsiteX98" fmla="*/ 1030514 w 1357085"/>
                <a:gd name="connsiteY98" fmla="*/ 1433286 h 1433286"/>
                <a:gd name="connsiteX0" fmla="*/ 1030514 w 1357085"/>
                <a:gd name="connsiteY0" fmla="*/ 1433286 h 1433286"/>
                <a:gd name="connsiteX1" fmla="*/ 1099457 w 1357085"/>
                <a:gd name="connsiteY1" fmla="*/ 1338943 h 1433286"/>
                <a:gd name="connsiteX2" fmla="*/ 1081314 w 1357085"/>
                <a:gd name="connsiteY2" fmla="*/ 1273629 h 1433286"/>
                <a:gd name="connsiteX3" fmla="*/ 1121228 w 1357085"/>
                <a:gd name="connsiteY3" fmla="*/ 1034143 h 1433286"/>
                <a:gd name="connsiteX4" fmla="*/ 1099457 w 1357085"/>
                <a:gd name="connsiteY4" fmla="*/ 997857 h 1433286"/>
                <a:gd name="connsiteX5" fmla="*/ 1121228 w 1357085"/>
                <a:gd name="connsiteY5" fmla="*/ 947057 h 1433286"/>
                <a:gd name="connsiteX6" fmla="*/ 1113971 w 1357085"/>
                <a:gd name="connsiteY6" fmla="*/ 849086 h 1433286"/>
                <a:gd name="connsiteX7" fmla="*/ 1132114 w 1357085"/>
                <a:gd name="connsiteY7" fmla="*/ 740229 h 1433286"/>
                <a:gd name="connsiteX8" fmla="*/ 1150257 w 1357085"/>
                <a:gd name="connsiteY8" fmla="*/ 631372 h 1433286"/>
                <a:gd name="connsiteX9" fmla="*/ 1164771 w 1357085"/>
                <a:gd name="connsiteY9" fmla="*/ 584200 h 1433286"/>
                <a:gd name="connsiteX10" fmla="*/ 1201057 w 1357085"/>
                <a:gd name="connsiteY10" fmla="*/ 631372 h 1433286"/>
                <a:gd name="connsiteX11" fmla="*/ 1357085 w 1357085"/>
                <a:gd name="connsiteY11" fmla="*/ 406400 h 1433286"/>
                <a:gd name="connsiteX12" fmla="*/ 1317171 w 1357085"/>
                <a:gd name="connsiteY12" fmla="*/ 399143 h 1433286"/>
                <a:gd name="connsiteX13" fmla="*/ 1299028 w 1357085"/>
                <a:gd name="connsiteY13" fmla="*/ 366486 h 1433286"/>
                <a:gd name="connsiteX14" fmla="*/ 1259114 w 1357085"/>
                <a:gd name="connsiteY14" fmla="*/ 359229 h 1433286"/>
                <a:gd name="connsiteX15" fmla="*/ 1255485 w 1357085"/>
                <a:gd name="connsiteY15" fmla="*/ 304800 h 1433286"/>
                <a:gd name="connsiteX16" fmla="*/ 1299028 w 1357085"/>
                <a:gd name="connsiteY16" fmla="*/ 279400 h 1433286"/>
                <a:gd name="connsiteX17" fmla="*/ 1291771 w 1357085"/>
                <a:gd name="connsiteY17" fmla="*/ 239486 h 1433286"/>
                <a:gd name="connsiteX18" fmla="*/ 1237343 w 1357085"/>
                <a:gd name="connsiteY18" fmla="*/ 217714 h 1433286"/>
                <a:gd name="connsiteX19" fmla="*/ 1233714 w 1357085"/>
                <a:gd name="connsiteY19" fmla="*/ 181429 h 1433286"/>
                <a:gd name="connsiteX20" fmla="*/ 1161143 w 1357085"/>
                <a:gd name="connsiteY20" fmla="*/ 112486 h 1433286"/>
                <a:gd name="connsiteX21" fmla="*/ 1124857 w 1357085"/>
                <a:gd name="connsiteY21" fmla="*/ 119743 h 1433286"/>
                <a:gd name="connsiteX22" fmla="*/ 1103085 w 1357085"/>
                <a:gd name="connsiteY22" fmla="*/ 87086 h 1433286"/>
                <a:gd name="connsiteX23" fmla="*/ 1005114 w 1357085"/>
                <a:gd name="connsiteY23" fmla="*/ 29029 h 1433286"/>
                <a:gd name="connsiteX24" fmla="*/ 957943 w 1357085"/>
                <a:gd name="connsiteY24" fmla="*/ 87086 h 1433286"/>
                <a:gd name="connsiteX25" fmla="*/ 907143 w 1357085"/>
                <a:gd name="connsiteY25" fmla="*/ 127000 h 1433286"/>
                <a:gd name="connsiteX26" fmla="*/ 867228 w 1357085"/>
                <a:gd name="connsiteY26" fmla="*/ 156029 h 1433286"/>
                <a:gd name="connsiteX27" fmla="*/ 816428 w 1357085"/>
                <a:gd name="connsiteY27" fmla="*/ 170543 h 1433286"/>
                <a:gd name="connsiteX28" fmla="*/ 780143 w 1357085"/>
                <a:gd name="connsiteY28" fmla="*/ 192314 h 1433286"/>
                <a:gd name="connsiteX29" fmla="*/ 736600 w 1357085"/>
                <a:gd name="connsiteY29" fmla="*/ 210457 h 1433286"/>
                <a:gd name="connsiteX30" fmla="*/ 653143 w 1357085"/>
                <a:gd name="connsiteY30" fmla="*/ 210457 h 1433286"/>
                <a:gd name="connsiteX31" fmla="*/ 620485 w 1357085"/>
                <a:gd name="connsiteY31" fmla="*/ 250372 h 1433286"/>
                <a:gd name="connsiteX32" fmla="*/ 602343 w 1357085"/>
                <a:gd name="connsiteY32" fmla="*/ 290286 h 1433286"/>
                <a:gd name="connsiteX33" fmla="*/ 555171 w 1357085"/>
                <a:gd name="connsiteY33" fmla="*/ 322943 h 1433286"/>
                <a:gd name="connsiteX34" fmla="*/ 529771 w 1357085"/>
                <a:gd name="connsiteY34" fmla="*/ 330200 h 1433286"/>
                <a:gd name="connsiteX35" fmla="*/ 551543 w 1357085"/>
                <a:gd name="connsiteY35" fmla="*/ 279400 h 1433286"/>
                <a:gd name="connsiteX36" fmla="*/ 547914 w 1357085"/>
                <a:gd name="connsiteY36" fmla="*/ 232229 h 1433286"/>
                <a:gd name="connsiteX37" fmla="*/ 595085 w 1357085"/>
                <a:gd name="connsiteY37" fmla="*/ 221343 h 1433286"/>
                <a:gd name="connsiteX38" fmla="*/ 664028 w 1357085"/>
                <a:gd name="connsiteY38" fmla="*/ 166914 h 1433286"/>
                <a:gd name="connsiteX39" fmla="*/ 725714 w 1357085"/>
                <a:gd name="connsiteY39" fmla="*/ 163286 h 1433286"/>
                <a:gd name="connsiteX40" fmla="*/ 798285 w 1357085"/>
                <a:gd name="connsiteY40" fmla="*/ 127000 h 1433286"/>
                <a:gd name="connsiteX41" fmla="*/ 834571 w 1357085"/>
                <a:gd name="connsiteY41" fmla="*/ 134257 h 1433286"/>
                <a:gd name="connsiteX42" fmla="*/ 892628 w 1357085"/>
                <a:gd name="connsiteY42" fmla="*/ 112486 h 1433286"/>
                <a:gd name="connsiteX43" fmla="*/ 838200 w 1357085"/>
                <a:gd name="connsiteY43" fmla="*/ 7257 h 1433286"/>
                <a:gd name="connsiteX44" fmla="*/ 783771 w 1357085"/>
                <a:gd name="connsiteY44" fmla="*/ 0 h 1433286"/>
                <a:gd name="connsiteX45" fmla="*/ 717913 w 1357085"/>
                <a:gd name="connsiteY45" fmla="*/ 32294 h 1433286"/>
                <a:gd name="connsiteX46" fmla="*/ 667475 w 1357085"/>
                <a:gd name="connsiteY46" fmla="*/ 64770 h 1433286"/>
                <a:gd name="connsiteX47" fmla="*/ 605971 w 1357085"/>
                <a:gd name="connsiteY47" fmla="*/ 108857 h 1433286"/>
                <a:gd name="connsiteX48" fmla="*/ 562428 w 1357085"/>
                <a:gd name="connsiteY48" fmla="*/ 123372 h 1433286"/>
                <a:gd name="connsiteX49" fmla="*/ 508000 w 1357085"/>
                <a:gd name="connsiteY49" fmla="*/ 83457 h 1433286"/>
                <a:gd name="connsiteX50" fmla="*/ 475343 w 1357085"/>
                <a:gd name="connsiteY50" fmla="*/ 101600 h 1433286"/>
                <a:gd name="connsiteX51" fmla="*/ 439057 w 1357085"/>
                <a:gd name="connsiteY51" fmla="*/ 76200 h 1433286"/>
                <a:gd name="connsiteX52" fmla="*/ 417285 w 1357085"/>
                <a:gd name="connsiteY52" fmla="*/ 108857 h 1433286"/>
                <a:gd name="connsiteX53" fmla="*/ 442685 w 1357085"/>
                <a:gd name="connsiteY53" fmla="*/ 174172 h 1433286"/>
                <a:gd name="connsiteX54" fmla="*/ 428171 w 1357085"/>
                <a:gd name="connsiteY54" fmla="*/ 210457 h 1433286"/>
                <a:gd name="connsiteX55" fmla="*/ 391885 w 1357085"/>
                <a:gd name="connsiteY55" fmla="*/ 217714 h 1433286"/>
                <a:gd name="connsiteX56" fmla="*/ 373743 w 1357085"/>
                <a:gd name="connsiteY56" fmla="*/ 264886 h 1433286"/>
                <a:gd name="connsiteX57" fmla="*/ 322943 w 1357085"/>
                <a:gd name="connsiteY57" fmla="*/ 275772 h 1433286"/>
                <a:gd name="connsiteX58" fmla="*/ 283028 w 1357085"/>
                <a:gd name="connsiteY58" fmla="*/ 304800 h 1433286"/>
                <a:gd name="connsiteX59" fmla="*/ 203200 w 1357085"/>
                <a:gd name="connsiteY59" fmla="*/ 297543 h 1433286"/>
                <a:gd name="connsiteX60" fmla="*/ 145143 w 1357085"/>
                <a:gd name="connsiteY60" fmla="*/ 239486 h 1433286"/>
                <a:gd name="connsiteX61" fmla="*/ 87085 w 1357085"/>
                <a:gd name="connsiteY61" fmla="*/ 250372 h 1433286"/>
                <a:gd name="connsiteX62" fmla="*/ 39914 w 1357085"/>
                <a:gd name="connsiteY62" fmla="*/ 279400 h 1433286"/>
                <a:gd name="connsiteX63" fmla="*/ 39914 w 1357085"/>
                <a:gd name="connsiteY63" fmla="*/ 322943 h 1433286"/>
                <a:gd name="connsiteX64" fmla="*/ 0 w 1357085"/>
                <a:gd name="connsiteY64" fmla="*/ 377372 h 1433286"/>
                <a:gd name="connsiteX65" fmla="*/ 50800 w 1357085"/>
                <a:gd name="connsiteY65" fmla="*/ 406400 h 1433286"/>
                <a:gd name="connsiteX66" fmla="*/ 72571 w 1357085"/>
                <a:gd name="connsiteY66" fmla="*/ 413657 h 1433286"/>
                <a:gd name="connsiteX67" fmla="*/ 72571 w 1357085"/>
                <a:gd name="connsiteY67" fmla="*/ 464457 h 1433286"/>
                <a:gd name="connsiteX68" fmla="*/ 39914 w 1357085"/>
                <a:gd name="connsiteY68" fmla="*/ 522514 h 1433286"/>
                <a:gd name="connsiteX69" fmla="*/ 54428 w 1357085"/>
                <a:gd name="connsiteY69" fmla="*/ 598714 h 1433286"/>
                <a:gd name="connsiteX70" fmla="*/ 79828 w 1357085"/>
                <a:gd name="connsiteY70" fmla="*/ 613229 h 1433286"/>
                <a:gd name="connsiteX71" fmla="*/ 90714 w 1357085"/>
                <a:gd name="connsiteY71" fmla="*/ 642257 h 1433286"/>
                <a:gd name="connsiteX72" fmla="*/ 54428 w 1357085"/>
                <a:gd name="connsiteY72" fmla="*/ 653143 h 1433286"/>
                <a:gd name="connsiteX73" fmla="*/ 68943 w 1357085"/>
                <a:gd name="connsiteY73" fmla="*/ 689429 h 1433286"/>
                <a:gd name="connsiteX74" fmla="*/ 43543 w 1357085"/>
                <a:gd name="connsiteY74" fmla="*/ 758372 h 1433286"/>
                <a:gd name="connsiteX75" fmla="*/ 61685 w 1357085"/>
                <a:gd name="connsiteY75" fmla="*/ 801914 h 1433286"/>
                <a:gd name="connsiteX76" fmla="*/ 101600 w 1357085"/>
                <a:gd name="connsiteY76" fmla="*/ 830943 h 1433286"/>
                <a:gd name="connsiteX77" fmla="*/ 83457 w 1357085"/>
                <a:gd name="connsiteY77" fmla="*/ 928914 h 1433286"/>
                <a:gd name="connsiteX78" fmla="*/ 68943 w 1357085"/>
                <a:gd name="connsiteY78" fmla="*/ 947057 h 1433286"/>
                <a:gd name="connsiteX79" fmla="*/ 72571 w 1357085"/>
                <a:gd name="connsiteY79" fmla="*/ 961572 h 1433286"/>
                <a:gd name="connsiteX80" fmla="*/ 264885 w 1357085"/>
                <a:gd name="connsiteY80" fmla="*/ 889000 h 1433286"/>
                <a:gd name="connsiteX81" fmla="*/ 264885 w 1357085"/>
                <a:gd name="connsiteY81" fmla="*/ 852714 h 1433286"/>
                <a:gd name="connsiteX82" fmla="*/ 391885 w 1357085"/>
                <a:gd name="connsiteY82" fmla="*/ 830943 h 1433286"/>
                <a:gd name="connsiteX83" fmla="*/ 449943 w 1357085"/>
                <a:gd name="connsiteY83" fmla="*/ 881743 h 1433286"/>
                <a:gd name="connsiteX84" fmla="*/ 482600 w 1357085"/>
                <a:gd name="connsiteY84" fmla="*/ 845457 h 1433286"/>
                <a:gd name="connsiteX85" fmla="*/ 526143 w 1357085"/>
                <a:gd name="connsiteY85" fmla="*/ 849086 h 1433286"/>
                <a:gd name="connsiteX86" fmla="*/ 555171 w 1357085"/>
                <a:gd name="connsiteY86" fmla="*/ 914400 h 1433286"/>
                <a:gd name="connsiteX87" fmla="*/ 587828 w 1357085"/>
                <a:gd name="connsiteY87" fmla="*/ 932543 h 1433286"/>
                <a:gd name="connsiteX88" fmla="*/ 620485 w 1357085"/>
                <a:gd name="connsiteY88" fmla="*/ 954314 h 1433286"/>
                <a:gd name="connsiteX89" fmla="*/ 674914 w 1357085"/>
                <a:gd name="connsiteY89" fmla="*/ 936172 h 1433286"/>
                <a:gd name="connsiteX90" fmla="*/ 791028 w 1357085"/>
                <a:gd name="connsiteY90" fmla="*/ 1034143 h 1433286"/>
                <a:gd name="connsiteX91" fmla="*/ 834571 w 1357085"/>
                <a:gd name="connsiteY91" fmla="*/ 1023257 h 1433286"/>
                <a:gd name="connsiteX92" fmla="*/ 921657 w 1357085"/>
                <a:gd name="connsiteY92" fmla="*/ 1045029 h 1433286"/>
                <a:gd name="connsiteX93" fmla="*/ 961571 w 1357085"/>
                <a:gd name="connsiteY93" fmla="*/ 1113972 h 1433286"/>
                <a:gd name="connsiteX94" fmla="*/ 903514 w 1357085"/>
                <a:gd name="connsiteY94" fmla="*/ 1280886 h 1433286"/>
                <a:gd name="connsiteX95" fmla="*/ 903514 w 1357085"/>
                <a:gd name="connsiteY95" fmla="*/ 1317172 h 1433286"/>
                <a:gd name="connsiteX96" fmla="*/ 932543 w 1357085"/>
                <a:gd name="connsiteY96" fmla="*/ 1328057 h 1433286"/>
                <a:gd name="connsiteX97" fmla="*/ 936171 w 1357085"/>
                <a:gd name="connsiteY97" fmla="*/ 1378857 h 1433286"/>
                <a:gd name="connsiteX98" fmla="*/ 1030514 w 1357085"/>
                <a:gd name="connsiteY98" fmla="*/ 1433286 h 1433286"/>
                <a:gd name="connsiteX0" fmla="*/ 1030514 w 1357085"/>
                <a:gd name="connsiteY0" fmla="*/ 1444716 h 1444716"/>
                <a:gd name="connsiteX1" fmla="*/ 1099457 w 1357085"/>
                <a:gd name="connsiteY1" fmla="*/ 1350373 h 1444716"/>
                <a:gd name="connsiteX2" fmla="*/ 1081314 w 1357085"/>
                <a:gd name="connsiteY2" fmla="*/ 1285059 h 1444716"/>
                <a:gd name="connsiteX3" fmla="*/ 1121228 w 1357085"/>
                <a:gd name="connsiteY3" fmla="*/ 1045573 h 1444716"/>
                <a:gd name="connsiteX4" fmla="*/ 1099457 w 1357085"/>
                <a:gd name="connsiteY4" fmla="*/ 1009287 h 1444716"/>
                <a:gd name="connsiteX5" fmla="*/ 1121228 w 1357085"/>
                <a:gd name="connsiteY5" fmla="*/ 958487 h 1444716"/>
                <a:gd name="connsiteX6" fmla="*/ 1113971 w 1357085"/>
                <a:gd name="connsiteY6" fmla="*/ 860516 h 1444716"/>
                <a:gd name="connsiteX7" fmla="*/ 1132114 w 1357085"/>
                <a:gd name="connsiteY7" fmla="*/ 751659 h 1444716"/>
                <a:gd name="connsiteX8" fmla="*/ 1150257 w 1357085"/>
                <a:gd name="connsiteY8" fmla="*/ 642802 h 1444716"/>
                <a:gd name="connsiteX9" fmla="*/ 1164771 w 1357085"/>
                <a:gd name="connsiteY9" fmla="*/ 595630 h 1444716"/>
                <a:gd name="connsiteX10" fmla="*/ 1201057 w 1357085"/>
                <a:gd name="connsiteY10" fmla="*/ 642802 h 1444716"/>
                <a:gd name="connsiteX11" fmla="*/ 1357085 w 1357085"/>
                <a:gd name="connsiteY11" fmla="*/ 417830 h 1444716"/>
                <a:gd name="connsiteX12" fmla="*/ 1317171 w 1357085"/>
                <a:gd name="connsiteY12" fmla="*/ 410573 h 1444716"/>
                <a:gd name="connsiteX13" fmla="*/ 1299028 w 1357085"/>
                <a:gd name="connsiteY13" fmla="*/ 377916 h 1444716"/>
                <a:gd name="connsiteX14" fmla="*/ 1259114 w 1357085"/>
                <a:gd name="connsiteY14" fmla="*/ 370659 h 1444716"/>
                <a:gd name="connsiteX15" fmla="*/ 1255485 w 1357085"/>
                <a:gd name="connsiteY15" fmla="*/ 316230 h 1444716"/>
                <a:gd name="connsiteX16" fmla="*/ 1299028 w 1357085"/>
                <a:gd name="connsiteY16" fmla="*/ 290830 h 1444716"/>
                <a:gd name="connsiteX17" fmla="*/ 1291771 w 1357085"/>
                <a:gd name="connsiteY17" fmla="*/ 250916 h 1444716"/>
                <a:gd name="connsiteX18" fmla="*/ 1237343 w 1357085"/>
                <a:gd name="connsiteY18" fmla="*/ 229144 h 1444716"/>
                <a:gd name="connsiteX19" fmla="*/ 1233714 w 1357085"/>
                <a:gd name="connsiteY19" fmla="*/ 192859 h 1444716"/>
                <a:gd name="connsiteX20" fmla="*/ 1161143 w 1357085"/>
                <a:gd name="connsiteY20" fmla="*/ 123916 h 1444716"/>
                <a:gd name="connsiteX21" fmla="*/ 1124857 w 1357085"/>
                <a:gd name="connsiteY21" fmla="*/ 131173 h 1444716"/>
                <a:gd name="connsiteX22" fmla="*/ 1103085 w 1357085"/>
                <a:gd name="connsiteY22" fmla="*/ 98516 h 1444716"/>
                <a:gd name="connsiteX23" fmla="*/ 1005114 w 1357085"/>
                <a:gd name="connsiteY23" fmla="*/ 40459 h 1444716"/>
                <a:gd name="connsiteX24" fmla="*/ 957943 w 1357085"/>
                <a:gd name="connsiteY24" fmla="*/ 98516 h 1444716"/>
                <a:gd name="connsiteX25" fmla="*/ 907143 w 1357085"/>
                <a:gd name="connsiteY25" fmla="*/ 138430 h 1444716"/>
                <a:gd name="connsiteX26" fmla="*/ 867228 w 1357085"/>
                <a:gd name="connsiteY26" fmla="*/ 167459 h 1444716"/>
                <a:gd name="connsiteX27" fmla="*/ 816428 w 1357085"/>
                <a:gd name="connsiteY27" fmla="*/ 181973 h 1444716"/>
                <a:gd name="connsiteX28" fmla="*/ 780143 w 1357085"/>
                <a:gd name="connsiteY28" fmla="*/ 203744 h 1444716"/>
                <a:gd name="connsiteX29" fmla="*/ 736600 w 1357085"/>
                <a:gd name="connsiteY29" fmla="*/ 221887 h 1444716"/>
                <a:gd name="connsiteX30" fmla="*/ 653143 w 1357085"/>
                <a:gd name="connsiteY30" fmla="*/ 221887 h 1444716"/>
                <a:gd name="connsiteX31" fmla="*/ 620485 w 1357085"/>
                <a:gd name="connsiteY31" fmla="*/ 261802 h 1444716"/>
                <a:gd name="connsiteX32" fmla="*/ 602343 w 1357085"/>
                <a:gd name="connsiteY32" fmla="*/ 301716 h 1444716"/>
                <a:gd name="connsiteX33" fmla="*/ 555171 w 1357085"/>
                <a:gd name="connsiteY33" fmla="*/ 334373 h 1444716"/>
                <a:gd name="connsiteX34" fmla="*/ 529771 w 1357085"/>
                <a:gd name="connsiteY34" fmla="*/ 341630 h 1444716"/>
                <a:gd name="connsiteX35" fmla="*/ 551543 w 1357085"/>
                <a:gd name="connsiteY35" fmla="*/ 290830 h 1444716"/>
                <a:gd name="connsiteX36" fmla="*/ 547914 w 1357085"/>
                <a:gd name="connsiteY36" fmla="*/ 243659 h 1444716"/>
                <a:gd name="connsiteX37" fmla="*/ 595085 w 1357085"/>
                <a:gd name="connsiteY37" fmla="*/ 232773 h 1444716"/>
                <a:gd name="connsiteX38" fmla="*/ 664028 w 1357085"/>
                <a:gd name="connsiteY38" fmla="*/ 178344 h 1444716"/>
                <a:gd name="connsiteX39" fmla="*/ 725714 w 1357085"/>
                <a:gd name="connsiteY39" fmla="*/ 174716 h 1444716"/>
                <a:gd name="connsiteX40" fmla="*/ 798285 w 1357085"/>
                <a:gd name="connsiteY40" fmla="*/ 138430 h 1444716"/>
                <a:gd name="connsiteX41" fmla="*/ 834571 w 1357085"/>
                <a:gd name="connsiteY41" fmla="*/ 145687 h 1444716"/>
                <a:gd name="connsiteX42" fmla="*/ 892628 w 1357085"/>
                <a:gd name="connsiteY42" fmla="*/ 123916 h 1444716"/>
                <a:gd name="connsiteX43" fmla="*/ 838200 w 1357085"/>
                <a:gd name="connsiteY43" fmla="*/ 18687 h 1444716"/>
                <a:gd name="connsiteX44" fmla="*/ 783771 w 1357085"/>
                <a:gd name="connsiteY44" fmla="*/ 0 h 1444716"/>
                <a:gd name="connsiteX45" fmla="*/ 717913 w 1357085"/>
                <a:gd name="connsiteY45" fmla="*/ 43724 h 1444716"/>
                <a:gd name="connsiteX46" fmla="*/ 667475 w 1357085"/>
                <a:gd name="connsiteY46" fmla="*/ 76200 h 1444716"/>
                <a:gd name="connsiteX47" fmla="*/ 605971 w 1357085"/>
                <a:gd name="connsiteY47" fmla="*/ 120287 h 1444716"/>
                <a:gd name="connsiteX48" fmla="*/ 562428 w 1357085"/>
                <a:gd name="connsiteY48" fmla="*/ 134802 h 1444716"/>
                <a:gd name="connsiteX49" fmla="*/ 508000 w 1357085"/>
                <a:gd name="connsiteY49" fmla="*/ 94887 h 1444716"/>
                <a:gd name="connsiteX50" fmla="*/ 475343 w 1357085"/>
                <a:gd name="connsiteY50" fmla="*/ 113030 h 1444716"/>
                <a:gd name="connsiteX51" fmla="*/ 439057 w 1357085"/>
                <a:gd name="connsiteY51" fmla="*/ 87630 h 1444716"/>
                <a:gd name="connsiteX52" fmla="*/ 417285 w 1357085"/>
                <a:gd name="connsiteY52" fmla="*/ 120287 h 1444716"/>
                <a:gd name="connsiteX53" fmla="*/ 442685 w 1357085"/>
                <a:gd name="connsiteY53" fmla="*/ 185602 h 1444716"/>
                <a:gd name="connsiteX54" fmla="*/ 428171 w 1357085"/>
                <a:gd name="connsiteY54" fmla="*/ 221887 h 1444716"/>
                <a:gd name="connsiteX55" fmla="*/ 391885 w 1357085"/>
                <a:gd name="connsiteY55" fmla="*/ 229144 h 1444716"/>
                <a:gd name="connsiteX56" fmla="*/ 373743 w 1357085"/>
                <a:gd name="connsiteY56" fmla="*/ 276316 h 1444716"/>
                <a:gd name="connsiteX57" fmla="*/ 322943 w 1357085"/>
                <a:gd name="connsiteY57" fmla="*/ 287202 h 1444716"/>
                <a:gd name="connsiteX58" fmla="*/ 283028 w 1357085"/>
                <a:gd name="connsiteY58" fmla="*/ 316230 h 1444716"/>
                <a:gd name="connsiteX59" fmla="*/ 203200 w 1357085"/>
                <a:gd name="connsiteY59" fmla="*/ 308973 h 1444716"/>
                <a:gd name="connsiteX60" fmla="*/ 145143 w 1357085"/>
                <a:gd name="connsiteY60" fmla="*/ 250916 h 1444716"/>
                <a:gd name="connsiteX61" fmla="*/ 87085 w 1357085"/>
                <a:gd name="connsiteY61" fmla="*/ 261802 h 1444716"/>
                <a:gd name="connsiteX62" fmla="*/ 39914 w 1357085"/>
                <a:gd name="connsiteY62" fmla="*/ 290830 h 1444716"/>
                <a:gd name="connsiteX63" fmla="*/ 39914 w 1357085"/>
                <a:gd name="connsiteY63" fmla="*/ 334373 h 1444716"/>
                <a:gd name="connsiteX64" fmla="*/ 0 w 1357085"/>
                <a:gd name="connsiteY64" fmla="*/ 388802 h 1444716"/>
                <a:gd name="connsiteX65" fmla="*/ 50800 w 1357085"/>
                <a:gd name="connsiteY65" fmla="*/ 417830 h 1444716"/>
                <a:gd name="connsiteX66" fmla="*/ 72571 w 1357085"/>
                <a:gd name="connsiteY66" fmla="*/ 425087 h 1444716"/>
                <a:gd name="connsiteX67" fmla="*/ 72571 w 1357085"/>
                <a:gd name="connsiteY67" fmla="*/ 475887 h 1444716"/>
                <a:gd name="connsiteX68" fmla="*/ 39914 w 1357085"/>
                <a:gd name="connsiteY68" fmla="*/ 533944 h 1444716"/>
                <a:gd name="connsiteX69" fmla="*/ 54428 w 1357085"/>
                <a:gd name="connsiteY69" fmla="*/ 610144 h 1444716"/>
                <a:gd name="connsiteX70" fmla="*/ 79828 w 1357085"/>
                <a:gd name="connsiteY70" fmla="*/ 624659 h 1444716"/>
                <a:gd name="connsiteX71" fmla="*/ 90714 w 1357085"/>
                <a:gd name="connsiteY71" fmla="*/ 653687 h 1444716"/>
                <a:gd name="connsiteX72" fmla="*/ 54428 w 1357085"/>
                <a:gd name="connsiteY72" fmla="*/ 664573 h 1444716"/>
                <a:gd name="connsiteX73" fmla="*/ 68943 w 1357085"/>
                <a:gd name="connsiteY73" fmla="*/ 700859 h 1444716"/>
                <a:gd name="connsiteX74" fmla="*/ 43543 w 1357085"/>
                <a:gd name="connsiteY74" fmla="*/ 769802 h 1444716"/>
                <a:gd name="connsiteX75" fmla="*/ 61685 w 1357085"/>
                <a:gd name="connsiteY75" fmla="*/ 813344 h 1444716"/>
                <a:gd name="connsiteX76" fmla="*/ 101600 w 1357085"/>
                <a:gd name="connsiteY76" fmla="*/ 842373 h 1444716"/>
                <a:gd name="connsiteX77" fmla="*/ 83457 w 1357085"/>
                <a:gd name="connsiteY77" fmla="*/ 940344 h 1444716"/>
                <a:gd name="connsiteX78" fmla="*/ 68943 w 1357085"/>
                <a:gd name="connsiteY78" fmla="*/ 958487 h 1444716"/>
                <a:gd name="connsiteX79" fmla="*/ 72571 w 1357085"/>
                <a:gd name="connsiteY79" fmla="*/ 973002 h 1444716"/>
                <a:gd name="connsiteX80" fmla="*/ 264885 w 1357085"/>
                <a:gd name="connsiteY80" fmla="*/ 900430 h 1444716"/>
                <a:gd name="connsiteX81" fmla="*/ 264885 w 1357085"/>
                <a:gd name="connsiteY81" fmla="*/ 864144 h 1444716"/>
                <a:gd name="connsiteX82" fmla="*/ 391885 w 1357085"/>
                <a:gd name="connsiteY82" fmla="*/ 842373 h 1444716"/>
                <a:gd name="connsiteX83" fmla="*/ 449943 w 1357085"/>
                <a:gd name="connsiteY83" fmla="*/ 893173 h 1444716"/>
                <a:gd name="connsiteX84" fmla="*/ 482600 w 1357085"/>
                <a:gd name="connsiteY84" fmla="*/ 856887 h 1444716"/>
                <a:gd name="connsiteX85" fmla="*/ 526143 w 1357085"/>
                <a:gd name="connsiteY85" fmla="*/ 860516 h 1444716"/>
                <a:gd name="connsiteX86" fmla="*/ 555171 w 1357085"/>
                <a:gd name="connsiteY86" fmla="*/ 925830 h 1444716"/>
                <a:gd name="connsiteX87" fmla="*/ 587828 w 1357085"/>
                <a:gd name="connsiteY87" fmla="*/ 943973 h 1444716"/>
                <a:gd name="connsiteX88" fmla="*/ 620485 w 1357085"/>
                <a:gd name="connsiteY88" fmla="*/ 965744 h 1444716"/>
                <a:gd name="connsiteX89" fmla="*/ 674914 w 1357085"/>
                <a:gd name="connsiteY89" fmla="*/ 947602 h 1444716"/>
                <a:gd name="connsiteX90" fmla="*/ 791028 w 1357085"/>
                <a:gd name="connsiteY90" fmla="*/ 1045573 h 1444716"/>
                <a:gd name="connsiteX91" fmla="*/ 834571 w 1357085"/>
                <a:gd name="connsiteY91" fmla="*/ 1034687 h 1444716"/>
                <a:gd name="connsiteX92" fmla="*/ 921657 w 1357085"/>
                <a:gd name="connsiteY92" fmla="*/ 1056459 h 1444716"/>
                <a:gd name="connsiteX93" fmla="*/ 961571 w 1357085"/>
                <a:gd name="connsiteY93" fmla="*/ 1125402 h 1444716"/>
                <a:gd name="connsiteX94" fmla="*/ 903514 w 1357085"/>
                <a:gd name="connsiteY94" fmla="*/ 1292316 h 1444716"/>
                <a:gd name="connsiteX95" fmla="*/ 903514 w 1357085"/>
                <a:gd name="connsiteY95" fmla="*/ 1328602 h 1444716"/>
                <a:gd name="connsiteX96" fmla="*/ 932543 w 1357085"/>
                <a:gd name="connsiteY96" fmla="*/ 1339487 h 1444716"/>
                <a:gd name="connsiteX97" fmla="*/ 936171 w 1357085"/>
                <a:gd name="connsiteY97" fmla="*/ 1390287 h 1444716"/>
                <a:gd name="connsiteX98" fmla="*/ 1030514 w 1357085"/>
                <a:gd name="connsiteY98" fmla="*/ 1444716 h 144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57085" h="1444716">
                  <a:moveTo>
                    <a:pt x="1030514" y="1444716"/>
                  </a:moveTo>
                  <a:lnTo>
                    <a:pt x="1099457" y="1350373"/>
                  </a:lnTo>
                  <a:lnTo>
                    <a:pt x="1081314" y="1285059"/>
                  </a:lnTo>
                  <a:lnTo>
                    <a:pt x="1121228" y="1045573"/>
                  </a:lnTo>
                  <a:lnTo>
                    <a:pt x="1099457" y="1009287"/>
                  </a:lnTo>
                  <a:lnTo>
                    <a:pt x="1121228" y="958487"/>
                  </a:lnTo>
                  <a:lnTo>
                    <a:pt x="1113971" y="860516"/>
                  </a:lnTo>
                  <a:lnTo>
                    <a:pt x="1132114" y="751659"/>
                  </a:lnTo>
                  <a:lnTo>
                    <a:pt x="1150257" y="642802"/>
                  </a:lnTo>
                  <a:lnTo>
                    <a:pt x="1164771" y="595630"/>
                  </a:lnTo>
                  <a:lnTo>
                    <a:pt x="1201057" y="642802"/>
                  </a:lnTo>
                  <a:lnTo>
                    <a:pt x="1357085" y="417830"/>
                  </a:lnTo>
                  <a:lnTo>
                    <a:pt x="1317171" y="410573"/>
                  </a:lnTo>
                  <a:lnTo>
                    <a:pt x="1299028" y="377916"/>
                  </a:lnTo>
                  <a:lnTo>
                    <a:pt x="1259114" y="370659"/>
                  </a:lnTo>
                  <a:lnTo>
                    <a:pt x="1255485" y="316230"/>
                  </a:lnTo>
                  <a:lnTo>
                    <a:pt x="1299028" y="290830"/>
                  </a:lnTo>
                  <a:lnTo>
                    <a:pt x="1291771" y="250916"/>
                  </a:lnTo>
                  <a:lnTo>
                    <a:pt x="1237343" y="229144"/>
                  </a:lnTo>
                  <a:lnTo>
                    <a:pt x="1233714" y="192859"/>
                  </a:lnTo>
                  <a:lnTo>
                    <a:pt x="1161143" y="123916"/>
                  </a:lnTo>
                  <a:lnTo>
                    <a:pt x="1124857" y="131173"/>
                  </a:lnTo>
                  <a:lnTo>
                    <a:pt x="1103085" y="98516"/>
                  </a:lnTo>
                  <a:lnTo>
                    <a:pt x="1005114" y="40459"/>
                  </a:lnTo>
                  <a:lnTo>
                    <a:pt x="957943" y="98516"/>
                  </a:lnTo>
                  <a:lnTo>
                    <a:pt x="907143" y="138430"/>
                  </a:lnTo>
                  <a:lnTo>
                    <a:pt x="867228" y="167459"/>
                  </a:lnTo>
                  <a:lnTo>
                    <a:pt x="816428" y="181973"/>
                  </a:lnTo>
                  <a:lnTo>
                    <a:pt x="780143" y="203744"/>
                  </a:lnTo>
                  <a:lnTo>
                    <a:pt x="736600" y="221887"/>
                  </a:lnTo>
                  <a:lnTo>
                    <a:pt x="653143" y="221887"/>
                  </a:lnTo>
                  <a:lnTo>
                    <a:pt x="620485" y="261802"/>
                  </a:lnTo>
                  <a:lnTo>
                    <a:pt x="602343" y="301716"/>
                  </a:lnTo>
                  <a:lnTo>
                    <a:pt x="555171" y="334373"/>
                  </a:lnTo>
                  <a:lnTo>
                    <a:pt x="529771" y="341630"/>
                  </a:lnTo>
                  <a:lnTo>
                    <a:pt x="551543" y="290830"/>
                  </a:lnTo>
                  <a:lnTo>
                    <a:pt x="547914" y="243659"/>
                  </a:lnTo>
                  <a:lnTo>
                    <a:pt x="595085" y="232773"/>
                  </a:lnTo>
                  <a:lnTo>
                    <a:pt x="664028" y="178344"/>
                  </a:lnTo>
                  <a:lnTo>
                    <a:pt x="725714" y="174716"/>
                  </a:lnTo>
                  <a:lnTo>
                    <a:pt x="798285" y="138430"/>
                  </a:lnTo>
                  <a:lnTo>
                    <a:pt x="834571" y="145687"/>
                  </a:lnTo>
                  <a:lnTo>
                    <a:pt x="892628" y="123916"/>
                  </a:lnTo>
                  <a:lnTo>
                    <a:pt x="838200" y="18687"/>
                  </a:lnTo>
                  <a:lnTo>
                    <a:pt x="783771" y="0"/>
                  </a:lnTo>
                  <a:lnTo>
                    <a:pt x="717913" y="43724"/>
                  </a:lnTo>
                  <a:lnTo>
                    <a:pt x="667475" y="76200"/>
                  </a:lnTo>
                  <a:lnTo>
                    <a:pt x="605971" y="120287"/>
                  </a:lnTo>
                  <a:lnTo>
                    <a:pt x="562428" y="134802"/>
                  </a:lnTo>
                  <a:lnTo>
                    <a:pt x="508000" y="94887"/>
                  </a:lnTo>
                  <a:lnTo>
                    <a:pt x="475343" y="113030"/>
                  </a:lnTo>
                  <a:lnTo>
                    <a:pt x="439057" y="87630"/>
                  </a:lnTo>
                  <a:lnTo>
                    <a:pt x="417285" y="120287"/>
                  </a:lnTo>
                  <a:lnTo>
                    <a:pt x="442685" y="185602"/>
                  </a:lnTo>
                  <a:lnTo>
                    <a:pt x="428171" y="221887"/>
                  </a:lnTo>
                  <a:lnTo>
                    <a:pt x="391885" y="229144"/>
                  </a:lnTo>
                  <a:lnTo>
                    <a:pt x="373743" y="276316"/>
                  </a:lnTo>
                  <a:lnTo>
                    <a:pt x="322943" y="287202"/>
                  </a:lnTo>
                  <a:lnTo>
                    <a:pt x="283028" y="316230"/>
                  </a:lnTo>
                  <a:lnTo>
                    <a:pt x="203200" y="308973"/>
                  </a:lnTo>
                  <a:lnTo>
                    <a:pt x="145143" y="250916"/>
                  </a:lnTo>
                  <a:lnTo>
                    <a:pt x="87085" y="261802"/>
                  </a:lnTo>
                  <a:lnTo>
                    <a:pt x="39914" y="290830"/>
                  </a:lnTo>
                  <a:lnTo>
                    <a:pt x="39914" y="334373"/>
                  </a:lnTo>
                  <a:lnTo>
                    <a:pt x="0" y="388802"/>
                  </a:lnTo>
                  <a:lnTo>
                    <a:pt x="50800" y="417830"/>
                  </a:lnTo>
                  <a:lnTo>
                    <a:pt x="72571" y="425087"/>
                  </a:lnTo>
                  <a:lnTo>
                    <a:pt x="72571" y="475887"/>
                  </a:lnTo>
                  <a:lnTo>
                    <a:pt x="39914" y="533944"/>
                  </a:lnTo>
                  <a:lnTo>
                    <a:pt x="54428" y="610144"/>
                  </a:lnTo>
                  <a:lnTo>
                    <a:pt x="79828" y="624659"/>
                  </a:lnTo>
                  <a:lnTo>
                    <a:pt x="90714" y="653687"/>
                  </a:lnTo>
                  <a:lnTo>
                    <a:pt x="54428" y="664573"/>
                  </a:lnTo>
                  <a:lnTo>
                    <a:pt x="68943" y="700859"/>
                  </a:lnTo>
                  <a:lnTo>
                    <a:pt x="43543" y="769802"/>
                  </a:lnTo>
                  <a:lnTo>
                    <a:pt x="61685" y="813344"/>
                  </a:lnTo>
                  <a:lnTo>
                    <a:pt x="101600" y="842373"/>
                  </a:lnTo>
                  <a:lnTo>
                    <a:pt x="83457" y="940344"/>
                  </a:lnTo>
                  <a:lnTo>
                    <a:pt x="68943" y="958487"/>
                  </a:lnTo>
                  <a:lnTo>
                    <a:pt x="72571" y="973002"/>
                  </a:lnTo>
                  <a:lnTo>
                    <a:pt x="264885" y="900430"/>
                  </a:lnTo>
                  <a:lnTo>
                    <a:pt x="264885" y="864144"/>
                  </a:lnTo>
                  <a:lnTo>
                    <a:pt x="391885" y="842373"/>
                  </a:lnTo>
                  <a:lnTo>
                    <a:pt x="449943" y="893173"/>
                  </a:lnTo>
                  <a:lnTo>
                    <a:pt x="482600" y="856887"/>
                  </a:lnTo>
                  <a:lnTo>
                    <a:pt x="526143" y="860516"/>
                  </a:lnTo>
                  <a:lnTo>
                    <a:pt x="555171" y="925830"/>
                  </a:lnTo>
                  <a:lnTo>
                    <a:pt x="587828" y="943973"/>
                  </a:lnTo>
                  <a:lnTo>
                    <a:pt x="620485" y="965744"/>
                  </a:lnTo>
                  <a:lnTo>
                    <a:pt x="674914" y="947602"/>
                  </a:lnTo>
                  <a:lnTo>
                    <a:pt x="791028" y="1045573"/>
                  </a:lnTo>
                  <a:lnTo>
                    <a:pt x="834571" y="1034687"/>
                  </a:lnTo>
                  <a:lnTo>
                    <a:pt x="921657" y="1056459"/>
                  </a:lnTo>
                  <a:lnTo>
                    <a:pt x="961571" y="1125402"/>
                  </a:lnTo>
                  <a:lnTo>
                    <a:pt x="903514" y="1292316"/>
                  </a:lnTo>
                  <a:lnTo>
                    <a:pt x="903514" y="1328602"/>
                  </a:lnTo>
                  <a:lnTo>
                    <a:pt x="932543" y="1339487"/>
                  </a:lnTo>
                  <a:lnTo>
                    <a:pt x="936171" y="1390287"/>
                  </a:lnTo>
                  <a:lnTo>
                    <a:pt x="1030514" y="1444716"/>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39" name="Freeform 23552">
              <a:extLst>
                <a:ext uri="{FF2B5EF4-FFF2-40B4-BE49-F238E27FC236}">
                  <a16:creationId xmlns:a16="http://schemas.microsoft.com/office/drawing/2014/main" id="{A7B74C24-3F0C-405E-BC2C-9E60E2A149C7}"/>
                </a:ext>
              </a:extLst>
            </p:cNvPr>
            <p:cNvSpPr/>
            <p:nvPr/>
          </p:nvSpPr>
          <p:spPr>
            <a:xfrm>
              <a:off x="9033851" y="2348339"/>
              <a:ext cx="695325" cy="1146176"/>
            </a:xfrm>
            <a:custGeom>
              <a:avLst/>
              <a:gdLst>
                <a:gd name="connsiteX0" fmla="*/ 695194 w 695194"/>
                <a:gd name="connsiteY0" fmla="*/ 717115 h 1146132"/>
                <a:gd name="connsiteX1" fmla="*/ 638827 w 695194"/>
                <a:gd name="connsiteY1" fmla="*/ 692063 h 1146132"/>
                <a:gd name="connsiteX2" fmla="*/ 638827 w 695194"/>
                <a:gd name="connsiteY2" fmla="*/ 654485 h 1146132"/>
                <a:gd name="connsiteX3" fmla="*/ 604381 w 695194"/>
                <a:gd name="connsiteY3" fmla="*/ 629433 h 1146132"/>
                <a:gd name="connsiteX4" fmla="*/ 607512 w 695194"/>
                <a:gd name="connsiteY4" fmla="*/ 598118 h 1146132"/>
                <a:gd name="connsiteX5" fmla="*/ 569934 w 695194"/>
                <a:gd name="connsiteY5" fmla="*/ 569935 h 1146132"/>
                <a:gd name="connsiteX6" fmla="*/ 544882 w 695194"/>
                <a:gd name="connsiteY6" fmla="*/ 529225 h 1146132"/>
                <a:gd name="connsiteX7" fmla="*/ 513567 w 695194"/>
                <a:gd name="connsiteY7" fmla="*/ 519830 h 1146132"/>
                <a:gd name="connsiteX8" fmla="*/ 532356 w 695194"/>
                <a:gd name="connsiteY8" fmla="*/ 494778 h 1146132"/>
                <a:gd name="connsiteX9" fmla="*/ 551145 w 695194"/>
                <a:gd name="connsiteY9" fmla="*/ 488515 h 1146132"/>
                <a:gd name="connsiteX10" fmla="*/ 551145 w 695194"/>
                <a:gd name="connsiteY10" fmla="*/ 432148 h 1146132"/>
                <a:gd name="connsiteX11" fmla="*/ 610644 w 695194"/>
                <a:gd name="connsiteY11" fmla="*/ 447806 h 1146132"/>
                <a:gd name="connsiteX12" fmla="*/ 610644 w 695194"/>
                <a:gd name="connsiteY12" fmla="*/ 419622 h 1146132"/>
                <a:gd name="connsiteX13" fmla="*/ 585592 w 695194"/>
                <a:gd name="connsiteY13" fmla="*/ 400833 h 1146132"/>
                <a:gd name="connsiteX14" fmla="*/ 616907 w 695194"/>
                <a:gd name="connsiteY14" fmla="*/ 347598 h 1146132"/>
                <a:gd name="connsiteX15" fmla="*/ 582460 w 695194"/>
                <a:gd name="connsiteY15" fmla="*/ 341335 h 1146132"/>
                <a:gd name="connsiteX16" fmla="*/ 541750 w 695194"/>
                <a:gd name="connsiteY16" fmla="*/ 385176 h 1146132"/>
                <a:gd name="connsiteX17" fmla="*/ 497909 w 695194"/>
                <a:gd name="connsiteY17" fmla="*/ 322546 h 1146132"/>
                <a:gd name="connsiteX18" fmla="*/ 447805 w 695194"/>
                <a:gd name="connsiteY18" fmla="*/ 291230 h 1146132"/>
                <a:gd name="connsiteX19" fmla="*/ 444674 w 695194"/>
                <a:gd name="connsiteY19" fmla="*/ 147181 h 1146132"/>
                <a:gd name="connsiteX20" fmla="*/ 394570 w 695194"/>
                <a:gd name="connsiteY20" fmla="*/ 0 h 1146132"/>
                <a:gd name="connsiteX21" fmla="*/ 310019 w 695194"/>
                <a:gd name="connsiteY21" fmla="*/ 31315 h 1146132"/>
                <a:gd name="connsiteX22" fmla="*/ 331940 w 695194"/>
                <a:gd name="connsiteY22" fmla="*/ 72025 h 1146132"/>
                <a:gd name="connsiteX23" fmla="*/ 297493 w 695194"/>
                <a:gd name="connsiteY23" fmla="*/ 212943 h 1146132"/>
                <a:gd name="connsiteX24" fmla="*/ 209811 w 695194"/>
                <a:gd name="connsiteY24" fmla="*/ 244258 h 1146132"/>
                <a:gd name="connsiteX25" fmla="*/ 225468 w 695194"/>
                <a:gd name="connsiteY25" fmla="*/ 294362 h 1146132"/>
                <a:gd name="connsiteX26" fmla="*/ 209811 w 695194"/>
                <a:gd name="connsiteY26" fmla="*/ 407096 h 1146132"/>
                <a:gd name="connsiteX27" fmla="*/ 212942 w 695194"/>
                <a:gd name="connsiteY27" fmla="*/ 435280 h 1146132"/>
                <a:gd name="connsiteX28" fmla="*/ 84550 w 695194"/>
                <a:gd name="connsiteY28" fmla="*/ 648222 h 1146132"/>
                <a:gd name="connsiteX29" fmla="*/ 75156 w 695194"/>
                <a:gd name="connsiteY29" fmla="*/ 748430 h 1146132"/>
                <a:gd name="connsiteX30" fmla="*/ 6263 w 695194"/>
                <a:gd name="connsiteY30" fmla="*/ 864296 h 1146132"/>
                <a:gd name="connsiteX31" fmla="*/ 0 w 695194"/>
                <a:gd name="connsiteY31" fmla="*/ 926926 h 1146132"/>
                <a:gd name="connsiteX32" fmla="*/ 25052 w 695194"/>
                <a:gd name="connsiteY32" fmla="*/ 958241 h 1146132"/>
                <a:gd name="connsiteX33" fmla="*/ 12526 w 695194"/>
                <a:gd name="connsiteY33" fmla="*/ 1014609 h 1146132"/>
                <a:gd name="connsiteX34" fmla="*/ 28183 w 695194"/>
                <a:gd name="connsiteY34" fmla="*/ 1052187 h 1146132"/>
                <a:gd name="connsiteX35" fmla="*/ 78287 w 695194"/>
                <a:gd name="connsiteY35" fmla="*/ 1017740 h 1146132"/>
                <a:gd name="connsiteX36" fmla="*/ 81419 w 695194"/>
                <a:gd name="connsiteY36" fmla="*/ 1092896 h 1146132"/>
                <a:gd name="connsiteX37" fmla="*/ 162838 w 695194"/>
                <a:gd name="connsiteY37" fmla="*/ 1130474 h 1146132"/>
                <a:gd name="connsiteX38" fmla="*/ 203548 w 695194"/>
                <a:gd name="connsiteY38" fmla="*/ 1074107 h 1146132"/>
                <a:gd name="connsiteX39" fmla="*/ 263046 w 695194"/>
                <a:gd name="connsiteY39" fmla="*/ 1077239 h 1146132"/>
                <a:gd name="connsiteX40" fmla="*/ 294361 w 695194"/>
                <a:gd name="connsiteY40" fmla="*/ 1136737 h 1146132"/>
                <a:gd name="connsiteX41" fmla="*/ 369518 w 695194"/>
                <a:gd name="connsiteY41" fmla="*/ 1117948 h 1146132"/>
                <a:gd name="connsiteX42" fmla="*/ 410227 w 695194"/>
                <a:gd name="connsiteY42" fmla="*/ 1146132 h 1146132"/>
                <a:gd name="connsiteX43" fmla="*/ 657616 w 695194"/>
                <a:gd name="connsiteY43" fmla="*/ 1086633 h 1146132"/>
                <a:gd name="connsiteX44" fmla="*/ 641959 w 695194"/>
                <a:gd name="connsiteY44" fmla="*/ 998951 h 1146132"/>
                <a:gd name="connsiteX45" fmla="*/ 670142 w 695194"/>
                <a:gd name="connsiteY45" fmla="*/ 908137 h 1146132"/>
                <a:gd name="connsiteX46" fmla="*/ 663879 w 695194"/>
                <a:gd name="connsiteY46" fmla="*/ 879954 h 1146132"/>
                <a:gd name="connsiteX47" fmla="*/ 613775 w 695194"/>
                <a:gd name="connsiteY47" fmla="*/ 851770 h 1146132"/>
                <a:gd name="connsiteX48" fmla="*/ 604381 w 695194"/>
                <a:gd name="connsiteY48" fmla="*/ 836113 h 1146132"/>
                <a:gd name="connsiteX49" fmla="*/ 635696 w 695194"/>
                <a:gd name="connsiteY49" fmla="*/ 789140 h 1146132"/>
                <a:gd name="connsiteX50" fmla="*/ 632564 w 695194"/>
                <a:gd name="connsiteY50" fmla="*/ 757825 h 1146132"/>
                <a:gd name="connsiteX51" fmla="*/ 695194 w 695194"/>
                <a:gd name="connsiteY51" fmla="*/ 717115 h 114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95194" h="1146132">
                  <a:moveTo>
                    <a:pt x="695194" y="717115"/>
                  </a:moveTo>
                  <a:lnTo>
                    <a:pt x="638827" y="692063"/>
                  </a:lnTo>
                  <a:lnTo>
                    <a:pt x="638827" y="654485"/>
                  </a:lnTo>
                  <a:lnTo>
                    <a:pt x="604381" y="629433"/>
                  </a:lnTo>
                  <a:lnTo>
                    <a:pt x="607512" y="598118"/>
                  </a:lnTo>
                  <a:lnTo>
                    <a:pt x="569934" y="569935"/>
                  </a:lnTo>
                  <a:lnTo>
                    <a:pt x="544882" y="529225"/>
                  </a:lnTo>
                  <a:lnTo>
                    <a:pt x="513567" y="519830"/>
                  </a:lnTo>
                  <a:lnTo>
                    <a:pt x="532356" y="494778"/>
                  </a:lnTo>
                  <a:lnTo>
                    <a:pt x="551145" y="488515"/>
                  </a:lnTo>
                  <a:lnTo>
                    <a:pt x="551145" y="432148"/>
                  </a:lnTo>
                  <a:lnTo>
                    <a:pt x="610644" y="447806"/>
                  </a:lnTo>
                  <a:lnTo>
                    <a:pt x="610644" y="419622"/>
                  </a:lnTo>
                  <a:lnTo>
                    <a:pt x="585592" y="400833"/>
                  </a:lnTo>
                  <a:lnTo>
                    <a:pt x="616907" y="347598"/>
                  </a:lnTo>
                  <a:lnTo>
                    <a:pt x="582460" y="341335"/>
                  </a:lnTo>
                  <a:lnTo>
                    <a:pt x="541750" y="385176"/>
                  </a:lnTo>
                  <a:lnTo>
                    <a:pt x="497909" y="322546"/>
                  </a:lnTo>
                  <a:lnTo>
                    <a:pt x="447805" y="291230"/>
                  </a:lnTo>
                  <a:cubicBezTo>
                    <a:pt x="446761" y="243214"/>
                    <a:pt x="445718" y="195197"/>
                    <a:pt x="444674" y="147181"/>
                  </a:cubicBezTo>
                  <a:lnTo>
                    <a:pt x="394570" y="0"/>
                  </a:lnTo>
                  <a:lnTo>
                    <a:pt x="310019" y="31315"/>
                  </a:lnTo>
                  <a:lnTo>
                    <a:pt x="331940" y="72025"/>
                  </a:lnTo>
                  <a:lnTo>
                    <a:pt x="297493" y="212943"/>
                  </a:lnTo>
                  <a:lnTo>
                    <a:pt x="209811" y="244258"/>
                  </a:lnTo>
                  <a:lnTo>
                    <a:pt x="225468" y="294362"/>
                  </a:lnTo>
                  <a:lnTo>
                    <a:pt x="209811" y="407096"/>
                  </a:lnTo>
                  <a:lnTo>
                    <a:pt x="212942" y="435280"/>
                  </a:lnTo>
                  <a:lnTo>
                    <a:pt x="84550" y="648222"/>
                  </a:lnTo>
                  <a:lnTo>
                    <a:pt x="75156" y="748430"/>
                  </a:lnTo>
                  <a:lnTo>
                    <a:pt x="6263" y="864296"/>
                  </a:lnTo>
                  <a:lnTo>
                    <a:pt x="0" y="926926"/>
                  </a:lnTo>
                  <a:lnTo>
                    <a:pt x="25052" y="958241"/>
                  </a:lnTo>
                  <a:lnTo>
                    <a:pt x="12526" y="1014609"/>
                  </a:lnTo>
                  <a:lnTo>
                    <a:pt x="28183" y="1052187"/>
                  </a:lnTo>
                  <a:lnTo>
                    <a:pt x="78287" y="1017740"/>
                  </a:lnTo>
                  <a:lnTo>
                    <a:pt x="81419" y="1092896"/>
                  </a:lnTo>
                  <a:lnTo>
                    <a:pt x="162838" y="1130474"/>
                  </a:lnTo>
                  <a:lnTo>
                    <a:pt x="203548" y="1074107"/>
                  </a:lnTo>
                  <a:lnTo>
                    <a:pt x="263046" y="1077239"/>
                  </a:lnTo>
                  <a:lnTo>
                    <a:pt x="294361" y="1136737"/>
                  </a:lnTo>
                  <a:lnTo>
                    <a:pt x="369518" y="1117948"/>
                  </a:lnTo>
                  <a:lnTo>
                    <a:pt x="410227" y="1146132"/>
                  </a:lnTo>
                  <a:lnTo>
                    <a:pt x="657616" y="1086633"/>
                  </a:lnTo>
                  <a:lnTo>
                    <a:pt x="641959" y="998951"/>
                  </a:lnTo>
                  <a:lnTo>
                    <a:pt x="670142" y="908137"/>
                  </a:lnTo>
                  <a:lnTo>
                    <a:pt x="663879" y="879954"/>
                  </a:lnTo>
                  <a:lnTo>
                    <a:pt x="613775" y="851770"/>
                  </a:lnTo>
                  <a:lnTo>
                    <a:pt x="604381" y="836113"/>
                  </a:lnTo>
                  <a:lnTo>
                    <a:pt x="635696" y="789140"/>
                  </a:lnTo>
                  <a:lnTo>
                    <a:pt x="632564" y="757825"/>
                  </a:lnTo>
                  <a:lnTo>
                    <a:pt x="695194" y="717115"/>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0" name="Freeform 23554">
              <a:extLst>
                <a:ext uri="{FF2B5EF4-FFF2-40B4-BE49-F238E27FC236}">
                  <a16:creationId xmlns:a16="http://schemas.microsoft.com/office/drawing/2014/main" id="{7E715902-7F72-4A15-A552-87E974BB536C}"/>
                </a:ext>
              </a:extLst>
            </p:cNvPr>
            <p:cNvSpPr/>
            <p:nvPr/>
          </p:nvSpPr>
          <p:spPr>
            <a:xfrm>
              <a:off x="9319600" y="1732389"/>
              <a:ext cx="985838" cy="1320801"/>
            </a:xfrm>
            <a:custGeom>
              <a:avLst/>
              <a:gdLst>
                <a:gd name="connsiteX0" fmla="*/ 411956 w 985837"/>
                <a:gd name="connsiteY0" fmla="*/ 1321593 h 1321593"/>
                <a:gd name="connsiteX1" fmla="*/ 438150 w 985837"/>
                <a:gd name="connsiteY1" fmla="*/ 1254918 h 1321593"/>
                <a:gd name="connsiteX2" fmla="*/ 402431 w 985837"/>
                <a:gd name="connsiteY2" fmla="*/ 1197768 h 1321593"/>
                <a:gd name="connsiteX3" fmla="*/ 411956 w 985837"/>
                <a:gd name="connsiteY3" fmla="*/ 1166812 h 1321593"/>
                <a:gd name="connsiteX4" fmla="*/ 447675 w 985837"/>
                <a:gd name="connsiteY4" fmla="*/ 1119187 h 1321593"/>
                <a:gd name="connsiteX5" fmla="*/ 442912 w 985837"/>
                <a:gd name="connsiteY5" fmla="*/ 1014412 h 1321593"/>
                <a:gd name="connsiteX6" fmla="*/ 650081 w 985837"/>
                <a:gd name="connsiteY6" fmla="*/ 897731 h 1321593"/>
                <a:gd name="connsiteX7" fmla="*/ 692943 w 985837"/>
                <a:gd name="connsiteY7" fmla="*/ 850106 h 1321593"/>
                <a:gd name="connsiteX8" fmla="*/ 733425 w 985837"/>
                <a:gd name="connsiteY8" fmla="*/ 840581 h 1321593"/>
                <a:gd name="connsiteX9" fmla="*/ 788193 w 985837"/>
                <a:gd name="connsiteY9" fmla="*/ 862012 h 1321593"/>
                <a:gd name="connsiteX10" fmla="*/ 828675 w 985837"/>
                <a:gd name="connsiteY10" fmla="*/ 771525 h 1321593"/>
                <a:gd name="connsiteX11" fmla="*/ 788193 w 985837"/>
                <a:gd name="connsiteY11" fmla="*/ 683418 h 1321593"/>
                <a:gd name="connsiteX12" fmla="*/ 871537 w 985837"/>
                <a:gd name="connsiteY12" fmla="*/ 600075 h 1321593"/>
                <a:gd name="connsiteX13" fmla="*/ 847725 w 985837"/>
                <a:gd name="connsiteY13" fmla="*/ 561975 h 1321593"/>
                <a:gd name="connsiteX14" fmla="*/ 814387 w 985837"/>
                <a:gd name="connsiteY14" fmla="*/ 533400 h 1321593"/>
                <a:gd name="connsiteX15" fmla="*/ 831056 w 985837"/>
                <a:gd name="connsiteY15" fmla="*/ 476250 h 1321593"/>
                <a:gd name="connsiteX16" fmla="*/ 883443 w 985837"/>
                <a:gd name="connsiteY16" fmla="*/ 400050 h 1321593"/>
                <a:gd name="connsiteX17" fmla="*/ 985837 w 985837"/>
                <a:gd name="connsiteY17" fmla="*/ 309562 h 1321593"/>
                <a:gd name="connsiteX18" fmla="*/ 985837 w 985837"/>
                <a:gd name="connsiteY18" fmla="*/ 238125 h 1321593"/>
                <a:gd name="connsiteX19" fmla="*/ 919162 w 985837"/>
                <a:gd name="connsiteY19" fmla="*/ 235743 h 1321593"/>
                <a:gd name="connsiteX20" fmla="*/ 769143 w 985837"/>
                <a:gd name="connsiteY20" fmla="*/ 169068 h 1321593"/>
                <a:gd name="connsiteX21" fmla="*/ 759618 w 985837"/>
                <a:gd name="connsiteY21" fmla="*/ 190500 h 1321593"/>
                <a:gd name="connsiteX22" fmla="*/ 709612 w 985837"/>
                <a:gd name="connsiteY22" fmla="*/ 183356 h 1321593"/>
                <a:gd name="connsiteX23" fmla="*/ 678656 w 985837"/>
                <a:gd name="connsiteY23" fmla="*/ 216693 h 1321593"/>
                <a:gd name="connsiteX24" fmla="*/ 642937 w 985837"/>
                <a:gd name="connsiteY24" fmla="*/ 211931 h 1321593"/>
                <a:gd name="connsiteX25" fmla="*/ 652462 w 985837"/>
                <a:gd name="connsiteY25" fmla="*/ 269081 h 1321593"/>
                <a:gd name="connsiteX26" fmla="*/ 616743 w 985837"/>
                <a:gd name="connsiteY26" fmla="*/ 269081 h 1321593"/>
                <a:gd name="connsiteX27" fmla="*/ 592931 w 985837"/>
                <a:gd name="connsiteY27" fmla="*/ 228600 h 1321593"/>
                <a:gd name="connsiteX28" fmla="*/ 616743 w 985837"/>
                <a:gd name="connsiteY28" fmla="*/ 145256 h 1321593"/>
                <a:gd name="connsiteX29" fmla="*/ 573881 w 985837"/>
                <a:gd name="connsiteY29" fmla="*/ 166687 h 1321593"/>
                <a:gd name="connsiteX30" fmla="*/ 595312 w 985837"/>
                <a:gd name="connsiteY30" fmla="*/ 114300 h 1321593"/>
                <a:gd name="connsiteX31" fmla="*/ 566737 w 985837"/>
                <a:gd name="connsiteY31" fmla="*/ 45243 h 1321593"/>
                <a:gd name="connsiteX32" fmla="*/ 492918 w 985837"/>
                <a:gd name="connsiteY32" fmla="*/ 69056 h 1321593"/>
                <a:gd name="connsiteX33" fmla="*/ 485775 w 985837"/>
                <a:gd name="connsiteY33" fmla="*/ 95250 h 1321593"/>
                <a:gd name="connsiteX34" fmla="*/ 466725 w 985837"/>
                <a:gd name="connsiteY34" fmla="*/ 69056 h 1321593"/>
                <a:gd name="connsiteX35" fmla="*/ 478631 w 985837"/>
                <a:gd name="connsiteY35" fmla="*/ 38100 h 1321593"/>
                <a:gd name="connsiteX36" fmla="*/ 400050 w 985837"/>
                <a:gd name="connsiteY36" fmla="*/ 0 h 1321593"/>
                <a:gd name="connsiteX37" fmla="*/ 316706 w 985837"/>
                <a:gd name="connsiteY37" fmla="*/ 190500 h 1321593"/>
                <a:gd name="connsiteX38" fmla="*/ 204787 w 985837"/>
                <a:gd name="connsiteY38" fmla="*/ 297656 h 1321593"/>
                <a:gd name="connsiteX39" fmla="*/ 216693 w 985837"/>
                <a:gd name="connsiteY39" fmla="*/ 392906 h 1321593"/>
                <a:gd name="connsiteX40" fmla="*/ 102393 w 985837"/>
                <a:gd name="connsiteY40" fmla="*/ 557212 h 1321593"/>
                <a:gd name="connsiteX41" fmla="*/ 0 w 985837"/>
                <a:gd name="connsiteY41" fmla="*/ 590550 h 1321593"/>
                <a:gd name="connsiteX42" fmla="*/ 7143 w 985837"/>
                <a:gd name="connsiteY42" fmla="*/ 650081 h 1321593"/>
                <a:gd name="connsiteX43" fmla="*/ 38100 w 985837"/>
                <a:gd name="connsiteY43" fmla="*/ 652462 h 1321593"/>
                <a:gd name="connsiteX44" fmla="*/ 107156 w 985837"/>
                <a:gd name="connsiteY44" fmla="*/ 626268 h 1321593"/>
                <a:gd name="connsiteX45" fmla="*/ 159543 w 985837"/>
                <a:gd name="connsiteY45" fmla="*/ 766762 h 1321593"/>
                <a:gd name="connsiteX46" fmla="*/ 161925 w 985837"/>
                <a:gd name="connsiteY46" fmla="*/ 904875 h 1321593"/>
                <a:gd name="connsiteX47" fmla="*/ 259556 w 985837"/>
                <a:gd name="connsiteY47" fmla="*/ 1000125 h 1321593"/>
                <a:gd name="connsiteX48" fmla="*/ 288131 w 985837"/>
                <a:gd name="connsiteY48" fmla="*/ 964406 h 1321593"/>
                <a:gd name="connsiteX49" fmla="*/ 323850 w 985837"/>
                <a:gd name="connsiteY49" fmla="*/ 969168 h 1321593"/>
                <a:gd name="connsiteX50" fmla="*/ 304800 w 985837"/>
                <a:gd name="connsiteY50" fmla="*/ 1014412 h 1321593"/>
                <a:gd name="connsiteX51" fmla="*/ 323850 w 985837"/>
                <a:gd name="connsiteY51" fmla="*/ 1045368 h 1321593"/>
                <a:gd name="connsiteX52" fmla="*/ 323850 w 985837"/>
                <a:gd name="connsiteY52" fmla="*/ 1066800 h 1321593"/>
                <a:gd name="connsiteX53" fmla="*/ 264318 w 985837"/>
                <a:gd name="connsiteY53" fmla="*/ 1052512 h 1321593"/>
                <a:gd name="connsiteX54" fmla="*/ 259556 w 985837"/>
                <a:gd name="connsiteY54" fmla="*/ 1102518 h 1321593"/>
                <a:gd name="connsiteX55" fmla="*/ 235743 w 985837"/>
                <a:gd name="connsiteY55" fmla="*/ 1143000 h 1321593"/>
                <a:gd name="connsiteX56" fmla="*/ 278606 w 985837"/>
                <a:gd name="connsiteY56" fmla="*/ 1164431 h 1321593"/>
                <a:gd name="connsiteX57" fmla="*/ 326231 w 985837"/>
                <a:gd name="connsiteY57" fmla="*/ 1233487 h 1321593"/>
                <a:gd name="connsiteX58" fmla="*/ 328612 w 985837"/>
                <a:gd name="connsiteY58" fmla="*/ 1252537 h 1321593"/>
                <a:gd name="connsiteX59" fmla="*/ 357187 w 985837"/>
                <a:gd name="connsiteY59" fmla="*/ 1271587 h 1321593"/>
                <a:gd name="connsiteX60" fmla="*/ 352425 w 985837"/>
                <a:gd name="connsiteY60" fmla="*/ 1321593 h 1321593"/>
                <a:gd name="connsiteX61" fmla="*/ 411956 w 985837"/>
                <a:gd name="connsiteY61" fmla="*/ 1321593 h 1321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985837" h="1321593">
                  <a:moveTo>
                    <a:pt x="411956" y="1321593"/>
                  </a:moveTo>
                  <a:lnTo>
                    <a:pt x="438150" y="1254918"/>
                  </a:lnTo>
                  <a:lnTo>
                    <a:pt x="402431" y="1197768"/>
                  </a:lnTo>
                  <a:lnTo>
                    <a:pt x="411956" y="1166812"/>
                  </a:lnTo>
                  <a:lnTo>
                    <a:pt x="447675" y="1119187"/>
                  </a:lnTo>
                  <a:lnTo>
                    <a:pt x="442912" y="1014412"/>
                  </a:lnTo>
                  <a:lnTo>
                    <a:pt x="650081" y="897731"/>
                  </a:lnTo>
                  <a:lnTo>
                    <a:pt x="692943" y="850106"/>
                  </a:lnTo>
                  <a:lnTo>
                    <a:pt x="733425" y="840581"/>
                  </a:lnTo>
                  <a:lnTo>
                    <a:pt x="788193" y="862012"/>
                  </a:lnTo>
                  <a:lnTo>
                    <a:pt x="828675" y="771525"/>
                  </a:lnTo>
                  <a:lnTo>
                    <a:pt x="788193" y="683418"/>
                  </a:lnTo>
                  <a:lnTo>
                    <a:pt x="871537" y="600075"/>
                  </a:lnTo>
                  <a:lnTo>
                    <a:pt x="847725" y="561975"/>
                  </a:lnTo>
                  <a:lnTo>
                    <a:pt x="814387" y="533400"/>
                  </a:lnTo>
                  <a:lnTo>
                    <a:pt x="831056" y="476250"/>
                  </a:lnTo>
                  <a:lnTo>
                    <a:pt x="883443" y="400050"/>
                  </a:lnTo>
                  <a:lnTo>
                    <a:pt x="985837" y="309562"/>
                  </a:lnTo>
                  <a:lnTo>
                    <a:pt x="985837" y="238125"/>
                  </a:lnTo>
                  <a:lnTo>
                    <a:pt x="919162" y="235743"/>
                  </a:lnTo>
                  <a:lnTo>
                    <a:pt x="769143" y="169068"/>
                  </a:lnTo>
                  <a:lnTo>
                    <a:pt x="759618" y="190500"/>
                  </a:lnTo>
                  <a:lnTo>
                    <a:pt x="709612" y="183356"/>
                  </a:lnTo>
                  <a:lnTo>
                    <a:pt x="678656" y="216693"/>
                  </a:lnTo>
                  <a:lnTo>
                    <a:pt x="642937" y="211931"/>
                  </a:lnTo>
                  <a:lnTo>
                    <a:pt x="652462" y="269081"/>
                  </a:lnTo>
                  <a:lnTo>
                    <a:pt x="616743" y="269081"/>
                  </a:lnTo>
                  <a:lnTo>
                    <a:pt x="592931" y="228600"/>
                  </a:lnTo>
                  <a:lnTo>
                    <a:pt x="616743" y="145256"/>
                  </a:lnTo>
                  <a:lnTo>
                    <a:pt x="573881" y="166687"/>
                  </a:lnTo>
                  <a:lnTo>
                    <a:pt x="595312" y="114300"/>
                  </a:lnTo>
                  <a:lnTo>
                    <a:pt x="566737" y="45243"/>
                  </a:lnTo>
                  <a:lnTo>
                    <a:pt x="492918" y="69056"/>
                  </a:lnTo>
                  <a:lnTo>
                    <a:pt x="485775" y="95250"/>
                  </a:lnTo>
                  <a:lnTo>
                    <a:pt x="466725" y="69056"/>
                  </a:lnTo>
                  <a:lnTo>
                    <a:pt x="478631" y="38100"/>
                  </a:lnTo>
                  <a:lnTo>
                    <a:pt x="400050" y="0"/>
                  </a:lnTo>
                  <a:lnTo>
                    <a:pt x="316706" y="190500"/>
                  </a:lnTo>
                  <a:lnTo>
                    <a:pt x="204787" y="297656"/>
                  </a:lnTo>
                  <a:lnTo>
                    <a:pt x="216693" y="392906"/>
                  </a:lnTo>
                  <a:lnTo>
                    <a:pt x="102393" y="557212"/>
                  </a:lnTo>
                  <a:lnTo>
                    <a:pt x="0" y="590550"/>
                  </a:lnTo>
                  <a:lnTo>
                    <a:pt x="7143" y="650081"/>
                  </a:lnTo>
                  <a:lnTo>
                    <a:pt x="38100" y="652462"/>
                  </a:lnTo>
                  <a:lnTo>
                    <a:pt x="107156" y="626268"/>
                  </a:lnTo>
                  <a:lnTo>
                    <a:pt x="159543" y="766762"/>
                  </a:lnTo>
                  <a:lnTo>
                    <a:pt x="161925" y="904875"/>
                  </a:lnTo>
                  <a:lnTo>
                    <a:pt x="259556" y="1000125"/>
                  </a:lnTo>
                  <a:lnTo>
                    <a:pt x="288131" y="964406"/>
                  </a:lnTo>
                  <a:lnTo>
                    <a:pt x="323850" y="969168"/>
                  </a:lnTo>
                  <a:lnTo>
                    <a:pt x="304800" y="1014412"/>
                  </a:lnTo>
                  <a:lnTo>
                    <a:pt x="323850" y="1045368"/>
                  </a:lnTo>
                  <a:lnTo>
                    <a:pt x="323850" y="1066800"/>
                  </a:lnTo>
                  <a:lnTo>
                    <a:pt x="264318" y="1052512"/>
                  </a:lnTo>
                  <a:lnTo>
                    <a:pt x="259556" y="1102518"/>
                  </a:lnTo>
                  <a:lnTo>
                    <a:pt x="235743" y="1143000"/>
                  </a:lnTo>
                  <a:lnTo>
                    <a:pt x="278606" y="1164431"/>
                  </a:lnTo>
                  <a:lnTo>
                    <a:pt x="326231" y="1233487"/>
                  </a:lnTo>
                  <a:lnTo>
                    <a:pt x="328612" y="1252537"/>
                  </a:lnTo>
                  <a:lnTo>
                    <a:pt x="357187" y="1271587"/>
                  </a:lnTo>
                  <a:lnTo>
                    <a:pt x="352425" y="1321593"/>
                  </a:lnTo>
                  <a:lnTo>
                    <a:pt x="411956" y="1321593"/>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1" name="Freeform 23555">
              <a:extLst>
                <a:ext uri="{FF2B5EF4-FFF2-40B4-BE49-F238E27FC236}">
                  <a16:creationId xmlns:a16="http://schemas.microsoft.com/office/drawing/2014/main" id="{52843BDE-00C7-4020-8A3D-5CABD3BB3FC4}"/>
                </a:ext>
              </a:extLst>
            </p:cNvPr>
            <p:cNvSpPr/>
            <p:nvPr/>
          </p:nvSpPr>
          <p:spPr>
            <a:xfrm>
              <a:off x="9722825" y="1965751"/>
              <a:ext cx="800100" cy="1160464"/>
            </a:xfrm>
            <a:custGeom>
              <a:avLst/>
              <a:gdLst>
                <a:gd name="connsiteX0" fmla="*/ 692944 w 800100"/>
                <a:gd name="connsiteY0" fmla="*/ 838200 h 1159669"/>
                <a:gd name="connsiteX1" fmla="*/ 795337 w 800100"/>
                <a:gd name="connsiteY1" fmla="*/ 769144 h 1159669"/>
                <a:gd name="connsiteX2" fmla="*/ 778669 w 800100"/>
                <a:gd name="connsiteY2" fmla="*/ 654844 h 1159669"/>
                <a:gd name="connsiteX3" fmla="*/ 800100 w 800100"/>
                <a:gd name="connsiteY3" fmla="*/ 597694 h 1159669"/>
                <a:gd name="connsiteX4" fmla="*/ 800100 w 800100"/>
                <a:gd name="connsiteY4" fmla="*/ 545306 h 1159669"/>
                <a:gd name="connsiteX5" fmla="*/ 759619 w 800100"/>
                <a:gd name="connsiteY5" fmla="*/ 552450 h 1159669"/>
                <a:gd name="connsiteX6" fmla="*/ 742950 w 800100"/>
                <a:gd name="connsiteY6" fmla="*/ 421481 h 1159669"/>
                <a:gd name="connsiteX7" fmla="*/ 721519 w 800100"/>
                <a:gd name="connsiteY7" fmla="*/ 395288 h 1159669"/>
                <a:gd name="connsiteX8" fmla="*/ 681037 w 800100"/>
                <a:gd name="connsiteY8" fmla="*/ 264319 h 1159669"/>
                <a:gd name="connsiteX9" fmla="*/ 707231 w 800100"/>
                <a:gd name="connsiteY9" fmla="*/ 202406 h 1159669"/>
                <a:gd name="connsiteX10" fmla="*/ 697706 w 800100"/>
                <a:gd name="connsiteY10" fmla="*/ 133350 h 1159669"/>
                <a:gd name="connsiteX11" fmla="*/ 661987 w 800100"/>
                <a:gd name="connsiteY11" fmla="*/ 80963 h 1159669"/>
                <a:gd name="connsiteX12" fmla="*/ 681037 w 800100"/>
                <a:gd name="connsiteY12" fmla="*/ 28575 h 1159669"/>
                <a:gd name="connsiteX13" fmla="*/ 590550 w 800100"/>
                <a:gd name="connsiteY13" fmla="*/ 0 h 1159669"/>
                <a:gd name="connsiteX14" fmla="*/ 581025 w 800100"/>
                <a:gd name="connsiteY14" fmla="*/ 78581 h 1159669"/>
                <a:gd name="connsiteX15" fmla="*/ 473869 w 800100"/>
                <a:gd name="connsiteY15" fmla="*/ 169069 h 1159669"/>
                <a:gd name="connsiteX16" fmla="*/ 423862 w 800100"/>
                <a:gd name="connsiteY16" fmla="*/ 300038 h 1159669"/>
                <a:gd name="connsiteX17" fmla="*/ 464344 w 800100"/>
                <a:gd name="connsiteY17" fmla="*/ 354806 h 1159669"/>
                <a:gd name="connsiteX18" fmla="*/ 383381 w 800100"/>
                <a:gd name="connsiteY18" fmla="*/ 450056 h 1159669"/>
                <a:gd name="connsiteX19" fmla="*/ 421481 w 800100"/>
                <a:gd name="connsiteY19" fmla="*/ 552450 h 1159669"/>
                <a:gd name="connsiteX20" fmla="*/ 385762 w 800100"/>
                <a:gd name="connsiteY20" fmla="*/ 635794 h 1159669"/>
                <a:gd name="connsiteX21" fmla="*/ 323850 w 800100"/>
                <a:gd name="connsiteY21" fmla="*/ 607219 h 1159669"/>
                <a:gd name="connsiteX22" fmla="*/ 280987 w 800100"/>
                <a:gd name="connsiteY22" fmla="*/ 626269 h 1159669"/>
                <a:gd name="connsiteX23" fmla="*/ 242887 w 800100"/>
                <a:gd name="connsiteY23" fmla="*/ 676275 h 1159669"/>
                <a:gd name="connsiteX24" fmla="*/ 35719 w 800100"/>
                <a:gd name="connsiteY24" fmla="*/ 785813 h 1159669"/>
                <a:gd name="connsiteX25" fmla="*/ 30956 w 800100"/>
                <a:gd name="connsiteY25" fmla="*/ 892969 h 1159669"/>
                <a:gd name="connsiteX26" fmla="*/ 0 w 800100"/>
                <a:gd name="connsiteY26" fmla="*/ 957263 h 1159669"/>
                <a:gd name="connsiteX27" fmla="*/ 26194 w 800100"/>
                <a:gd name="connsiteY27" fmla="*/ 1028700 h 1159669"/>
                <a:gd name="connsiteX28" fmla="*/ 14287 w 800100"/>
                <a:gd name="connsiteY28" fmla="*/ 1095375 h 1159669"/>
                <a:gd name="connsiteX29" fmla="*/ 54769 w 800100"/>
                <a:gd name="connsiteY29" fmla="*/ 1102519 h 1159669"/>
                <a:gd name="connsiteX30" fmla="*/ 109537 w 800100"/>
                <a:gd name="connsiteY30" fmla="*/ 1145381 h 1159669"/>
                <a:gd name="connsiteX31" fmla="*/ 192881 w 800100"/>
                <a:gd name="connsiteY31" fmla="*/ 1159669 h 1159669"/>
                <a:gd name="connsiteX32" fmla="*/ 238125 w 800100"/>
                <a:gd name="connsiteY32" fmla="*/ 1133475 h 1159669"/>
                <a:gd name="connsiteX33" fmla="*/ 288131 w 800100"/>
                <a:gd name="connsiteY33" fmla="*/ 1126331 h 1159669"/>
                <a:gd name="connsiteX34" fmla="*/ 311944 w 800100"/>
                <a:gd name="connsiteY34" fmla="*/ 1066800 h 1159669"/>
                <a:gd name="connsiteX35" fmla="*/ 342900 w 800100"/>
                <a:gd name="connsiteY35" fmla="*/ 1045369 h 1159669"/>
                <a:gd name="connsiteX36" fmla="*/ 323850 w 800100"/>
                <a:gd name="connsiteY36" fmla="*/ 966788 h 1159669"/>
                <a:gd name="connsiteX37" fmla="*/ 338137 w 800100"/>
                <a:gd name="connsiteY37" fmla="*/ 938213 h 1159669"/>
                <a:gd name="connsiteX38" fmla="*/ 376237 w 800100"/>
                <a:gd name="connsiteY38" fmla="*/ 954881 h 1159669"/>
                <a:gd name="connsiteX39" fmla="*/ 414337 w 800100"/>
                <a:gd name="connsiteY39" fmla="*/ 950119 h 1159669"/>
                <a:gd name="connsiteX40" fmla="*/ 476250 w 800100"/>
                <a:gd name="connsiteY40" fmla="*/ 983456 h 1159669"/>
                <a:gd name="connsiteX41" fmla="*/ 692944 w 800100"/>
                <a:gd name="connsiteY41" fmla="*/ 838200 h 1159669"/>
                <a:gd name="connsiteX0" fmla="*/ 692944 w 800100"/>
                <a:gd name="connsiteY0" fmla="*/ 838200 h 1159669"/>
                <a:gd name="connsiteX1" fmla="*/ 795337 w 800100"/>
                <a:gd name="connsiteY1" fmla="*/ 769144 h 1159669"/>
                <a:gd name="connsiteX2" fmla="*/ 778669 w 800100"/>
                <a:gd name="connsiteY2" fmla="*/ 654844 h 1159669"/>
                <a:gd name="connsiteX3" fmla="*/ 800100 w 800100"/>
                <a:gd name="connsiteY3" fmla="*/ 597694 h 1159669"/>
                <a:gd name="connsiteX4" fmla="*/ 800100 w 800100"/>
                <a:gd name="connsiteY4" fmla="*/ 545306 h 1159669"/>
                <a:gd name="connsiteX5" fmla="*/ 759619 w 800100"/>
                <a:gd name="connsiteY5" fmla="*/ 552450 h 1159669"/>
                <a:gd name="connsiteX6" fmla="*/ 742950 w 800100"/>
                <a:gd name="connsiteY6" fmla="*/ 421481 h 1159669"/>
                <a:gd name="connsiteX7" fmla="*/ 721519 w 800100"/>
                <a:gd name="connsiteY7" fmla="*/ 395288 h 1159669"/>
                <a:gd name="connsiteX8" fmla="*/ 681037 w 800100"/>
                <a:gd name="connsiteY8" fmla="*/ 264319 h 1159669"/>
                <a:gd name="connsiteX9" fmla="*/ 707231 w 800100"/>
                <a:gd name="connsiteY9" fmla="*/ 202406 h 1159669"/>
                <a:gd name="connsiteX10" fmla="*/ 697706 w 800100"/>
                <a:gd name="connsiteY10" fmla="*/ 133350 h 1159669"/>
                <a:gd name="connsiteX11" fmla="*/ 661987 w 800100"/>
                <a:gd name="connsiteY11" fmla="*/ 80963 h 1159669"/>
                <a:gd name="connsiteX12" fmla="*/ 681037 w 800100"/>
                <a:gd name="connsiteY12" fmla="*/ 28575 h 1159669"/>
                <a:gd name="connsiteX13" fmla="*/ 590550 w 800100"/>
                <a:gd name="connsiteY13" fmla="*/ 0 h 1159669"/>
                <a:gd name="connsiteX14" fmla="*/ 581025 w 800100"/>
                <a:gd name="connsiteY14" fmla="*/ 78581 h 1159669"/>
                <a:gd name="connsiteX15" fmla="*/ 473869 w 800100"/>
                <a:gd name="connsiteY15" fmla="*/ 169069 h 1159669"/>
                <a:gd name="connsiteX16" fmla="*/ 416242 w 800100"/>
                <a:gd name="connsiteY16" fmla="*/ 258128 h 1159669"/>
                <a:gd name="connsiteX17" fmla="*/ 464344 w 800100"/>
                <a:gd name="connsiteY17" fmla="*/ 354806 h 1159669"/>
                <a:gd name="connsiteX18" fmla="*/ 383381 w 800100"/>
                <a:gd name="connsiteY18" fmla="*/ 450056 h 1159669"/>
                <a:gd name="connsiteX19" fmla="*/ 421481 w 800100"/>
                <a:gd name="connsiteY19" fmla="*/ 552450 h 1159669"/>
                <a:gd name="connsiteX20" fmla="*/ 385762 w 800100"/>
                <a:gd name="connsiteY20" fmla="*/ 635794 h 1159669"/>
                <a:gd name="connsiteX21" fmla="*/ 323850 w 800100"/>
                <a:gd name="connsiteY21" fmla="*/ 607219 h 1159669"/>
                <a:gd name="connsiteX22" fmla="*/ 280987 w 800100"/>
                <a:gd name="connsiteY22" fmla="*/ 626269 h 1159669"/>
                <a:gd name="connsiteX23" fmla="*/ 242887 w 800100"/>
                <a:gd name="connsiteY23" fmla="*/ 676275 h 1159669"/>
                <a:gd name="connsiteX24" fmla="*/ 35719 w 800100"/>
                <a:gd name="connsiteY24" fmla="*/ 785813 h 1159669"/>
                <a:gd name="connsiteX25" fmla="*/ 30956 w 800100"/>
                <a:gd name="connsiteY25" fmla="*/ 892969 h 1159669"/>
                <a:gd name="connsiteX26" fmla="*/ 0 w 800100"/>
                <a:gd name="connsiteY26" fmla="*/ 957263 h 1159669"/>
                <a:gd name="connsiteX27" fmla="*/ 26194 w 800100"/>
                <a:gd name="connsiteY27" fmla="*/ 1028700 h 1159669"/>
                <a:gd name="connsiteX28" fmla="*/ 14287 w 800100"/>
                <a:gd name="connsiteY28" fmla="*/ 1095375 h 1159669"/>
                <a:gd name="connsiteX29" fmla="*/ 54769 w 800100"/>
                <a:gd name="connsiteY29" fmla="*/ 1102519 h 1159669"/>
                <a:gd name="connsiteX30" fmla="*/ 109537 w 800100"/>
                <a:gd name="connsiteY30" fmla="*/ 1145381 h 1159669"/>
                <a:gd name="connsiteX31" fmla="*/ 192881 w 800100"/>
                <a:gd name="connsiteY31" fmla="*/ 1159669 h 1159669"/>
                <a:gd name="connsiteX32" fmla="*/ 238125 w 800100"/>
                <a:gd name="connsiteY32" fmla="*/ 1133475 h 1159669"/>
                <a:gd name="connsiteX33" fmla="*/ 288131 w 800100"/>
                <a:gd name="connsiteY33" fmla="*/ 1126331 h 1159669"/>
                <a:gd name="connsiteX34" fmla="*/ 311944 w 800100"/>
                <a:gd name="connsiteY34" fmla="*/ 1066800 h 1159669"/>
                <a:gd name="connsiteX35" fmla="*/ 342900 w 800100"/>
                <a:gd name="connsiteY35" fmla="*/ 1045369 h 1159669"/>
                <a:gd name="connsiteX36" fmla="*/ 323850 w 800100"/>
                <a:gd name="connsiteY36" fmla="*/ 966788 h 1159669"/>
                <a:gd name="connsiteX37" fmla="*/ 338137 w 800100"/>
                <a:gd name="connsiteY37" fmla="*/ 938213 h 1159669"/>
                <a:gd name="connsiteX38" fmla="*/ 376237 w 800100"/>
                <a:gd name="connsiteY38" fmla="*/ 954881 h 1159669"/>
                <a:gd name="connsiteX39" fmla="*/ 414337 w 800100"/>
                <a:gd name="connsiteY39" fmla="*/ 950119 h 1159669"/>
                <a:gd name="connsiteX40" fmla="*/ 476250 w 800100"/>
                <a:gd name="connsiteY40" fmla="*/ 983456 h 1159669"/>
                <a:gd name="connsiteX41" fmla="*/ 692944 w 800100"/>
                <a:gd name="connsiteY41" fmla="*/ 838200 h 1159669"/>
                <a:gd name="connsiteX0" fmla="*/ 692944 w 800100"/>
                <a:gd name="connsiteY0" fmla="*/ 838200 h 1159669"/>
                <a:gd name="connsiteX1" fmla="*/ 795337 w 800100"/>
                <a:gd name="connsiteY1" fmla="*/ 769144 h 1159669"/>
                <a:gd name="connsiteX2" fmla="*/ 778669 w 800100"/>
                <a:gd name="connsiteY2" fmla="*/ 654844 h 1159669"/>
                <a:gd name="connsiteX3" fmla="*/ 800100 w 800100"/>
                <a:gd name="connsiteY3" fmla="*/ 597694 h 1159669"/>
                <a:gd name="connsiteX4" fmla="*/ 800100 w 800100"/>
                <a:gd name="connsiteY4" fmla="*/ 545306 h 1159669"/>
                <a:gd name="connsiteX5" fmla="*/ 759619 w 800100"/>
                <a:gd name="connsiteY5" fmla="*/ 552450 h 1159669"/>
                <a:gd name="connsiteX6" fmla="*/ 742950 w 800100"/>
                <a:gd name="connsiteY6" fmla="*/ 421481 h 1159669"/>
                <a:gd name="connsiteX7" fmla="*/ 721519 w 800100"/>
                <a:gd name="connsiteY7" fmla="*/ 395288 h 1159669"/>
                <a:gd name="connsiteX8" fmla="*/ 681037 w 800100"/>
                <a:gd name="connsiteY8" fmla="*/ 264319 h 1159669"/>
                <a:gd name="connsiteX9" fmla="*/ 707231 w 800100"/>
                <a:gd name="connsiteY9" fmla="*/ 202406 h 1159669"/>
                <a:gd name="connsiteX10" fmla="*/ 697706 w 800100"/>
                <a:gd name="connsiteY10" fmla="*/ 133350 h 1159669"/>
                <a:gd name="connsiteX11" fmla="*/ 661987 w 800100"/>
                <a:gd name="connsiteY11" fmla="*/ 80963 h 1159669"/>
                <a:gd name="connsiteX12" fmla="*/ 681037 w 800100"/>
                <a:gd name="connsiteY12" fmla="*/ 28575 h 1159669"/>
                <a:gd name="connsiteX13" fmla="*/ 590550 w 800100"/>
                <a:gd name="connsiteY13" fmla="*/ 0 h 1159669"/>
                <a:gd name="connsiteX14" fmla="*/ 581025 w 800100"/>
                <a:gd name="connsiteY14" fmla="*/ 78581 h 1159669"/>
                <a:gd name="connsiteX15" fmla="*/ 473869 w 800100"/>
                <a:gd name="connsiteY15" fmla="*/ 169069 h 1159669"/>
                <a:gd name="connsiteX16" fmla="*/ 416242 w 800100"/>
                <a:gd name="connsiteY16" fmla="*/ 258128 h 1159669"/>
                <a:gd name="connsiteX17" fmla="*/ 440531 w 800100"/>
                <a:gd name="connsiteY17" fmla="*/ 310515 h 1159669"/>
                <a:gd name="connsiteX18" fmla="*/ 464344 w 800100"/>
                <a:gd name="connsiteY18" fmla="*/ 354806 h 1159669"/>
                <a:gd name="connsiteX19" fmla="*/ 383381 w 800100"/>
                <a:gd name="connsiteY19" fmla="*/ 450056 h 1159669"/>
                <a:gd name="connsiteX20" fmla="*/ 421481 w 800100"/>
                <a:gd name="connsiteY20" fmla="*/ 552450 h 1159669"/>
                <a:gd name="connsiteX21" fmla="*/ 385762 w 800100"/>
                <a:gd name="connsiteY21" fmla="*/ 635794 h 1159669"/>
                <a:gd name="connsiteX22" fmla="*/ 323850 w 800100"/>
                <a:gd name="connsiteY22" fmla="*/ 607219 h 1159669"/>
                <a:gd name="connsiteX23" fmla="*/ 280987 w 800100"/>
                <a:gd name="connsiteY23" fmla="*/ 626269 h 1159669"/>
                <a:gd name="connsiteX24" fmla="*/ 242887 w 800100"/>
                <a:gd name="connsiteY24" fmla="*/ 676275 h 1159669"/>
                <a:gd name="connsiteX25" fmla="*/ 35719 w 800100"/>
                <a:gd name="connsiteY25" fmla="*/ 785813 h 1159669"/>
                <a:gd name="connsiteX26" fmla="*/ 30956 w 800100"/>
                <a:gd name="connsiteY26" fmla="*/ 892969 h 1159669"/>
                <a:gd name="connsiteX27" fmla="*/ 0 w 800100"/>
                <a:gd name="connsiteY27" fmla="*/ 957263 h 1159669"/>
                <a:gd name="connsiteX28" fmla="*/ 26194 w 800100"/>
                <a:gd name="connsiteY28" fmla="*/ 1028700 h 1159669"/>
                <a:gd name="connsiteX29" fmla="*/ 14287 w 800100"/>
                <a:gd name="connsiteY29" fmla="*/ 1095375 h 1159669"/>
                <a:gd name="connsiteX30" fmla="*/ 54769 w 800100"/>
                <a:gd name="connsiteY30" fmla="*/ 1102519 h 1159669"/>
                <a:gd name="connsiteX31" fmla="*/ 109537 w 800100"/>
                <a:gd name="connsiteY31" fmla="*/ 1145381 h 1159669"/>
                <a:gd name="connsiteX32" fmla="*/ 192881 w 800100"/>
                <a:gd name="connsiteY32" fmla="*/ 1159669 h 1159669"/>
                <a:gd name="connsiteX33" fmla="*/ 238125 w 800100"/>
                <a:gd name="connsiteY33" fmla="*/ 1133475 h 1159669"/>
                <a:gd name="connsiteX34" fmla="*/ 288131 w 800100"/>
                <a:gd name="connsiteY34" fmla="*/ 1126331 h 1159669"/>
                <a:gd name="connsiteX35" fmla="*/ 311944 w 800100"/>
                <a:gd name="connsiteY35" fmla="*/ 1066800 h 1159669"/>
                <a:gd name="connsiteX36" fmla="*/ 342900 w 800100"/>
                <a:gd name="connsiteY36" fmla="*/ 1045369 h 1159669"/>
                <a:gd name="connsiteX37" fmla="*/ 323850 w 800100"/>
                <a:gd name="connsiteY37" fmla="*/ 966788 h 1159669"/>
                <a:gd name="connsiteX38" fmla="*/ 338137 w 800100"/>
                <a:gd name="connsiteY38" fmla="*/ 938213 h 1159669"/>
                <a:gd name="connsiteX39" fmla="*/ 376237 w 800100"/>
                <a:gd name="connsiteY39" fmla="*/ 954881 h 1159669"/>
                <a:gd name="connsiteX40" fmla="*/ 414337 w 800100"/>
                <a:gd name="connsiteY40" fmla="*/ 950119 h 1159669"/>
                <a:gd name="connsiteX41" fmla="*/ 476250 w 800100"/>
                <a:gd name="connsiteY41" fmla="*/ 983456 h 1159669"/>
                <a:gd name="connsiteX42" fmla="*/ 692944 w 800100"/>
                <a:gd name="connsiteY42" fmla="*/ 838200 h 1159669"/>
                <a:gd name="connsiteX0" fmla="*/ 692944 w 800100"/>
                <a:gd name="connsiteY0" fmla="*/ 838200 h 1159669"/>
                <a:gd name="connsiteX1" fmla="*/ 795337 w 800100"/>
                <a:gd name="connsiteY1" fmla="*/ 769144 h 1159669"/>
                <a:gd name="connsiteX2" fmla="*/ 778669 w 800100"/>
                <a:gd name="connsiteY2" fmla="*/ 654844 h 1159669"/>
                <a:gd name="connsiteX3" fmla="*/ 800100 w 800100"/>
                <a:gd name="connsiteY3" fmla="*/ 597694 h 1159669"/>
                <a:gd name="connsiteX4" fmla="*/ 800100 w 800100"/>
                <a:gd name="connsiteY4" fmla="*/ 545306 h 1159669"/>
                <a:gd name="connsiteX5" fmla="*/ 759619 w 800100"/>
                <a:gd name="connsiteY5" fmla="*/ 552450 h 1159669"/>
                <a:gd name="connsiteX6" fmla="*/ 742950 w 800100"/>
                <a:gd name="connsiteY6" fmla="*/ 421481 h 1159669"/>
                <a:gd name="connsiteX7" fmla="*/ 721519 w 800100"/>
                <a:gd name="connsiteY7" fmla="*/ 395288 h 1159669"/>
                <a:gd name="connsiteX8" fmla="*/ 681037 w 800100"/>
                <a:gd name="connsiteY8" fmla="*/ 264319 h 1159669"/>
                <a:gd name="connsiteX9" fmla="*/ 707231 w 800100"/>
                <a:gd name="connsiteY9" fmla="*/ 202406 h 1159669"/>
                <a:gd name="connsiteX10" fmla="*/ 697706 w 800100"/>
                <a:gd name="connsiteY10" fmla="*/ 133350 h 1159669"/>
                <a:gd name="connsiteX11" fmla="*/ 661987 w 800100"/>
                <a:gd name="connsiteY11" fmla="*/ 80963 h 1159669"/>
                <a:gd name="connsiteX12" fmla="*/ 681037 w 800100"/>
                <a:gd name="connsiteY12" fmla="*/ 28575 h 1159669"/>
                <a:gd name="connsiteX13" fmla="*/ 590550 w 800100"/>
                <a:gd name="connsiteY13" fmla="*/ 0 h 1159669"/>
                <a:gd name="connsiteX14" fmla="*/ 581025 w 800100"/>
                <a:gd name="connsiteY14" fmla="*/ 78581 h 1159669"/>
                <a:gd name="connsiteX15" fmla="*/ 473869 w 800100"/>
                <a:gd name="connsiteY15" fmla="*/ 169069 h 1159669"/>
                <a:gd name="connsiteX16" fmla="*/ 416242 w 800100"/>
                <a:gd name="connsiteY16" fmla="*/ 258128 h 1159669"/>
                <a:gd name="connsiteX17" fmla="*/ 421481 w 800100"/>
                <a:gd name="connsiteY17" fmla="*/ 306705 h 1159669"/>
                <a:gd name="connsiteX18" fmla="*/ 464344 w 800100"/>
                <a:gd name="connsiteY18" fmla="*/ 354806 h 1159669"/>
                <a:gd name="connsiteX19" fmla="*/ 383381 w 800100"/>
                <a:gd name="connsiteY19" fmla="*/ 450056 h 1159669"/>
                <a:gd name="connsiteX20" fmla="*/ 421481 w 800100"/>
                <a:gd name="connsiteY20" fmla="*/ 552450 h 1159669"/>
                <a:gd name="connsiteX21" fmla="*/ 385762 w 800100"/>
                <a:gd name="connsiteY21" fmla="*/ 635794 h 1159669"/>
                <a:gd name="connsiteX22" fmla="*/ 323850 w 800100"/>
                <a:gd name="connsiteY22" fmla="*/ 607219 h 1159669"/>
                <a:gd name="connsiteX23" fmla="*/ 280987 w 800100"/>
                <a:gd name="connsiteY23" fmla="*/ 626269 h 1159669"/>
                <a:gd name="connsiteX24" fmla="*/ 242887 w 800100"/>
                <a:gd name="connsiteY24" fmla="*/ 676275 h 1159669"/>
                <a:gd name="connsiteX25" fmla="*/ 35719 w 800100"/>
                <a:gd name="connsiteY25" fmla="*/ 785813 h 1159669"/>
                <a:gd name="connsiteX26" fmla="*/ 30956 w 800100"/>
                <a:gd name="connsiteY26" fmla="*/ 892969 h 1159669"/>
                <a:gd name="connsiteX27" fmla="*/ 0 w 800100"/>
                <a:gd name="connsiteY27" fmla="*/ 957263 h 1159669"/>
                <a:gd name="connsiteX28" fmla="*/ 26194 w 800100"/>
                <a:gd name="connsiteY28" fmla="*/ 1028700 h 1159669"/>
                <a:gd name="connsiteX29" fmla="*/ 14287 w 800100"/>
                <a:gd name="connsiteY29" fmla="*/ 1095375 h 1159669"/>
                <a:gd name="connsiteX30" fmla="*/ 54769 w 800100"/>
                <a:gd name="connsiteY30" fmla="*/ 1102519 h 1159669"/>
                <a:gd name="connsiteX31" fmla="*/ 109537 w 800100"/>
                <a:gd name="connsiteY31" fmla="*/ 1145381 h 1159669"/>
                <a:gd name="connsiteX32" fmla="*/ 192881 w 800100"/>
                <a:gd name="connsiteY32" fmla="*/ 1159669 h 1159669"/>
                <a:gd name="connsiteX33" fmla="*/ 238125 w 800100"/>
                <a:gd name="connsiteY33" fmla="*/ 1133475 h 1159669"/>
                <a:gd name="connsiteX34" fmla="*/ 288131 w 800100"/>
                <a:gd name="connsiteY34" fmla="*/ 1126331 h 1159669"/>
                <a:gd name="connsiteX35" fmla="*/ 311944 w 800100"/>
                <a:gd name="connsiteY35" fmla="*/ 1066800 h 1159669"/>
                <a:gd name="connsiteX36" fmla="*/ 342900 w 800100"/>
                <a:gd name="connsiteY36" fmla="*/ 1045369 h 1159669"/>
                <a:gd name="connsiteX37" fmla="*/ 323850 w 800100"/>
                <a:gd name="connsiteY37" fmla="*/ 966788 h 1159669"/>
                <a:gd name="connsiteX38" fmla="*/ 338137 w 800100"/>
                <a:gd name="connsiteY38" fmla="*/ 938213 h 1159669"/>
                <a:gd name="connsiteX39" fmla="*/ 376237 w 800100"/>
                <a:gd name="connsiteY39" fmla="*/ 954881 h 1159669"/>
                <a:gd name="connsiteX40" fmla="*/ 414337 w 800100"/>
                <a:gd name="connsiteY40" fmla="*/ 950119 h 1159669"/>
                <a:gd name="connsiteX41" fmla="*/ 476250 w 800100"/>
                <a:gd name="connsiteY41" fmla="*/ 983456 h 1159669"/>
                <a:gd name="connsiteX42" fmla="*/ 692944 w 800100"/>
                <a:gd name="connsiteY42" fmla="*/ 838200 h 115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800100" h="1159669">
                  <a:moveTo>
                    <a:pt x="692944" y="838200"/>
                  </a:moveTo>
                  <a:lnTo>
                    <a:pt x="795337" y="769144"/>
                  </a:lnTo>
                  <a:lnTo>
                    <a:pt x="778669" y="654844"/>
                  </a:lnTo>
                  <a:lnTo>
                    <a:pt x="800100" y="597694"/>
                  </a:lnTo>
                  <a:lnTo>
                    <a:pt x="800100" y="545306"/>
                  </a:lnTo>
                  <a:lnTo>
                    <a:pt x="759619" y="552450"/>
                  </a:lnTo>
                  <a:lnTo>
                    <a:pt x="742950" y="421481"/>
                  </a:lnTo>
                  <a:lnTo>
                    <a:pt x="721519" y="395288"/>
                  </a:lnTo>
                  <a:lnTo>
                    <a:pt x="681037" y="264319"/>
                  </a:lnTo>
                  <a:lnTo>
                    <a:pt x="707231" y="202406"/>
                  </a:lnTo>
                  <a:lnTo>
                    <a:pt x="697706" y="133350"/>
                  </a:lnTo>
                  <a:lnTo>
                    <a:pt x="661987" y="80963"/>
                  </a:lnTo>
                  <a:lnTo>
                    <a:pt x="681037" y="28575"/>
                  </a:lnTo>
                  <a:lnTo>
                    <a:pt x="590550" y="0"/>
                  </a:lnTo>
                  <a:lnTo>
                    <a:pt x="581025" y="78581"/>
                  </a:lnTo>
                  <a:lnTo>
                    <a:pt x="473869" y="169069"/>
                  </a:lnTo>
                  <a:lnTo>
                    <a:pt x="416242" y="258128"/>
                  </a:lnTo>
                  <a:lnTo>
                    <a:pt x="421481" y="306705"/>
                  </a:lnTo>
                  <a:lnTo>
                    <a:pt x="464344" y="354806"/>
                  </a:lnTo>
                  <a:lnTo>
                    <a:pt x="383381" y="450056"/>
                  </a:lnTo>
                  <a:lnTo>
                    <a:pt x="421481" y="552450"/>
                  </a:lnTo>
                  <a:lnTo>
                    <a:pt x="385762" y="635794"/>
                  </a:lnTo>
                  <a:lnTo>
                    <a:pt x="323850" y="607219"/>
                  </a:lnTo>
                  <a:lnTo>
                    <a:pt x="280987" y="626269"/>
                  </a:lnTo>
                  <a:lnTo>
                    <a:pt x="242887" y="676275"/>
                  </a:lnTo>
                  <a:lnTo>
                    <a:pt x="35719" y="785813"/>
                  </a:lnTo>
                  <a:lnTo>
                    <a:pt x="30956" y="892969"/>
                  </a:lnTo>
                  <a:lnTo>
                    <a:pt x="0" y="957263"/>
                  </a:lnTo>
                  <a:lnTo>
                    <a:pt x="26194" y="1028700"/>
                  </a:lnTo>
                  <a:lnTo>
                    <a:pt x="14287" y="1095375"/>
                  </a:lnTo>
                  <a:lnTo>
                    <a:pt x="54769" y="1102519"/>
                  </a:lnTo>
                  <a:lnTo>
                    <a:pt x="109537" y="1145381"/>
                  </a:lnTo>
                  <a:lnTo>
                    <a:pt x="192881" y="1159669"/>
                  </a:lnTo>
                  <a:lnTo>
                    <a:pt x="238125" y="1133475"/>
                  </a:lnTo>
                  <a:lnTo>
                    <a:pt x="288131" y="1126331"/>
                  </a:lnTo>
                  <a:lnTo>
                    <a:pt x="311944" y="1066800"/>
                  </a:lnTo>
                  <a:lnTo>
                    <a:pt x="342900" y="1045369"/>
                  </a:lnTo>
                  <a:lnTo>
                    <a:pt x="323850" y="966788"/>
                  </a:lnTo>
                  <a:lnTo>
                    <a:pt x="338137" y="938213"/>
                  </a:lnTo>
                  <a:lnTo>
                    <a:pt x="376237" y="954881"/>
                  </a:lnTo>
                  <a:lnTo>
                    <a:pt x="414337" y="950119"/>
                  </a:lnTo>
                  <a:lnTo>
                    <a:pt x="476250" y="983456"/>
                  </a:lnTo>
                  <a:lnTo>
                    <a:pt x="692944" y="838200"/>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2" name="Freeform 23556">
              <a:extLst>
                <a:ext uri="{FF2B5EF4-FFF2-40B4-BE49-F238E27FC236}">
                  <a16:creationId xmlns:a16="http://schemas.microsoft.com/office/drawing/2014/main" id="{E2D381B8-7239-48F3-AB51-1CF465797154}"/>
                </a:ext>
              </a:extLst>
            </p:cNvPr>
            <p:cNvSpPr/>
            <p:nvPr/>
          </p:nvSpPr>
          <p:spPr>
            <a:xfrm>
              <a:off x="10805500" y="2946827"/>
              <a:ext cx="304800" cy="277813"/>
            </a:xfrm>
            <a:custGeom>
              <a:avLst/>
              <a:gdLst>
                <a:gd name="connsiteX0" fmla="*/ 185737 w 304800"/>
                <a:gd name="connsiteY0" fmla="*/ 278606 h 278606"/>
                <a:gd name="connsiteX1" fmla="*/ 219075 w 304800"/>
                <a:gd name="connsiteY1" fmla="*/ 202406 h 278606"/>
                <a:gd name="connsiteX2" fmla="*/ 304800 w 304800"/>
                <a:gd name="connsiteY2" fmla="*/ 157163 h 278606"/>
                <a:gd name="connsiteX3" fmla="*/ 304800 w 304800"/>
                <a:gd name="connsiteY3" fmla="*/ 102394 h 278606"/>
                <a:gd name="connsiteX4" fmla="*/ 240506 w 304800"/>
                <a:gd name="connsiteY4" fmla="*/ 61913 h 278606"/>
                <a:gd name="connsiteX5" fmla="*/ 204787 w 304800"/>
                <a:gd name="connsiteY5" fmla="*/ 66675 h 278606"/>
                <a:gd name="connsiteX6" fmla="*/ 147637 w 304800"/>
                <a:gd name="connsiteY6" fmla="*/ 7144 h 278606"/>
                <a:gd name="connsiteX7" fmla="*/ 0 w 304800"/>
                <a:gd name="connsiteY7" fmla="*/ 0 h 278606"/>
                <a:gd name="connsiteX8" fmla="*/ 61912 w 304800"/>
                <a:gd name="connsiteY8" fmla="*/ 66675 h 278606"/>
                <a:gd name="connsiteX9" fmla="*/ 57150 w 304800"/>
                <a:gd name="connsiteY9" fmla="*/ 102394 h 278606"/>
                <a:gd name="connsiteX10" fmla="*/ 111918 w 304800"/>
                <a:gd name="connsiteY10" fmla="*/ 111919 h 278606"/>
                <a:gd name="connsiteX11" fmla="*/ 116681 w 304800"/>
                <a:gd name="connsiteY11" fmla="*/ 147638 h 278606"/>
                <a:gd name="connsiteX12" fmla="*/ 88106 w 304800"/>
                <a:gd name="connsiteY12" fmla="*/ 185738 h 278606"/>
                <a:gd name="connsiteX13" fmla="*/ 85725 w 304800"/>
                <a:gd name="connsiteY13" fmla="*/ 230981 h 278606"/>
                <a:gd name="connsiteX14" fmla="*/ 114300 w 304800"/>
                <a:gd name="connsiteY14" fmla="*/ 247650 h 278606"/>
                <a:gd name="connsiteX15" fmla="*/ 185737 w 304800"/>
                <a:gd name="connsiteY15" fmla="*/ 278606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800" h="278606">
                  <a:moveTo>
                    <a:pt x="185737" y="278606"/>
                  </a:moveTo>
                  <a:lnTo>
                    <a:pt x="219075" y="202406"/>
                  </a:lnTo>
                  <a:lnTo>
                    <a:pt x="304800" y="157163"/>
                  </a:lnTo>
                  <a:lnTo>
                    <a:pt x="304800" y="102394"/>
                  </a:lnTo>
                  <a:lnTo>
                    <a:pt x="240506" y="61913"/>
                  </a:lnTo>
                  <a:lnTo>
                    <a:pt x="204787" y="66675"/>
                  </a:lnTo>
                  <a:lnTo>
                    <a:pt x="147637" y="7144"/>
                  </a:lnTo>
                  <a:lnTo>
                    <a:pt x="0" y="0"/>
                  </a:lnTo>
                  <a:lnTo>
                    <a:pt x="61912" y="66675"/>
                  </a:lnTo>
                  <a:lnTo>
                    <a:pt x="57150" y="102394"/>
                  </a:lnTo>
                  <a:lnTo>
                    <a:pt x="111918" y="111919"/>
                  </a:lnTo>
                  <a:lnTo>
                    <a:pt x="116681" y="147638"/>
                  </a:lnTo>
                  <a:lnTo>
                    <a:pt x="88106" y="185738"/>
                  </a:lnTo>
                  <a:lnTo>
                    <a:pt x="85725" y="230981"/>
                  </a:lnTo>
                  <a:lnTo>
                    <a:pt x="114300" y="247650"/>
                  </a:lnTo>
                  <a:lnTo>
                    <a:pt x="185737" y="278606"/>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3" name="Freeform 23557">
              <a:extLst>
                <a:ext uri="{FF2B5EF4-FFF2-40B4-BE49-F238E27FC236}">
                  <a16:creationId xmlns:a16="http://schemas.microsoft.com/office/drawing/2014/main" id="{EF360E04-5E2D-417C-8044-26CB6D560DA4}"/>
                </a:ext>
              </a:extLst>
            </p:cNvPr>
            <p:cNvSpPr/>
            <p:nvPr/>
          </p:nvSpPr>
          <p:spPr>
            <a:xfrm>
              <a:off x="10818199" y="2824589"/>
              <a:ext cx="485775" cy="255587"/>
            </a:xfrm>
            <a:custGeom>
              <a:avLst/>
              <a:gdLst>
                <a:gd name="connsiteX0" fmla="*/ 302419 w 485775"/>
                <a:gd name="connsiteY0" fmla="*/ 254794 h 254794"/>
                <a:gd name="connsiteX1" fmla="*/ 352425 w 485775"/>
                <a:gd name="connsiteY1" fmla="*/ 226219 h 254794"/>
                <a:gd name="connsiteX2" fmla="*/ 350044 w 485775"/>
                <a:gd name="connsiteY2" fmla="*/ 192882 h 254794"/>
                <a:gd name="connsiteX3" fmla="*/ 428625 w 485775"/>
                <a:gd name="connsiteY3" fmla="*/ 130969 h 254794"/>
                <a:gd name="connsiteX4" fmla="*/ 485775 w 485775"/>
                <a:gd name="connsiteY4" fmla="*/ 30957 h 254794"/>
                <a:gd name="connsiteX5" fmla="*/ 431006 w 485775"/>
                <a:gd name="connsiteY5" fmla="*/ 0 h 254794"/>
                <a:gd name="connsiteX6" fmla="*/ 373856 w 485775"/>
                <a:gd name="connsiteY6" fmla="*/ 26194 h 254794"/>
                <a:gd name="connsiteX7" fmla="*/ 328612 w 485775"/>
                <a:gd name="connsiteY7" fmla="*/ 16669 h 254794"/>
                <a:gd name="connsiteX8" fmla="*/ 316706 w 485775"/>
                <a:gd name="connsiteY8" fmla="*/ 80963 h 254794"/>
                <a:gd name="connsiteX9" fmla="*/ 271462 w 485775"/>
                <a:gd name="connsiteY9" fmla="*/ 64294 h 254794"/>
                <a:gd name="connsiteX10" fmla="*/ 221456 w 485775"/>
                <a:gd name="connsiteY10" fmla="*/ 95250 h 254794"/>
                <a:gd name="connsiteX11" fmla="*/ 188119 w 485775"/>
                <a:gd name="connsiteY11" fmla="*/ 69057 h 254794"/>
                <a:gd name="connsiteX12" fmla="*/ 180975 w 485775"/>
                <a:gd name="connsiteY12" fmla="*/ 38100 h 254794"/>
                <a:gd name="connsiteX13" fmla="*/ 157162 w 485775"/>
                <a:gd name="connsiteY13" fmla="*/ 28575 h 254794"/>
                <a:gd name="connsiteX14" fmla="*/ 133350 w 485775"/>
                <a:gd name="connsiteY14" fmla="*/ 50007 h 254794"/>
                <a:gd name="connsiteX15" fmla="*/ 111919 w 485775"/>
                <a:gd name="connsiteY15" fmla="*/ 14288 h 254794"/>
                <a:gd name="connsiteX16" fmla="*/ 83344 w 485775"/>
                <a:gd name="connsiteY16" fmla="*/ 50007 h 254794"/>
                <a:gd name="connsiteX17" fmla="*/ 0 w 485775"/>
                <a:gd name="connsiteY17" fmla="*/ 100013 h 254794"/>
                <a:gd name="connsiteX18" fmla="*/ 0 w 485775"/>
                <a:gd name="connsiteY18" fmla="*/ 119063 h 254794"/>
                <a:gd name="connsiteX19" fmla="*/ 133350 w 485775"/>
                <a:gd name="connsiteY19" fmla="*/ 133350 h 254794"/>
                <a:gd name="connsiteX20" fmla="*/ 202406 w 485775"/>
                <a:gd name="connsiteY20" fmla="*/ 190500 h 254794"/>
                <a:gd name="connsiteX21" fmla="*/ 247650 w 485775"/>
                <a:gd name="connsiteY21" fmla="*/ 188119 h 254794"/>
                <a:gd name="connsiteX22" fmla="*/ 302419 w 485775"/>
                <a:gd name="connsiteY22" fmla="*/ 254794 h 25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5775" h="254794">
                  <a:moveTo>
                    <a:pt x="302419" y="254794"/>
                  </a:moveTo>
                  <a:lnTo>
                    <a:pt x="352425" y="226219"/>
                  </a:lnTo>
                  <a:lnTo>
                    <a:pt x="350044" y="192882"/>
                  </a:lnTo>
                  <a:lnTo>
                    <a:pt x="428625" y="130969"/>
                  </a:lnTo>
                  <a:lnTo>
                    <a:pt x="485775" y="30957"/>
                  </a:lnTo>
                  <a:lnTo>
                    <a:pt x="431006" y="0"/>
                  </a:lnTo>
                  <a:lnTo>
                    <a:pt x="373856" y="26194"/>
                  </a:lnTo>
                  <a:lnTo>
                    <a:pt x="328612" y="16669"/>
                  </a:lnTo>
                  <a:lnTo>
                    <a:pt x="316706" y="80963"/>
                  </a:lnTo>
                  <a:lnTo>
                    <a:pt x="271462" y="64294"/>
                  </a:lnTo>
                  <a:lnTo>
                    <a:pt x="221456" y="95250"/>
                  </a:lnTo>
                  <a:lnTo>
                    <a:pt x="188119" y="69057"/>
                  </a:lnTo>
                  <a:lnTo>
                    <a:pt x="180975" y="38100"/>
                  </a:lnTo>
                  <a:lnTo>
                    <a:pt x="157162" y="28575"/>
                  </a:lnTo>
                  <a:lnTo>
                    <a:pt x="133350" y="50007"/>
                  </a:lnTo>
                  <a:lnTo>
                    <a:pt x="111919" y="14288"/>
                  </a:lnTo>
                  <a:lnTo>
                    <a:pt x="83344" y="50007"/>
                  </a:lnTo>
                  <a:lnTo>
                    <a:pt x="0" y="100013"/>
                  </a:lnTo>
                  <a:lnTo>
                    <a:pt x="0" y="119063"/>
                  </a:lnTo>
                  <a:lnTo>
                    <a:pt x="133350" y="133350"/>
                  </a:lnTo>
                  <a:lnTo>
                    <a:pt x="202406" y="190500"/>
                  </a:lnTo>
                  <a:lnTo>
                    <a:pt x="247650" y="188119"/>
                  </a:lnTo>
                  <a:lnTo>
                    <a:pt x="302419" y="254794"/>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4" name="Freeform 23558">
              <a:extLst>
                <a:ext uri="{FF2B5EF4-FFF2-40B4-BE49-F238E27FC236}">
                  <a16:creationId xmlns:a16="http://schemas.microsoft.com/office/drawing/2014/main" id="{85913CBD-B9E7-438E-9985-3D1DF5E7FD83}"/>
                </a:ext>
              </a:extLst>
            </p:cNvPr>
            <p:cNvSpPr/>
            <p:nvPr/>
          </p:nvSpPr>
          <p:spPr>
            <a:xfrm>
              <a:off x="10413388" y="2573764"/>
              <a:ext cx="933449" cy="371475"/>
            </a:xfrm>
            <a:custGeom>
              <a:avLst/>
              <a:gdLst>
                <a:gd name="connsiteX0" fmla="*/ 900113 w 933450"/>
                <a:gd name="connsiteY0" fmla="*/ 280987 h 371475"/>
                <a:gd name="connsiteX1" fmla="*/ 933450 w 933450"/>
                <a:gd name="connsiteY1" fmla="*/ 128587 h 371475"/>
                <a:gd name="connsiteX2" fmla="*/ 926307 w 933450"/>
                <a:gd name="connsiteY2" fmla="*/ 0 h 371475"/>
                <a:gd name="connsiteX3" fmla="*/ 881063 w 933450"/>
                <a:gd name="connsiteY3" fmla="*/ 11906 h 371475"/>
                <a:gd name="connsiteX4" fmla="*/ 869157 w 933450"/>
                <a:gd name="connsiteY4" fmla="*/ 76200 h 371475"/>
                <a:gd name="connsiteX5" fmla="*/ 831057 w 933450"/>
                <a:gd name="connsiteY5" fmla="*/ 61912 h 371475"/>
                <a:gd name="connsiteX6" fmla="*/ 797719 w 933450"/>
                <a:gd name="connsiteY6" fmla="*/ 85725 h 371475"/>
                <a:gd name="connsiteX7" fmla="*/ 807244 w 933450"/>
                <a:gd name="connsiteY7" fmla="*/ 119062 h 371475"/>
                <a:gd name="connsiteX8" fmla="*/ 776288 w 933450"/>
                <a:gd name="connsiteY8" fmla="*/ 116681 h 371475"/>
                <a:gd name="connsiteX9" fmla="*/ 752475 w 933450"/>
                <a:gd name="connsiteY9" fmla="*/ 95250 h 371475"/>
                <a:gd name="connsiteX10" fmla="*/ 678657 w 933450"/>
                <a:gd name="connsiteY10" fmla="*/ 135731 h 371475"/>
                <a:gd name="connsiteX11" fmla="*/ 666750 w 933450"/>
                <a:gd name="connsiteY11" fmla="*/ 183356 h 371475"/>
                <a:gd name="connsiteX12" fmla="*/ 628650 w 933450"/>
                <a:gd name="connsiteY12" fmla="*/ 178594 h 371475"/>
                <a:gd name="connsiteX13" fmla="*/ 611982 w 933450"/>
                <a:gd name="connsiteY13" fmla="*/ 147637 h 371475"/>
                <a:gd name="connsiteX14" fmla="*/ 578644 w 933450"/>
                <a:gd name="connsiteY14" fmla="*/ 154781 h 371475"/>
                <a:gd name="connsiteX15" fmla="*/ 566738 w 933450"/>
                <a:gd name="connsiteY15" fmla="*/ 119062 h 371475"/>
                <a:gd name="connsiteX16" fmla="*/ 597694 w 933450"/>
                <a:gd name="connsiteY16" fmla="*/ 92869 h 371475"/>
                <a:gd name="connsiteX17" fmla="*/ 597694 w 933450"/>
                <a:gd name="connsiteY17" fmla="*/ 59531 h 371475"/>
                <a:gd name="connsiteX18" fmla="*/ 619125 w 933450"/>
                <a:gd name="connsiteY18" fmla="*/ 64294 h 371475"/>
                <a:gd name="connsiteX19" fmla="*/ 626269 w 933450"/>
                <a:gd name="connsiteY19" fmla="*/ 30956 h 371475"/>
                <a:gd name="connsiteX20" fmla="*/ 559594 w 933450"/>
                <a:gd name="connsiteY20" fmla="*/ 40481 h 371475"/>
                <a:gd name="connsiteX21" fmla="*/ 526257 w 933450"/>
                <a:gd name="connsiteY21" fmla="*/ 66675 h 371475"/>
                <a:gd name="connsiteX22" fmla="*/ 488157 w 933450"/>
                <a:gd name="connsiteY22" fmla="*/ 66675 h 371475"/>
                <a:gd name="connsiteX23" fmla="*/ 435769 w 933450"/>
                <a:gd name="connsiteY23" fmla="*/ 116681 h 371475"/>
                <a:gd name="connsiteX24" fmla="*/ 388144 w 933450"/>
                <a:gd name="connsiteY24" fmla="*/ 76200 h 371475"/>
                <a:gd name="connsiteX25" fmla="*/ 316707 w 933450"/>
                <a:gd name="connsiteY25" fmla="*/ 111919 h 371475"/>
                <a:gd name="connsiteX26" fmla="*/ 233363 w 933450"/>
                <a:gd name="connsiteY26" fmla="*/ 33337 h 371475"/>
                <a:gd name="connsiteX27" fmla="*/ 195263 w 933450"/>
                <a:gd name="connsiteY27" fmla="*/ 23812 h 371475"/>
                <a:gd name="connsiteX28" fmla="*/ 154782 w 933450"/>
                <a:gd name="connsiteY28" fmla="*/ 47625 h 371475"/>
                <a:gd name="connsiteX29" fmla="*/ 104775 w 933450"/>
                <a:gd name="connsiteY29" fmla="*/ 50006 h 371475"/>
                <a:gd name="connsiteX30" fmla="*/ 95250 w 933450"/>
                <a:gd name="connsiteY30" fmla="*/ 161925 h 371475"/>
                <a:gd name="connsiteX31" fmla="*/ 0 w 933450"/>
                <a:gd name="connsiteY31" fmla="*/ 250031 h 371475"/>
                <a:gd name="connsiteX32" fmla="*/ 64294 w 933450"/>
                <a:gd name="connsiteY32" fmla="*/ 271462 h 371475"/>
                <a:gd name="connsiteX33" fmla="*/ 114300 w 933450"/>
                <a:gd name="connsiteY33" fmla="*/ 371475 h 371475"/>
                <a:gd name="connsiteX34" fmla="*/ 166688 w 933450"/>
                <a:gd name="connsiteY34" fmla="*/ 338137 h 371475"/>
                <a:gd name="connsiteX35" fmla="*/ 221457 w 933450"/>
                <a:gd name="connsiteY35" fmla="*/ 278606 h 371475"/>
                <a:gd name="connsiteX36" fmla="*/ 283369 w 933450"/>
                <a:gd name="connsiteY36" fmla="*/ 311944 h 371475"/>
                <a:gd name="connsiteX37" fmla="*/ 321469 w 933450"/>
                <a:gd name="connsiteY37" fmla="*/ 297656 h 371475"/>
                <a:gd name="connsiteX38" fmla="*/ 350044 w 933450"/>
                <a:gd name="connsiteY38" fmla="*/ 280987 h 371475"/>
                <a:gd name="connsiteX39" fmla="*/ 345282 w 933450"/>
                <a:gd name="connsiteY39" fmla="*/ 316706 h 371475"/>
                <a:gd name="connsiteX40" fmla="*/ 390525 w 933450"/>
                <a:gd name="connsiteY40" fmla="*/ 321469 h 371475"/>
                <a:gd name="connsiteX41" fmla="*/ 395288 w 933450"/>
                <a:gd name="connsiteY41" fmla="*/ 352425 h 371475"/>
                <a:gd name="connsiteX42" fmla="*/ 492919 w 933450"/>
                <a:gd name="connsiteY42" fmla="*/ 292894 h 371475"/>
                <a:gd name="connsiteX43" fmla="*/ 509588 w 933450"/>
                <a:gd name="connsiteY43" fmla="*/ 269081 h 371475"/>
                <a:gd name="connsiteX44" fmla="*/ 542925 w 933450"/>
                <a:gd name="connsiteY44" fmla="*/ 297656 h 371475"/>
                <a:gd name="connsiteX45" fmla="*/ 573882 w 933450"/>
                <a:gd name="connsiteY45" fmla="*/ 283369 h 371475"/>
                <a:gd name="connsiteX46" fmla="*/ 590550 w 933450"/>
                <a:gd name="connsiteY46" fmla="*/ 297656 h 371475"/>
                <a:gd name="connsiteX47" fmla="*/ 597694 w 933450"/>
                <a:gd name="connsiteY47" fmla="*/ 328612 h 371475"/>
                <a:gd name="connsiteX48" fmla="*/ 628650 w 933450"/>
                <a:gd name="connsiteY48" fmla="*/ 347662 h 371475"/>
                <a:gd name="connsiteX49" fmla="*/ 683419 w 933450"/>
                <a:gd name="connsiteY49" fmla="*/ 316706 h 371475"/>
                <a:gd name="connsiteX50" fmla="*/ 711994 w 933450"/>
                <a:gd name="connsiteY50" fmla="*/ 335756 h 371475"/>
                <a:gd name="connsiteX51" fmla="*/ 742950 w 933450"/>
                <a:gd name="connsiteY51" fmla="*/ 261937 h 371475"/>
                <a:gd name="connsiteX52" fmla="*/ 783432 w 933450"/>
                <a:gd name="connsiteY52" fmla="*/ 269081 h 371475"/>
                <a:gd name="connsiteX53" fmla="*/ 833438 w 933450"/>
                <a:gd name="connsiteY53" fmla="*/ 257175 h 371475"/>
                <a:gd name="connsiteX54" fmla="*/ 900113 w 933450"/>
                <a:gd name="connsiteY54" fmla="*/ 280987 h 371475"/>
                <a:gd name="connsiteX0" fmla="*/ 900113 w 933450"/>
                <a:gd name="connsiteY0" fmla="*/ 280987 h 371475"/>
                <a:gd name="connsiteX1" fmla="*/ 933450 w 933450"/>
                <a:gd name="connsiteY1" fmla="*/ 128587 h 371475"/>
                <a:gd name="connsiteX2" fmla="*/ 926307 w 933450"/>
                <a:gd name="connsiteY2" fmla="*/ 0 h 371475"/>
                <a:gd name="connsiteX3" fmla="*/ 881063 w 933450"/>
                <a:gd name="connsiteY3" fmla="*/ 11906 h 371475"/>
                <a:gd name="connsiteX4" fmla="*/ 869157 w 933450"/>
                <a:gd name="connsiteY4" fmla="*/ 76200 h 371475"/>
                <a:gd name="connsiteX5" fmla="*/ 831057 w 933450"/>
                <a:gd name="connsiteY5" fmla="*/ 61912 h 371475"/>
                <a:gd name="connsiteX6" fmla="*/ 797719 w 933450"/>
                <a:gd name="connsiteY6" fmla="*/ 85725 h 371475"/>
                <a:gd name="connsiteX7" fmla="*/ 807244 w 933450"/>
                <a:gd name="connsiteY7" fmla="*/ 119062 h 371475"/>
                <a:gd name="connsiteX8" fmla="*/ 776288 w 933450"/>
                <a:gd name="connsiteY8" fmla="*/ 116681 h 371475"/>
                <a:gd name="connsiteX9" fmla="*/ 752475 w 933450"/>
                <a:gd name="connsiteY9" fmla="*/ 95250 h 371475"/>
                <a:gd name="connsiteX10" fmla="*/ 678657 w 933450"/>
                <a:gd name="connsiteY10" fmla="*/ 135731 h 371475"/>
                <a:gd name="connsiteX11" fmla="*/ 666750 w 933450"/>
                <a:gd name="connsiteY11" fmla="*/ 183356 h 371475"/>
                <a:gd name="connsiteX12" fmla="*/ 628650 w 933450"/>
                <a:gd name="connsiteY12" fmla="*/ 178594 h 371475"/>
                <a:gd name="connsiteX13" fmla="*/ 611982 w 933450"/>
                <a:gd name="connsiteY13" fmla="*/ 147637 h 371475"/>
                <a:gd name="connsiteX14" fmla="*/ 578644 w 933450"/>
                <a:gd name="connsiteY14" fmla="*/ 154781 h 371475"/>
                <a:gd name="connsiteX15" fmla="*/ 566738 w 933450"/>
                <a:gd name="connsiteY15" fmla="*/ 119062 h 371475"/>
                <a:gd name="connsiteX16" fmla="*/ 597694 w 933450"/>
                <a:gd name="connsiteY16" fmla="*/ 92869 h 371475"/>
                <a:gd name="connsiteX17" fmla="*/ 597694 w 933450"/>
                <a:gd name="connsiteY17" fmla="*/ 59531 h 371475"/>
                <a:gd name="connsiteX18" fmla="*/ 619125 w 933450"/>
                <a:gd name="connsiteY18" fmla="*/ 64294 h 371475"/>
                <a:gd name="connsiteX19" fmla="*/ 626269 w 933450"/>
                <a:gd name="connsiteY19" fmla="*/ 30956 h 371475"/>
                <a:gd name="connsiteX20" fmla="*/ 559594 w 933450"/>
                <a:gd name="connsiteY20" fmla="*/ 40481 h 371475"/>
                <a:gd name="connsiteX21" fmla="*/ 526257 w 933450"/>
                <a:gd name="connsiteY21" fmla="*/ 66675 h 371475"/>
                <a:gd name="connsiteX22" fmla="*/ 488157 w 933450"/>
                <a:gd name="connsiteY22" fmla="*/ 66675 h 371475"/>
                <a:gd name="connsiteX23" fmla="*/ 435769 w 933450"/>
                <a:gd name="connsiteY23" fmla="*/ 116681 h 371475"/>
                <a:gd name="connsiteX24" fmla="*/ 388144 w 933450"/>
                <a:gd name="connsiteY24" fmla="*/ 76200 h 371475"/>
                <a:gd name="connsiteX25" fmla="*/ 316707 w 933450"/>
                <a:gd name="connsiteY25" fmla="*/ 111919 h 371475"/>
                <a:gd name="connsiteX26" fmla="*/ 233363 w 933450"/>
                <a:gd name="connsiteY26" fmla="*/ 33337 h 371475"/>
                <a:gd name="connsiteX27" fmla="*/ 195263 w 933450"/>
                <a:gd name="connsiteY27" fmla="*/ 23812 h 371475"/>
                <a:gd name="connsiteX28" fmla="*/ 154782 w 933450"/>
                <a:gd name="connsiteY28" fmla="*/ 47625 h 371475"/>
                <a:gd name="connsiteX29" fmla="*/ 93345 w 933450"/>
                <a:gd name="connsiteY29" fmla="*/ 72866 h 371475"/>
                <a:gd name="connsiteX30" fmla="*/ 95250 w 933450"/>
                <a:gd name="connsiteY30" fmla="*/ 161925 h 371475"/>
                <a:gd name="connsiteX31" fmla="*/ 0 w 933450"/>
                <a:gd name="connsiteY31" fmla="*/ 250031 h 371475"/>
                <a:gd name="connsiteX32" fmla="*/ 64294 w 933450"/>
                <a:gd name="connsiteY32" fmla="*/ 271462 h 371475"/>
                <a:gd name="connsiteX33" fmla="*/ 114300 w 933450"/>
                <a:gd name="connsiteY33" fmla="*/ 371475 h 371475"/>
                <a:gd name="connsiteX34" fmla="*/ 166688 w 933450"/>
                <a:gd name="connsiteY34" fmla="*/ 338137 h 371475"/>
                <a:gd name="connsiteX35" fmla="*/ 221457 w 933450"/>
                <a:gd name="connsiteY35" fmla="*/ 278606 h 371475"/>
                <a:gd name="connsiteX36" fmla="*/ 283369 w 933450"/>
                <a:gd name="connsiteY36" fmla="*/ 311944 h 371475"/>
                <a:gd name="connsiteX37" fmla="*/ 321469 w 933450"/>
                <a:gd name="connsiteY37" fmla="*/ 297656 h 371475"/>
                <a:gd name="connsiteX38" fmla="*/ 350044 w 933450"/>
                <a:gd name="connsiteY38" fmla="*/ 280987 h 371475"/>
                <a:gd name="connsiteX39" fmla="*/ 345282 w 933450"/>
                <a:gd name="connsiteY39" fmla="*/ 316706 h 371475"/>
                <a:gd name="connsiteX40" fmla="*/ 390525 w 933450"/>
                <a:gd name="connsiteY40" fmla="*/ 321469 h 371475"/>
                <a:gd name="connsiteX41" fmla="*/ 395288 w 933450"/>
                <a:gd name="connsiteY41" fmla="*/ 352425 h 371475"/>
                <a:gd name="connsiteX42" fmla="*/ 492919 w 933450"/>
                <a:gd name="connsiteY42" fmla="*/ 292894 h 371475"/>
                <a:gd name="connsiteX43" fmla="*/ 509588 w 933450"/>
                <a:gd name="connsiteY43" fmla="*/ 269081 h 371475"/>
                <a:gd name="connsiteX44" fmla="*/ 542925 w 933450"/>
                <a:gd name="connsiteY44" fmla="*/ 297656 h 371475"/>
                <a:gd name="connsiteX45" fmla="*/ 573882 w 933450"/>
                <a:gd name="connsiteY45" fmla="*/ 283369 h 371475"/>
                <a:gd name="connsiteX46" fmla="*/ 590550 w 933450"/>
                <a:gd name="connsiteY46" fmla="*/ 297656 h 371475"/>
                <a:gd name="connsiteX47" fmla="*/ 597694 w 933450"/>
                <a:gd name="connsiteY47" fmla="*/ 328612 h 371475"/>
                <a:gd name="connsiteX48" fmla="*/ 628650 w 933450"/>
                <a:gd name="connsiteY48" fmla="*/ 347662 h 371475"/>
                <a:gd name="connsiteX49" fmla="*/ 683419 w 933450"/>
                <a:gd name="connsiteY49" fmla="*/ 316706 h 371475"/>
                <a:gd name="connsiteX50" fmla="*/ 711994 w 933450"/>
                <a:gd name="connsiteY50" fmla="*/ 335756 h 371475"/>
                <a:gd name="connsiteX51" fmla="*/ 742950 w 933450"/>
                <a:gd name="connsiteY51" fmla="*/ 261937 h 371475"/>
                <a:gd name="connsiteX52" fmla="*/ 783432 w 933450"/>
                <a:gd name="connsiteY52" fmla="*/ 269081 h 371475"/>
                <a:gd name="connsiteX53" fmla="*/ 833438 w 933450"/>
                <a:gd name="connsiteY53" fmla="*/ 257175 h 371475"/>
                <a:gd name="connsiteX54" fmla="*/ 900113 w 933450"/>
                <a:gd name="connsiteY54" fmla="*/ 280987 h 371475"/>
                <a:gd name="connsiteX0" fmla="*/ 900113 w 933450"/>
                <a:gd name="connsiteY0" fmla="*/ 280987 h 371475"/>
                <a:gd name="connsiteX1" fmla="*/ 933450 w 933450"/>
                <a:gd name="connsiteY1" fmla="*/ 128587 h 371475"/>
                <a:gd name="connsiteX2" fmla="*/ 926307 w 933450"/>
                <a:gd name="connsiteY2" fmla="*/ 0 h 371475"/>
                <a:gd name="connsiteX3" fmla="*/ 881063 w 933450"/>
                <a:gd name="connsiteY3" fmla="*/ 11906 h 371475"/>
                <a:gd name="connsiteX4" fmla="*/ 869157 w 933450"/>
                <a:gd name="connsiteY4" fmla="*/ 76200 h 371475"/>
                <a:gd name="connsiteX5" fmla="*/ 831057 w 933450"/>
                <a:gd name="connsiteY5" fmla="*/ 61912 h 371475"/>
                <a:gd name="connsiteX6" fmla="*/ 797719 w 933450"/>
                <a:gd name="connsiteY6" fmla="*/ 85725 h 371475"/>
                <a:gd name="connsiteX7" fmla="*/ 807244 w 933450"/>
                <a:gd name="connsiteY7" fmla="*/ 119062 h 371475"/>
                <a:gd name="connsiteX8" fmla="*/ 776288 w 933450"/>
                <a:gd name="connsiteY8" fmla="*/ 116681 h 371475"/>
                <a:gd name="connsiteX9" fmla="*/ 752475 w 933450"/>
                <a:gd name="connsiteY9" fmla="*/ 95250 h 371475"/>
                <a:gd name="connsiteX10" fmla="*/ 678657 w 933450"/>
                <a:gd name="connsiteY10" fmla="*/ 135731 h 371475"/>
                <a:gd name="connsiteX11" fmla="*/ 666750 w 933450"/>
                <a:gd name="connsiteY11" fmla="*/ 183356 h 371475"/>
                <a:gd name="connsiteX12" fmla="*/ 628650 w 933450"/>
                <a:gd name="connsiteY12" fmla="*/ 178594 h 371475"/>
                <a:gd name="connsiteX13" fmla="*/ 611982 w 933450"/>
                <a:gd name="connsiteY13" fmla="*/ 147637 h 371475"/>
                <a:gd name="connsiteX14" fmla="*/ 578644 w 933450"/>
                <a:gd name="connsiteY14" fmla="*/ 154781 h 371475"/>
                <a:gd name="connsiteX15" fmla="*/ 566738 w 933450"/>
                <a:gd name="connsiteY15" fmla="*/ 119062 h 371475"/>
                <a:gd name="connsiteX16" fmla="*/ 597694 w 933450"/>
                <a:gd name="connsiteY16" fmla="*/ 92869 h 371475"/>
                <a:gd name="connsiteX17" fmla="*/ 597694 w 933450"/>
                <a:gd name="connsiteY17" fmla="*/ 59531 h 371475"/>
                <a:gd name="connsiteX18" fmla="*/ 619125 w 933450"/>
                <a:gd name="connsiteY18" fmla="*/ 64294 h 371475"/>
                <a:gd name="connsiteX19" fmla="*/ 626269 w 933450"/>
                <a:gd name="connsiteY19" fmla="*/ 30956 h 371475"/>
                <a:gd name="connsiteX20" fmla="*/ 559594 w 933450"/>
                <a:gd name="connsiteY20" fmla="*/ 40481 h 371475"/>
                <a:gd name="connsiteX21" fmla="*/ 526257 w 933450"/>
                <a:gd name="connsiteY21" fmla="*/ 66675 h 371475"/>
                <a:gd name="connsiteX22" fmla="*/ 488157 w 933450"/>
                <a:gd name="connsiteY22" fmla="*/ 66675 h 371475"/>
                <a:gd name="connsiteX23" fmla="*/ 435769 w 933450"/>
                <a:gd name="connsiteY23" fmla="*/ 116681 h 371475"/>
                <a:gd name="connsiteX24" fmla="*/ 388144 w 933450"/>
                <a:gd name="connsiteY24" fmla="*/ 76200 h 371475"/>
                <a:gd name="connsiteX25" fmla="*/ 316707 w 933450"/>
                <a:gd name="connsiteY25" fmla="*/ 111919 h 371475"/>
                <a:gd name="connsiteX26" fmla="*/ 233363 w 933450"/>
                <a:gd name="connsiteY26" fmla="*/ 33337 h 371475"/>
                <a:gd name="connsiteX27" fmla="*/ 195263 w 933450"/>
                <a:gd name="connsiteY27" fmla="*/ 23812 h 371475"/>
                <a:gd name="connsiteX28" fmla="*/ 154782 w 933450"/>
                <a:gd name="connsiteY28" fmla="*/ 47625 h 371475"/>
                <a:gd name="connsiteX29" fmla="*/ 93345 w 933450"/>
                <a:gd name="connsiteY29" fmla="*/ 72866 h 371475"/>
                <a:gd name="connsiteX30" fmla="*/ 95250 w 933450"/>
                <a:gd name="connsiteY30" fmla="*/ 161925 h 371475"/>
                <a:gd name="connsiteX31" fmla="*/ 0 w 933450"/>
                <a:gd name="connsiteY31" fmla="*/ 250031 h 371475"/>
                <a:gd name="connsiteX32" fmla="*/ 64294 w 933450"/>
                <a:gd name="connsiteY32" fmla="*/ 271462 h 371475"/>
                <a:gd name="connsiteX33" fmla="*/ 114300 w 933450"/>
                <a:gd name="connsiteY33" fmla="*/ 371475 h 371475"/>
                <a:gd name="connsiteX34" fmla="*/ 166688 w 933450"/>
                <a:gd name="connsiteY34" fmla="*/ 338137 h 371475"/>
                <a:gd name="connsiteX35" fmla="*/ 221457 w 933450"/>
                <a:gd name="connsiteY35" fmla="*/ 278606 h 371475"/>
                <a:gd name="connsiteX36" fmla="*/ 283369 w 933450"/>
                <a:gd name="connsiteY36" fmla="*/ 311944 h 371475"/>
                <a:gd name="connsiteX37" fmla="*/ 321469 w 933450"/>
                <a:gd name="connsiteY37" fmla="*/ 297656 h 371475"/>
                <a:gd name="connsiteX38" fmla="*/ 350044 w 933450"/>
                <a:gd name="connsiteY38" fmla="*/ 280987 h 371475"/>
                <a:gd name="connsiteX39" fmla="*/ 345282 w 933450"/>
                <a:gd name="connsiteY39" fmla="*/ 316706 h 371475"/>
                <a:gd name="connsiteX40" fmla="*/ 390525 w 933450"/>
                <a:gd name="connsiteY40" fmla="*/ 321469 h 371475"/>
                <a:gd name="connsiteX41" fmla="*/ 395288 w 933450"/>
                <a:gd name="connsiteY41" fmla="*/ 352425 h 371475"/>
                <a:gd name="connsiteX42" fmla="*/ 492919 w 933450"/>
                <a:gd name="connsiteY42" fmla="*/ 292894 h 371475"/>
                <a:gd name="connsiteX43" fmla="*/ 509588 w 933450"/>
                <a:gd name="connsiteY43" fmla="*/ 269081 h 371475"/>
                <a:gd name="connsiteX44" fmla="*/ 542925 w 933450"/>
                <a:gd name="connsiteY44" fmla="*/ 297656 h 371475"/>
                <a:gd name="connsiteX45" fmla="*/ 573882 w 933450"/>
                <a:gd name="connsiteY45" fmla="*/ 283369 h 371475"/>
                <a:gd name="connsiteX46" fmla="*/ 590550 w 933450"/>
                <a:gd name="connsiteY46" fmla="*/ 297656 h 371475"/>
                <a:gd name="connsiteX47" fmla="*/ 597694 w 933450"/>
                <a:gd name="connsiteY47" fmla="*/ 328612 h 371475"/>
                <a:gd name="connsiteX48" fmla="*/ 628650 w 933450"/>
                <a:gd name="connsiteY48" fmla="*/ 347662 h 371475"/>
                <a:gd name="connsiteX49" fmla="*/ 683419 w 933450"/>
                <a:gd name="connsiteY49" fmla="*/ 316706 h 371475"/>
                <a:gd name="connsiteX50" fmla="*/ 711994 w 933450"/>
                <a:gd name="connsiteY50" fmla="*/ 335756 h 371475"/>
                <a:gd name="connsiteX51" fmla="*/ 742950 w 933450"/>
                <a:gd name="connsiteY51" fmla="*/ 261937 h 371475"/>
                <a:gd name="connsiteX52" fmla="*/ 783432 w 933450"/>
                <a:gd name="connsiteY52" fmla="*/ 269081 h 371475"/>
                <a:gd name="connsiteX53" fmla="*/ 833438 w 933450"/>
                <a:gd name="connsiteY53" fmla="*/ 257175 h 371475"/>
                <a:gd name="connsiteX54" fmla="*/ 900113 w 933450"/>
                <a:gd name="connsiteY54" fmla="*/ 28098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933450" h="371475">
                  <a:moveTo>
                    <a:pt x="900113" y="280987"/>
                  </a:moveTo>
                  <a:lnTo>
                    <a:pt x="933450" y="128587"/>
                  </a:lnTo>
                  <a:lnTo>
                    <a:pt x="926307" y="0"/>
                  </a:lnTo>
                  <a:lnTo>
                    <a:pt x="881063" y="11906"/>
                  </a:lnTo>
                  <a:lnTo>
                    <a:pt x="869157" y="76200"/>
                  </a:lnTo>
                  <a:lnTo>
                    <a:pt x="831057" y="61912"/>
                  </a:lnTo>
                  <a:lnTo>
                    <a:pt x="797719" y="85725"/>
                  </a:lnTo>
                  <a:lnTo>
                    <a:pt x="807244" y="119062"/>
                  </a:lnTo>
                  <a:lnTo>
                    <a:pt x="776288" y="116681"/>
                  </a:lnTo>
                  <a:lnTo>
                    <a:pt x="752475" y="95250"/>
                  </a:lnTo>
                  <a:lnTo>
                    <a:pt x="678657" y="135731"/>
                  </a:lnTo>
                  <a:lnTo>
                    <a:pt x="666750" y="183356"/>
                  </a:lnTo>
                  <a:lnTo>
                    <a:pt x="628650" y="178594"/>
                  </a:lnTo>
                  <a:lnTo>
                    <a:pt x="611982" y="147637"/>
                  </a:lnTo>
                  <a:lnTo>
                    <a:pt x="578644" y="154781"/>
                  </a:lnTo>
                  <a:lnTo>
                    <a:pt x="566738" y="119062"/>
                  </a:lnTo>
                  <a:lnTo>
                    <a:pt x="597694" y="92869"/>
                  </a:lnTo>
                  <a:lnTo>
                    <a:pt x="597694" y="59531"/>
                  </a:lnTo>
                  <a:lnTo>
                    <a:pt x="619125" y="64294"/>
                  </a:lnTo>
                  <a:lnTo>
                    <a:pt x="626269" y="30956"/>
                  </a:lnTo>
                  <a:lnTo>
                    <a:pt x="559594" y="40481"/>
                  </a:lnTo>
                  <a:lnTo>
                    <a:pt x="526257" y="66675"/>
                  </a:lnTo>
                  <a:lnTo>
                    <a:pt x="488157" y="66675"/>
                  </a:lnTo>
                  <a:lnTo>
                    <a:pt x="435769" y="116681"/>
                  </a:lnTo>
                  <a:lnTo>
                    <a:pt x="388144" y="76200"/>
                  </a:lnTo>
                  <a:lnTo>
                    <a:pt x="316707" y="111919"/>
                  </a:lnTo>
                  <a:lnTo>
                    <a:pt x="233363" y="33337"/>
                  </a:lnTo>
                  <a:lnTo>
                    <a:pt x="195263" y="23812"/>
                  </a:lnTo>
                  <a:lnTo>
                    <a:pt x="154782" y="47625"/>
                  </a:lnTo>
                  <a:cubicBezTo>
                    <a:pt x="134303" y="56039"/>
                    <a:pt x="90964" y="26352"/>
                    <a:pt x="93345" y="72866"/>
                  </a:cubicBezTo>
                  <a:lnTo>
                    <a:pt x="95250" y="161925"/>
                  </a:lnTo>
                  <a:lnTo>
                    <a:pt x="0" y="250031"/>
                  </a:lnTo>
                  <a:lnTo>
                    <a:pt x="64294" y="271462"/>
                  </a:lnTo>
                  <a:lnTo>
                    <a:pt x="114300" y="371475"/>
                  </a:lnTo>
                  <a:lnTo>
                    <a:pt x="166688" y="338137"/>
                  </a:lnTo>
                  <a:lnTo>
                    <a:pt x="221457" y="278606"/>
                  </a:lnTo>
                  <a:lnTo>
                    <a:pt x="283369" y="311944"/>
                  </a:lnTo>
                  <a:lnTo>
                    <a:pt x="321469" y="297656"/>
                  </a:lnTo>
                  <a:lnTo>
                    <a:pt x="350044" y="280987"/>
                  </a:lnTo>
                  <a:lnTo>
                    <a:pt x="345282" y="316706"/>
                  </a:lnTo>
                  <a:lnTo>
                    <a:pt x="390525" y="321469"/>
                  </a:lnTo>
                  <a:lnTo>
                    <a:pt x="395288" y="352425"/>
                  </a:lnTo>
                  <a:lnTo>
                    <a:pt x="492919" y="292894"/>
                  </a:lnTo>
                  <a:lnTo>
                    <a:pt x="509588" y="269081"/>
                  </a:lnTo>
                  <a:lnTo>
                    <a:pt x="542925" y="297656"/>
                  </a:lnTo>
                  <a:lnTo>
                    <a:pt x="573882" y="283369"/>
                  </a:lnTo>
                  <a:lnTo>
                    <a:pt x="590550" y="297656"/>
                  </a:lnTo>
                  <a:lnTo>
                    <a:pt x="597694" y="328612"/>
                  </a:lnTo>
                  <a:lnTo>
                    <a:pt x="628650" y="347662"/>
                  </a:lnTo>
                  <a:lnTo>
                    <a:pt x="683419" y="316706"/>
                  </a:lnTo>
                  <a:lnTo>
                    <a:pt x="711994" y="335756"/>
                  </a:lnTo>
                  <a:lnTo>
                    <a:pt x="742950" y="261937"/>
                  </a:lnTo>
                  <a:lnTo>
                    <a:pt x="783432" y="269081"/>
                  </a:lnTo>
                  <a:lnTo>
                    <a:pt x="833438" y="257175"/>
                  </a:lnTo>
                  <a:lnTo>
                    <a:pt x="900113" y="280987"/>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dirty="0">
                <a:solidFill>
                  <a:schemeClr val="bg1"/>
                </a:solidFill>
                <a:ea typeface="ＭＳ Ｐゴシック" charset="-128"/>
              </a:endParaRPr>
            </a:p>
          </p:txBody>
        </p:sp>
        <p:sp>
          <p:nvSpPr>
            <p:cNvPr id="45" name="Freeform 23559">
              <a:extLst>
                <a:ext uri="{FF2B5EF4-FFF2-40B4-BE49-F238E27FC236}">
                  <a16:creationId xmlns:a16="http://schemas.microsoft.com/office/drawing/2014/main" id="{6854402A-9653-462D-90AF-D1E76DAED9DB}"/>
                </a:ext>
              </a:extLst>
            </p:cNvPr>
            <p:cNvSpPr/>
            <p:nvPr/>
          </p:nvSpPr>
          <p:spPr>
            <a:xfrm>
              <a:off x="10765813" y="2413426"/>
              <a:ext cx="571500" cy="334963"/>
            </a:xfrm>
            <a:custGeom>
              <a:avLst/>
              <a:gdLst>
                <a:gd name="connsiteX0" fmla="*/ 571500 w 571500"/>
                <a:gd name="connsiteY0" fmla="*/ 154781 h 335756"/>
                <a:gd name="connsiteX1" fmla="*/ 547688 w 571500"/>
                <a:gd name="connsiteY1" fmla="*/ 66675 h 335756"/>
                <a:gd name="connsiteX2" fmla="*/ 485775 w 571500"/>
                <a:gd name="connsiteY2" fmla="*/ 78581 h 335756"/>
                <a:gd name="connsiteX3" fmla="*/ 433388 w 571500"/>
                <a:gd name="connsiteY3" fmla="*/ 59531 h 335756"/>
                <a:gd name="connsiteX4" fmla="*/ 390525 w 571500"/>
                <a:gd name="connsiteY4" fmla="*/ 85725 h 335756"/>
                <a:gd name="connsiteX5" fmla="*/ 369094 w 571500"/>
                <a:gd name="connsiteY5" fmla="*/ 54769 h 335756"/>
                <a:gd name="connsiteX6" fmla="*/ 314325 w 571500"/>
                <a:gd name="connsiteY6" fmla="*/ 78581 h 335756"/>
                <a:gd name="connsiteX7" fmla="*/ 330994 w 571500"/>
                <a:gd name="connsiteY7" fmla="*/ 123825 h 335756"/>
                <a:gd name="connsiteX8" fmla="*/ 304800 w 571500"/>
                <a:gd name="connsiteY8" fmla="*/ 142875 h 335756"/>
                <a:gd name="connsiteX9" fmla="*/ 269082 w 571500"/>
                <a:gd name="connsiteY9" fmla="*/ 109538 h 335756"/>
                <a:gd name="connsiteX10" fmla="*/ 228600 w 571500"/>
                <a:gd name="connsiteY10" fmla="*/ 123825 h 335756"/>
                <a:gd name="connsiteX11" fmla="*/ 209550 w 571500"/>
                <a:gd name="connsiteY11" fmla="*/ 92869 h 335756"/>
                <a:gd name="connsiteX12" fmla="*/ 183357 w 571500"/>
                <a:gd name="connsiteY12" fmla="*/ 83344 h 335756"/>
                <a:gd name="connsiteX13" fmla="*/ 221457 w 571500"/>
                <a:gd name="connsiteY13" fmla="*/ 42863 h 335756"/>
                <a:gd name="connsiteX14" fmla="*/ 257175 w 571500"/>
                <a:gd name="connsiteY14" fmla="*/ 40481 h 335756"/>
                <a:gd name="connsiteX15" fmla="*/ 259557 w 571500"/>
                <a:gd name="connsiteY15" fmla="*/ 4763 h 335756"/>
                <a:gd name="connsiteX16" fmla="*/ 188119 w 571500"/>
                <a:gd name="connsiteY16" fmla="*/ 0 h 335756"/>
                <a:gd name="connsiteX17" fmla="*/ 183357 w 571500"/>
                <a:gd name="connsiteY17" fmla="*/ 38100 h 335756"/>
                <a:gd name="connsiteX18" fmla="*/ 147638 w 571500"/>
                <a:gd name="connsiteY18" fmla="*/ 30956 h 335756"/>
                <a:gd name="connsiteX19" fmla="*/ 109538 w 571500"/>
                <a:gd name="connsiteY19" fmla="*/ 69056 h 335756"/>
                <a:gd name="connsiteX20" fmla="*/ 95250 w 571500"/>
                <a:gd name="connsiteY20" fmla="*/ 121444 h 335756"/>
                <a:gd name="connsiteX21" fmla="*/ 0 w 571500"/>
                <a:gd name="connsiteY21" fmla="*/ 130969 h 335756"/>
                <a:gd name="connsiteX22" fmla="*/ 7144 w 571500"/>
                <a:gd name="connsiteY22" fmla="*/ 157163 h 335756"/>
                <a:gd name="connsiteX23" fmla="*/ 33338 w 571500"/>
                <a:gd name="connsiteY23" fmla="*/ 171450 h 335756"/>
                <a:gd name="connsiteX24" fmla="*/ 40482 w 571500"/>
                <a:gd name="connsiteY24" fmla="*/ 214313 h 335756"/>
                <a:gd name="connsiteX25" fmla="*/ 42863 w 571500"/>
                <a:gd name="connsiteY25" fmla="*/ 252413 h 335756"/>
                <a:gd name="connsiteX26" fmla="*/ 83344 w 571500"/>
                <a:gd name="connsiteY26" fmla="*/ 271463 h 335756"/>
                <a:gd name="connsiteX27" fmla="*/ 130969 w 571500"/>
                <a:gd name="connsiteY27" fmla="*/ 223838 h 335756"/>
                <a:gd name="connsiteX28" fmla="*/ 197644 w 571500"/>
                <a:gd name="connsiteY28" fmla="*/ 214313 h 335756"/>
                <a:gd name="connsiteX29" fmla="*/ 228600 w 571500"/>
                <a:gd name="connsiteY29" fmla="*/ 202406 h 335756"/>
                <a:gd name="connsiteX30" fmla="*/ 278607 w 571500"/>
                <a:gd name="connsiteY30" fmla="*/ 195263 h 335756"/>
                <a:gd name="connsiteX31" fmla="*/ 259557 w 571500"/>
                <a:gd name="connsiteY31" fmla="*/ 226219 h 335756"/>
                <a:gd name="connsiteX32" fmla="*/ 259557 w 571500"/>
                <a:gd name="connsiteY32" fmla="*/ 226219 h 335756"/>
                <a:gd name="connsiteX33" fmla="*/ 242888 w 571500"/>
                <a:gd name="connsiteY33" fmla="*/ 257175 h 335756"/>
                <a:gd name="connsiteX34" fmla="*/ 219075 w 571500"/>
                <a:gd name="connsiteY34" fmla="*/ 280988 h 335756"/>
                <a:gd name="connsiteX35" fmla="*/ 219075 w 571500"/>
                <a:gd name="connsiteY35" fmla="*/ 309563 h 335756"/>
                <a:gd name="connsiteX36" fmla="*/ 254794 w 571500"/>
                <a:gd name="connsiteY36" fmla="*/ 309563 h 335756"/>
                <a:gd name="connsiteX37" fmla="*/ 278607 w 571500"/>
                <a:gd name="connsiteY37" fmla="*/ 330994 h 335756"/>
                <a:gd name="connsiteX38" fmla="*/ 309563 w 571500"/>
                <a:gd name="connsiteY38" fmla="*/ 335756 h 335756"/>
                <a:gd name="connsiteX39" fmla="*/ 335757 w 571500"/>
                <a:gd name="connsiteY39" fmla="*/ 278606 h 335756"/>
                <a:gd name="connsiteX40" fmla="*/ 400050 w 571500"/>
                <a:gd name="connsiteY40" fmla="*/ 259556 h 335756"/>
                <a:gd name="connsiteX41" fmla="*/ 435769 w 571500"/>
                <a:gd name="connsiteY41" fmla="*/ 285750 h 335756"/>
                <a:gd name="connsiteX42" fmla="*/ 461963 w 571500"/>
                <a:gd name="connsiteY42" fmla="*/ 278606 h 335756"/>
                <a:gd name="connsiteX43" fmla="*/ 447675 w 571500"/>
                <a:gd name="connsiteY43" fmla="*/ 230981 h 335756"/>
                <a:gd name="connsiteX44" fmla="*/ 478632 w 571500"/>
                <a:gd name="connsiteY44" fmla="*/ 226219 h 335756"/>
                <a:gd name="connsiteX45" fmla="*/ 516732 w 571500"/>
                <a:gd name="connsiteY45" fmla="*/ 230981 h 335756"/>
                <a:gd name="connsiteX46" fmla="*/ 571500 w 571500"/>
                <a:gd name="connsiteY46" fmla="*/ 154781 h 335756"/>
                <a:gd name="connsiteX0" fmla="*/ 571500 w 571500"/>
                <a:gd name="connsiteY0" fmla="*/ 154781 h 335756"/>
                <a:gd name="connsiteX1" fmla="*/ 547688 w 571500"/>
                <a:gd name="connsiteY1" fmla="*/ 66675 h 335756"/>
                <a:gd name="connsiteX2" fmla="*/ 493395 w 571500"/>
                <a:gd name="connsiteY2" fmla="*/ 59531 h 335756"/>
                <a:gd name="connsiteX3" fmla="*/ 433388 w 571500"/>
                <a:gd name="connsiteY3" fmla="*/ 59531 h 335756"/>
                <a:gd name="connsiteX4" fmla="*/ 390525 w 571500"/>
                <a:gd name="connsiteY4" fmla="*/ 85725 h 335756"/>
                <a:gd name="connsiteX5" fmla="*/ 369094 w 571500"/>
                <a:gd name="connsiteY5" fmla="*/ 54769 h 335756"/>
                <a:gd name="connsiteX6" fmla="*/ 314325 w 571500"/>
                <a:gd name="connsiteY6" fmla="*/ 78581 h 335756"/>
                <a:gd name="connsiteX7" fmla="*/ 330994 w 571500"/>
                <a:gd name="connsiteY7" fmla="*/ 123825 h 335756"/>
                <a:gd name="connsiteX8" fmla="*/ 304800 w 571500"/>
                <a:gd name="connsiteY8" fmla="*/ 142875 h 335756"/>
                <a:gd name="connsiteX9" fmla="*/ 269082 w 571500"/>
                <a:gd name="connsiteY9" fmla="*/ 109538 h 335756"/>
                <a:gd name="connsiteX10" fmla="*/ 228600 w 571500"/>
                <a:gd name="connsiteY10" fmla="*/ 123825 h 335756"/>
                <a:gd name="connsiteX11" fmla="*/ 209550 w 571500"/>
                <a:gd name="connsiteY11" fmla="*/ 92869 h 335756"/>
                <a:gd name="connsiteX12" fmla="*/ 183357 w 571500"/>
                <a:gd name="connsiteY12" fmla="*/ 83344 h 335756"/>
                <a:gd name="connsiteX13" fmla="*/ 221457 w 571500"/>
                <a:gd name="connsiteY13" fmla="*/ 42863 h 335756"/>
                <a:gd name="connsiteX14" fmla="*/ 257175 w 571500"/>
                <a:gd name="connsiteY14" fmla="*/ 40481 h 335756"/>
                <a:gd name="connsiteX15" fmla="*/ 259557 w 571500"/>
                <a:gd name="connsiteY15" fmla="*/ 4763 h 335756"/>
                <a:gd name="connsiteX16" fmla="*/ 188119 w 571500"/>
                <a:gd name="connsiteY16" fmla="*/ 0 h 335756"/>
                <a:gd name="connsiteX17" fmla="*/ 183357 w 571500"/>
                <a:gd name="connsiteY17" fmla="*/ 38100 h 335756"/>
                <a:gd name="connsiteX18" fmla="*/ 147638 w 571500"/>
                <a:gd name="connsiteY18" fmla="*/ 30956 h 335756"/>
                <a:gd name="connsiteX19" fmla="*/ 109538 w 571500"/>
                <a:gd name="connsiteY19" fmla="*/ 69056 h 335756"/>
                <a:gd name="connsiteX20" fmla="*/ 95250 w 571500"/>
                <a:gd name="connsiteY20" fmla="*/ 121444 h 335756"/>
                <a:gd name="connsiteX21" fmla="*/ 0 w 571500"/>
                <a:gd name="connsiteY21" fmla="*/ 130969 h 335756"/>
                <a:gd name="connsiteX22" fmla="*/ 7144 w 571500"/>
                <a:gd name="connsiteY22" fmla="*/ 157163 h 335756"/>
                <a:gd name="connsiteX23" fmla="*/ 33338 w 571500"/>
                <a:gd name="connsiteY23" fmla="*/ 171450 h 335756"/>
                <a:gd name="connsiteX24" fmla="*/ 40482 w 571500"/>
                <a:gd name="connsiteY24" fmla="*/ 214313 h 335756"/>
                <a:gd name="connsiteX25" fmla="*/ 42863 w 571500"/>
                <a:gd name="connsiteY25" fmla="*/ 252413 h 335756"/>
                <a:gd name="connsiteX26" fmla="*/ 83344 w 571500"/>
                <a:gd name="connsiteY26" fmla="*/ 271463 h 335756"/>
                <a:gd name="connsiteX27" fmla="*/ 130969 w 571500"/>
                <a:gd name="connsiteY27" fmla="*/ 223838 h 335756"/>
                <a:gd name="connsiteX28" fmla="*/ 197644 w 571500"/>
                <a:gd name="connsiteY28" fmla="*/ 214313 h 335756"/>
                <a:gd name="connsiteX29" fmla="*/ 228600 w 571500"/>
                <a:gd name="connsiteY29" fmla="*/ 202406 h 335756"/>
                <a:gd name="connsiteX30" fmla="*/ 278607 w 571500"/>
                <a:gd name="connsiteY30" fmla="*/ 195263 h 335756"/>
                <a:gd name="connsiteX31" fmla="*/ 259557 w 571500"/>
                <a:gd name="connsiteY31" fmla="*/ 226219 h 335756"/>
                <a:gd name="connsiteX32" fmla="*/ 259557 w 571500"/>
                <a:gd name="connsiteY32" fmla="*/ 226219 h 335756"/>
                <a:gd name="connsiteX33" fmla="*/ 242888 w 571500"/>
                <a:gd name="connsiteY33" fmla="*/ 257175 h 335756"/>
                <a:gd name="connsiteX34" fmla="*/ 219075 w 571500"/>
                <a:gd name="connsiteY34" fmla="*/ 280988 h 335756"/>
                <a:gd name="connsiteX35" fmla="*/ 219075 w 571500"/>
                <a:gd name="connsiteY35" fmla="*/ 309563 h 335756"/>
                <a:gd name="connsiteX36" fmla="*/ 254794 w 571500"/>
                <a:gd name="connsiteY36" fmla="*/ 309563 h 335756"/>
                <a:gd name="connsiteX37" fmla="*/ 278607 w 571500"/>
                <a:gd name="connsiteY37" fmla="*/ 330994 h 335756"/>
                <a:gd name="connsiteX38" fmla="*/ 309563 w 571500"/>
                <a:gd name="connsiteY38" fmla="*/ 335756 h 335756"/>
                <a:gd name="connsiteX39" fmla="*/ 335757 w 571500"/>
                <a:gd name="connsiteY39" fmla="*/ 278606 h 335756"/>
                <a:gd name="connsiteX40" fmla="*/ 400050 w 571500"/>
                <a:gd name="connsiteY40" fmla="*/ 259556 h 335756"/>
                <a:gd name="connsiteX41" fmla="*/ 435769 w 571500"/>
                <a:gd name="connsiteY41" fmla="*/ 285750 h 335756"/>
                <a:gd name="connsiteX42" fmla="*/ 461963 w 571500"/>
                <a:gd name="connsiteY42" fmla="*/ 278606 h 335756"/>
                <a:gd name="connsiteX43" fmla="*/ 447675 w 571500"/>
                <a:gd name="connsiteY43" fmla="*/ 230981 h 335756"/>
                <a:gd name="connsiteX44" fmla="*/ 478632 w 571500"/>
                <a:gd name="connsiteY44" fmla="*/ 226219 h 335756"/>
                <a:gd name="connsiteX45" fmla="*/ 516732 w 571500"/>
                <a:gd name="connsiteY45" fmla="*/ 230981 h 335756"/>
                <a:gd name="connsiteX46" fmla="*/ 571500 w 571500"/>
                <a:gd name="connsiteY46" fmla="*/ 154781 h 33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71500" h="335756">
                  <a:moveTo>
                    <a:pt x="571500" y="154781"/>
                  </a:moveTo>
                  <a:lnTo>
                    <a:pt x="547688" y="66675"/>
                  </a:lnTo>
                  <a:lnTo>
                    <a:pt x="493395" y="59531"/>
                  </a:lnTo>
                  <a:lnTo>
                    <a:pt x="433388" y="59531"/>
                  </a:lnTo>
                  <a:lnTo>
                    <a:pt x="390525" y="85725"/>
                  </a:lnTo>
                  <a:lnTo>
                    <a:pt x="369094" y="54769"/>
                  </a:lnTo>
                  <a:lnTo>
                    <a:pt x="314325" y="78581"/>
                  </a:lnTo>
                  <a:lnTo>
                    <a:pt x="330994" y="123825"/>
                  </a:lnTo>
                  <a:lnTo>
                    <a:pt x="304800" y="142875"/>
                  </a:lnTo>
                  <a:lnTo>
                    <a:pt x="269082" y="109538"/>
                  </a:lnTo>
                  <a:lnTo>
                    <a:pt x="228600" y="123825"/>
                  </a:lnTo>
                  <a:lnTo>
                    <a:pt x="209550" y="92869"/>
                  </a:lnTo>
                  <a:lnTo>
                    <a:pt x="183357" y="83344"/>
                  </a:lnTo>
                  <a:lnTo>
                    <a:pt x="221457" y="42863"/>
                  </a:lnTo>
                  <a:lnTo>
                    <a:pt x="257175" y="40481"/>
                  </a:lnTo>
                  <a:lnTo>
                    <a:pt x="259557" y="4763"/>
                  </a:lnTo>
                  <a:lnTo>
                    <a:pt x="188119" y="0"/>
                  </a:lnTo>
                  <a:lnTo>
                    <a:pt x="183357" y="38100"/>
                  </a:lnTo>
                  <a:lnTo>
                    <a:pt x="147638" y="30956"/>
                  </a:lnTo>
                  <a:lnTo>
                    <a:pt x="109538" y="69056"/>
                  </a:lnTo>
                  <a:lnTo>
                    <a:pt x="95250" y="121444"/>
                  </a:lnTo>
                  <a:lnTo>
                    <a:pt x="0" y="130969"/>
                  </a:lnTo>
                  <a:lnTo>
                    <a:pt x="7144" y="157163"/>
                  </a:lnTo>
                  <a:lnTo>
                    <a:pt x="33338" y="171450"/>
                  </a:lnTo>
                  <a:lnTo>
                    <a:pt x="40482" y="214313"/>
                  </a:lnTo>
                  <a:lnTo>
                    <a:pt x="42863" y="252413"/>
                  </a:lnTo>
                  <a:lnTo>
                    <a:pt x="83344" y="271463"/>
                  </a:lnTo>
                  <a:lnTo>
                    <a:pt x="130969" y="223838"/>
                  </a:lnTo>
                  <a:lnTo>
                    <a:pt x="197644" y="214313"/>
                  </a:lnTo>
                  <a:lnTo>
                    <a:pt x="228600" y="202406"/>
                  </a:lnTo>
                  <a:lnTo>
                    <a:pt x="278607" y="195263"/>
                  </a:lnTo>
                  <a:lnTo>
                    <a:pt x="259557" y="226219"/>
                  </a:lnTo>
                  <a:lnTo>
                    <a:pt x="259557" y="226219"/>
                  </a:lnTo>
                  <a:lnTo>
                    <a:pt x="242888" y="257175"/>
                  </a:lnTo>
                  <a:lnTo>
                    <a:pt x="219075" y="280988"/>
                  </a:lnTo>
                  <a:lnTo>
                    <a:pt x="219075" y="309563"/>
                  </a:lnTo>
                  <a:lnTo>
                    <a:pt x="254794" y="309563"/>
                  </a:lnTo>
                  <a:lnTo>
                    <a:pt x="278607" y="330994"/>
                  </a:lnTo>
                  <a:lnTo>
                    <a:pt x="309563" y="335756"/>
                  </a:lnTo>
                  <a:lnTo>
                    <a:pt x="335757" y="278606"/>
                  </a:lnTo>
                  <a:lnTo>
                    <a:pt x="400050" y="259556"/>
                  </a:lnTo>
                  <a:lnTo>
                    <a:pt x="435769" y="285750"/>
                  </a:lnTo>
                  <a:lnTo>
                    <a:pt x="461963" y="278606"/>
                  </a:lnTo>
                  <a:lnTo>
                    <a:pt x="447675" y="230981"/>
                  </a:lnTo>
                  <a:lnTo>
                    <a:pt x="478632" y="226219"/>
                  </a:lnTo>
                  <a:lnTo>
                    <a:pt x="516732" y="230981"/>
                  </a:lnTo>
                  <a:lnTo>
                    <a:pt x="571500" y="154781"/>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6" name="Freeform 23560">
              <a:extLst>
                <a:ext uri="{FF2B5EF4-FFF2-40B4-BE49-F238E27FC236}">
                  <a16:creationId xmlns:a16="http://schemas.microsoft.com/office/drawing/2014/main" id="{51E3A313-59A8-4A0A-AB9C-99CE63B87954}"/>
                </a:ext>
              </a:extLst>
            </p:cNvPr>
            <p:cNvSpPr/>
            <p:nvPr/>
          </p:nvSpPr>
          <p:spPr>
            <a:xfrm>
              <a:off x="10800738" y="2253089"/>
              <a:ext cx="504825" cy="293688"/>
            </a:xfrm>
            <a:custGeom>
              <a:avLst/>
              <a:gdLst>
                <a:gd name="connsiteX0" fmla="*/ 504825 w 504825"/>
                <a:gd name="connsiteY0" fmla="*/ 214313 h 292894"/>
                <a:gd name="connsiteX1" fmla="*/ 485775 w 504825"/>
                <a:gd name="connsiteY1" fmla="*/ 135732 h 292894"/>
                <a:gd name="connsiteX2" fmla="*/ 457200 w 504825"/>
                <a:gd name="connsiteY2" fmla="*/ 71438 h 292894"/>
                <a:gd name="connsiteX3" fmla="*/ 354806 w 504825"/>
                <a:gd name="connsiteY3" fmla="*/ 57150 h 292894"/>
                <a:gd name="connsiteX4" fmla="*/ 316706 w 504825"/>
                <a:gd name="connsiteY4" fmla="*/ 57150 h 292894"/>
                <a:gd name="connsiteX5" fmla="*/ 257175 w 504825"/>
                <a:gd name="connsiteY5" fmla="*/ 50007 h 292894"/>
                <a:gd name="connsiteX6" fmla="*/ 250031 w 504825"/>
                <a:gd name="connsiteY6" fmla="*/ 33338 h 292894"/>
                <a:gd name="connsiteX7" fmla="*/ 221456 w 504825"/>
                <a:gd name="connsiteY7" fmla="*/ 42863 h 292894"/>
                <a:gd name="connsiteX8" fmla="*/ 188119 w 504825"/>
                <a:gd name="connsiteY8" fmla="*/ 0 h 292894"/>
                <a:gd name="connsiteX9" fmla="*/ 109538 w 504825"/>
                <a:gd name="connsiteY9" fmla="*/ 66675 h 292894"/>
                <a:gd name="connsiteX10" fmla="*/ 76200 w 504825"/>
                <a:gd name="connsiteY10" fmla="*/ 142875 h 292894"/>
                <a:gd name="connsiteX11" fmla="*/ 0 w 504825"/>
                <a:gd name="connsiteY11" fmla="*/ 204788 h 292894"/>
                <a:gd name="connsiteX12" fmla="*/ 4763 w 504825"/>
                <a:gd name="connsiteY12" fmla="*/ 233363 h 292894"/>
                <a:gd name="connsiteX13" fmla="*/ 47625 w 504825"/>
                <a:gd name="connsiteY13" fmla="*/ 226219 h 292894"/>
                <a:gd name="connsiteX14" fmla="*/ 76200 w 504825"/>
                <a:gd name="connsiteY14" fmla="*/ 240507 h 292894"/>
                <a:gd name="connsiteX15" fmla="*/ 123825 w 504825"/>
                <a:gd name="connsiteY15" fmla="*/ 192882 h 292894"/>
                <a:gd name="connsiteX16" fmla="*/ 138113 w 504825"/>
                <a:gd name="connsiteY16" fmla="*/ 195263 h 292894"/>
                <a:gd name="connsiteX17" fmla="*/ 147638 w 504825"/>
                <a:gd name="connsiteY17" fmla="*/ 147638 h 292894"/>
                <a:gd name="connsiteX18" fmla="*/ 219075 w 504825"/>
                <a:gd name="connsiteY18" fmla="*/ 164307 h 292894"/>
                <a:gd name="connsiteX19" fmla="*/ 207169 w 504825"/>
                <a:gd name="connsiteY19" fmla="*/ 195263 h 292894"/>
                <a:gd name="connsiteX20" fmla="*/ 176213 w 504825"/>
                <a:gd name="connsiteY20" fmla="*/ 209550 h 292894"/>
                <a:gd name="connsiteX21" fmla="*/ 145256 w 504825"/>
                <a:gd name="connsiteY21" fmla="*/ 245269 h 292894"/>
                <a:gd name="connsiteX22" fmla="*/ 192881 w 504825"/>
                <a:gd name="connsiteY22" fmla="*/ 273844 h 292894"/>
                <a:gd name="connsiteX23" fmla="*/ 230981 w 504825"/>
                <a:gd name="connsiteY23" fmla="*/ 257175 h 292894"/>
                <a:gd name="connsiteX24" fmla="*/ 278606 w 504825"/>
                <a:gd name="connsiteY24" fmla="*/ 292894 h 292894"/>
                <a:gd name="connsiteX25" fmla="*/ 297656 w 504825"/>
                <a:gd name="connsiteY25" fmla="*/ 278607 h 292894"/>
                <a:gd name="connsiteX26" fmla="*/ 292894 w 504825"/>
                <a:gd name="connsiteY26" fmla="*/ 221457 h 292894"/>
                <a:gd name="connsiteX27" fmla="*/ 330994 w 504825"/>
                <a:gd name="connsiteY27" fmla="*/ 214313 h 292894"/>
                <a:gd name="connsiteX28" fmla="*/ 357188 w 504825"/>
                <a:gd name="connsiteY28" fmla="*/ 238125 h 292894"/>
                <a:gd name="connsiteX29" fmla="*/ 392906 w 504825"/>
                <a:gd name="connsiteY29" fmla="*/ 214313 h 292894"/>
                <a:gd name="connsiteX30" fmla="*/ 504825 w 504825"/>
                <a:gd name="connsiteY30" fmla="*/ 214313 h 29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4825" h="292894">
                  <a:moveTo>
                    <a:pt x="504825" y="214313"/>
                  </a:moveTo>
                  <a:lnTo>
                    <a:pt x="485775" y="135732"/>
                  </a:lnTo>
                  <a:lnTo>
                    <a:pt x="457200" y="71438"/>
                  </a:lnTo>
                  <a:lnTo>
                    <a:pt x="354806" y="57150"/>
                  </a:lnTo>
                  <a:lnTo>
                    <a:pt x="316706" y="57150"/>
                  </a:lnTo>
                  <a:lnTo>
                    <a:pt x="257175" y="50007"/>
                  </a:lnTo>
                  <a:lnTo>
                    <a:pt x="250031" y="33338"/>
                  </a:lnTo>
                  <a:lnTo>
                    <a:pt x="221456" y="42863"/>
                  </a:lnTo>
                  <a:lnTo>
                    <a:pt x="188119" y="0"/>
                  </a:lnTo>
                  <a:lnTo>
                    <a:pt x="109538" y="66675"/>
                  </a:lnTo>
                  <a:lnTo>
                    <a:pt x="76200" y="142875"/>
                  </a:lnTo>
                  <a:lnTo>
                    <a:pt x="0" y="204788"/>
                  </a:lnTo>
                  <a:lnTo>
                    <a:pt x="4763" y="233363"/>
                  </a:lnTo>
                  <a:lnTo>
                    <a:pt x="47625" y="226219"/>
                  </a:lnTo>
                  <a:lnTo>
                    <a:pt x="76200" y="240507"/>
                  </a:lnTo>
                  <a:lnTo>
                    <a:pt x="123825" y="192882"/>
                  </a:lnTo>
                  <a:lnTo>
                    <a:pt x="138113" y="195263"/>
                  </a:lnTo>
                  <a:lnTo>
                    <a:pt x="147638" y="147638"/>
                  </a:lnTo>
                  <a:lnTo>
                    <a:pt x="219075" y="164307"/>
                  </a:lnTo>
                  <a:lnTo>
                    <a:pt x="207169" y="195263"/>
                  </a:lnTo>
                  <a:lnTo>
                    <a:pt x="176213" y="209550"/>
                  </a:lnTo>
                  <a:lnTo>
                    <a:pt x="145256" y="245269"/>
                  </a:lnTo>
                  <a:lnTo>
                    <a:pt x="192881" y="273844"/>
                  </a:lnTo>
                  <a:lnTo>
                    <a:pt x="230981" y="257175"/>
                  </a:lnTo>
                  <a:lnTo>
                    <a:pt x="278606" y="292894"/>
                  </a:lnTo>
                  <a:lnTo>
                    <a:pt x="297656" y="278607"/>
                  </a:lnTo>
                  <a:lnTo>
                    <a:pt x="292894" y="221457"/>
                  </a:lnTo>
                  <a:lnTo>
                    <a:pt x="330994" y="214313"/>
                  </a:lnTo>
                  <a:lnTo>
                    <a:pt x="357188" y="238125"/>
                  </a:lnTo>
                  <a:lnTo>
                    <a:pt x="392906" y="214313"/>
                  </a:lnTo>
                  <a:lnTo>
                    <a:pt x="504825" y="214313"/>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7" name="Freeform 23561">
              <a:extLst>
                <a:ext uri="{FF2B5EF4-FFF2-40B4-BE49-F238E27FC236}">
                  <a16:creationId xmlns:a16="http://schemas.microsoft.com/office/drawing/2014/main" id="{89D110FC-E530-43EB-B439-16F52CCD5060}"/>
                </a:ext>
              </a:extLst>
            </p:cNvPr>
            <p:cNvSpPr/>
            <p:nvPr/>
          </p:nvSpPr>
          <p:spPr>
            <a:xfrm>
              <a:off x="10384813" y="1964164"/>
              <a:ext cx="611187" cy="711200"/>
            </a:xfrm>
            <a:custGeom>
              <a:avLst/>
              <a:gdLst>
                <a:gd name="connsiteX0" fmla="*/ 611982 w 611982"/>
                <a:gd name="connsiteY0" fmla="*/ 288131 h 711994"/>
                <a:gd name="connsiteX1" fmla="*/ 545307 w 611982"/>
                <a:gd name="connsiteY1" fmla="*/ 276225 h 711994"/>
                <a:gd name="connsiteX2" fmla="*/ 519113 w 611982"/>
                <a:gd name="connsiteY2" fmla="*/ 221456 h 711994"/>
                <a:gd name="connsiteX3" fmla="*/ 457200 w 611982"/>
                <a:gd name="connsiteY3" fmla="*/ 192881 h 711994"/>
                <a:gd name="connsiteX4" fmla="*/ 314325 w 611982"/>
                <a:gd name="connsiteY4" fmla="*/ 66675 h 711994"/>
                <a:gd name="connsiteX5" fmla="*/ 276225 w 611982"/>
                <a:gd name="connsiteY5" fmla="*/ 66675 h 711994"/>
                <a:gd name="connsiteX6" fmla="*/ 188119 w 611982"/>
                <a:gd name="connsiteY6" fmla="*/ 0 h 711994"/>
                <a:gd name="connsiteX7" fmla="*/ 19050 w 611982"/>
                <a:gd name="connsiteY7" fmla="*/ 28575 h 711994"/>
                <a:gd name="connsiteX8" fmla="*/ 0 w 611982"/>
                <a:gd name="connsiteY8" fmla="*/ 97631 h 711994"/>
                <a:gd name="connsiteX9" fmla="*/ 40482 w 611982"/>
                <a:gd name="connsiteY9" fmla="*/ 135731 h 711994"/>
                <a:gd name="connsiteX10" fmla="*/ 47625 w 611982"/>
                <a:gd name="connsiteY10" fmla="*/ 209550 h 711994"/>
                <a:gd name="connsiteX11" fmla="*/ 26194 w 611982"/>
                <a:gd name="connsiteY11" fmla="*/ 266700 h 711994"/>
                <a:gd name="connsiteX12" fmla="*/ 57150 w 611982"/>
                <a:gd name="connsiteY12" fmla="*/ 400050 h 711994"/>
                <a:gd name="connsiteX13" fmla="*/ 80963 w 611982"/>
                <a:gd name="connsiteY13" fmla="*/ 442912 h 711994"/>
                <a:gd name="connsiteX14" fmla="*/ 92869 w 611982"/>
                <a:gd name="connsiteY14" fmla="*/ 545306 h 711994"/>
                <a:gd name="connsiteX15" fmla="*/ 133350 w 611982"/>
                <a:gd name="connsiteY15" fmla="*/ 547687 h 711994"/>
                <a:gd name="connsiteX16" fmla="*/ 121444 w 611982"/>
                <a:gd name="connsiteY16" fmla="*/ 647700 h 711994"/>
                <a:gd name="connsiteX17" fmla="*/ 176213 w 611982"/>
                <a:gd name="connsiteY17" fmla="*/ 659606 h 711994"/>
                <a:gd name="connsiteX18" fmla="*/ 252413 w 611982"/>
                <a:gd name="connsiteY18" fmla="*/ 638175 h 711994"/>
                <a:gd name="connsiteX19" fmla="*/ 316707 w 611982"/>
                <a:gd name="connsiteY19" fmla="*/ 690562 h 711994"/>
                <a:gd name="connsiteX20" fmla="*/ 352425 w 611982"/>
                <a:gd name="connsiteY20" fmla="*/ 711994 h 711994"/>
                <a:gd name="connsiteX21" fmla="*/ 414338 w 611982"/>
                <a:gd name="connsiteY21" fmla="*/ 695325 h 711994"/>
                <a:gd name="connsiteX22" fmla="*/ 428625 w 611982"/>
                <a:gd name="connsiteY22" fmla="*/ 659606 h 711994"/>
                <a:gd name="connsiteX23" fmla="*/ 407194 w 611982"/>
                <a:gd name="connsiteY23" fmla="*/ 602456 h 711994"/>
                <a:gd name="connsiteX24" fmla="*/ 383382 w 611982"/>
                <a:gd name="connsiteY24" fmla="*/ 597694 h 711994"/>
                <a:gd name="connsiteX25" fmla="*/ 376238 w 611982"/>
                <a:gd name="connsiteY25" fmla="*/ 578644 h 711994"/>
                <a:gd name="connsiteX26" fmla="*/ 404813 w 611982"/>
                <a:gd name="connsiteY26" fmla="*/ 578644 h 711994"/>
                <a:gd name="connsiteX27" fmla="*/ 466725 w 611982"/>
                <a:gd name="connsiteY27" fmla="*/ 576262 h 711994"/>
                <a:gd name="connsiteX28" fmla="*/ 490538 w 611982"/>
                <a:gd name="connsiteY28" fmla="*/ 531019 h 711994"/>
                <a:gd name="connsiteX29" fmla="*/ 457200 w 611982"/>
                <a:gd name="connsiteY29" fmla="*/ 516731 h 711994"/>
                <a:gd name="connsiteX30" fmla="*/ 414338 w 611982"/>
                <a:gd name="connsiteY30" fmla="*/ 521494 h 711994"/>
                <a:gd name="connsiteX31" fmla="*/ 421482 w 611982"/>
                <a:gd name="connsiteY31" fmla="*/ 483394 h 711994"/>
                <a:gd name="connsiteX32" fmla="*/ 488157 w 611982"/>
                <a:gd name="connsiteY32" fmla="*/ 433387 h 711994"/>
                <a:gd name="connsiteX33" fmla="*/ 523875 w 611982"/>
                <a:gd name="connsiteY33" fmla="*/ 350044 h 711994"/>
                <a:gd name="connsiteX34" fmla="*/ 611982 w 611982"/>
                <a:gd name="connsiteY34" fmla="*/ 288131 h 71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1982" h="711994">
                  <a:moveTo>
                    <a:pt x="611982" y="288131"/>
                  </a:moveTo>
                  <a:lnTo>
                    <a:pt x="545307" y="276225"/>
                  </a:lnTo>
                  <a:lnTo>
                    <a:pt x="519113" y="221456"/>
                  </a:lnTo>
                  <a:lnTo>
                    <a:pt x="457200" y="192881"/>
                  </a:lnTo>
                  <a:lnTo>
                    <a:pt x="314325" y="66675"/>
                  </a:lnTo>
                  <a:lnTo>
                    <a:pt x="276225" y="66675"/>
                  </a:lnTo>
                  <a:lnTo>
                    <a:pt x="188119" y="0"/>
                  </a:lnTo>
                  <a:lnTo>
                    <a:pt x="19050" y="28575"/>
                  </a:lnTo>
                  <a:lnTo>
                    <a:pt x="0" y="97631"/>
                  </a:lnTo>
                  <a:lnTo>
                    <a:pt x="40482" y="135731"/>
                  </a:lnTo>
                  <a:lnTo>
                    <a:pt x="47625" y="209550"/>
                  </a:lnTo>
                  <a:lnTo>
                    <a:pt x="26194" y="266700"/>
                  </a:lnTo>
                  <a:lnTo>
                    <a:pt x="57150" y="400050"/>
                  </a:lnTo>
                  <a:lnTo>
                    <a:pt x="80963" y="442912"/>
                  </a:lnTo>
                  <a:lnTo>
                    <a:pt x="92869" y="545306"/>
                  </a:lnTo>
                  <a:lnTo>
                    <a:pt x="133350" y="547687"/>
                  </a:lnTo>
                  <a:lnTo>
                    <a:pt x="121444" y="647700"/>
                  </a:lnTo>
                  <a:lnTo>
                    <a:pt x="176213" y="659606"/>
                  </a:lnTo>
                  <a:lnTo>
                    <a:pt x="252413" y="638175"/>
                  </a:lnTo>
                  <a:lnTo>
                    <a:pt x="316707" y="690562"/>
                  </a:lnTo>
                  <a:lnTo>
                    <a:pt x="352425" y="711994"/>
                  </a:lnTo>
                  <a:lnTo>
                    <a:pt x="414338" y="695325"/>
                  </a:lnTo>
                  <a:lnTo>
                    <a:pt x="428625" y="659606"/>
                  </a:lnTo>
                  <a:lnTo>
                    <a:pt x="407194" y="602456"/>
                  </a:lnTo>
                  <a:lnTo>
                    <a:pt x="383382" y="597694"/>
                  </a:lnTo>
                  <a:lnTo>
                    <a:pt x="376238" y="578644"/>
                  </a:lnTo>
                  <a:lnTo>
                    <a:pt x="404813" y="578644"/>
                  </a:lnTo>
                  <a:lnTo>
                    <a:pt x="466725" y="576262"/>
                  </a:lnTo>
                  <a:lnTo>
                    <a:pt x="490538" y="531019"/>
                  </a:lnTo>
                  <a:lnTo>
                    <a:pt x="457200" y="516731"/>
                  </a:lnTo>
                  <a:lnTo>
                    <a:pt x="414338" y="521494"/>
                  </a:lnTo>
                  <a:lnTo>
                    <a:pt x="421482" y="483394"/>
                  </a:lnTo>
                  <a:lnTo>
                    <a:pt x="488157" y="433387"/>
                  </a:lnTo>
                  <a:lnTo>
                    <a:pt x="523875" y="350044"/>
                  </a:lnTo>
                  <a:lnTo>
                    <a:pt x="611982" y="288131"/>
                  </a:lnTo>
                  <a:close/>
                </a:path>
              </a:pathLst>
            </a:custGeom>
            <a:solidFill>
              <a:schemeClr val="bg1">
                <a:lumMod val="8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a:buClr>
                  <a:srgbClr val="000000"/>
                </a:buClr>
                <a:buSzPct val="100000"/>
                <a:buFont typeface="Times New Roman" pitchFamily="16" charset="0"/>
                <a:buNone/>
                <a:defRPr/>
              </a:pPr>
              <a:endParaRPr lang="en-GB" sz="1841">
                <a:solidFill>
                  <a:schemeClr val="bg1"/>
                </a:solidFill>
                <a:ea typeface="ＭＳ Ｐゴシック" charset="-128"/>
              </a:endParaRPr>
            </a:p>
          </p:txBody>
        </p:sp>
        <p:sp>
          <p:nvSpPr>
            <p:cNvPr id="48" name="CaixaDeTexto 47">
              <a:extLst>
                <a:ext uri="{FF2B5EF4-FFF2-40B4-BE49-F238E27FC236}">
                  <a16:creationId xmlns:a16="http://schemas.microsoft.com/office/drawing/2014/main" id="{6A90F0A1-5584-4457-887D-07952E3801D3}"/>
                </a:ext>
              </a:extLst>
            </p:cNvPr>
            <p:cNvSpPr txBox="1"/>
            <p:nvPr/>
          </p:nvSpPr>
          <p:spPr>
            <a:xfrm>
              <a:off x="6717689" y="2099228"/>
              <a:ext cx="464833"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AM</a:t>
              </a:r>
            </a:p>
          </p:txBody>
        </p:sp>
        <p:sp>
          <p:nvSpPr>
            <p:cNvPr id="49" name="CaixaDeTexto 48">
              <a:extLst>
                <a:ext uri="{FF2B5EF4-FFF2-40B4-BE49-F238E27FC236}">
                  <a16:creationId xmlns:a16="http://schemas.microsoft.com/office/drawing/2014/main" id="{6844B7CF-5A3D-4D59-9A9C-4B09B952EF31}"/>
                </a:ext>
              </a:extLst>
            </p:cNvPr>
            <p:cNvSpPr txBox="1"/>
            <p:nvPr/>
          </p:nvSpPr>
          <p:spPr>
            <a:xfrm>
              <a:off x="7042456" y="3005564"/>
              <a:ext cx="427441"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RO</a:t>
              </a:r>
            </a:p>
          </p:txBody>
        </p:sp>
        <p:sp>
          <p:nvSpPr>
            <p:cNvPr id="50" name="CaixaDeTexto 49">
              <a:extLst>
                <a:ext uri="{FF2B5EF4-FFF2-40B4-BE49-F238E27FC236}">
                  <a16:creationId xmlns:a16="http://schemas.microsoft.com/office/drawing/2014/main" id="{C8659F5B-D2D3-47A5-8EA3-D0ED22D67884}"/>
                </a:ext>
              </a:extLst>
            </p:cNvPr>
            <p:cNvSpPr txBox="1"/>
            <p:nvPr/>
          </p:nvSpPr>
          <p:spPr>
            <a:xfrm>
              <a:off x="8111033" y="3296076"/>
              <a:ext cx="449090"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MT</a:t>
              </a:r>
            </a:p>
          </p:txBody>
        </p:sp>
        <p:sp>
          <p:nvSpPr>
            <p:cNvPr id="51" name="CaixaDeTexto 50">
              <a:extLst>
                <a:ext uri="{FF2B5EF4-FFF2-40B4-BE49-F238E27FC236}">
                  <a16:creationId xmlns:a16="http://schemas.microsoft.com/office/drawing/2014/main" id="{882D58B1-F08D-4C50-8913-FF39E2C3BB49}"/>
                </a:ext>
              </a:extLst>
            </p:cNvPr>
            <p:cNvSpPr txBox="1"/>
            <p:nvPr/>
          </p:nvSpPr>
          <p:spPr>
            <a:xfrm>
              <a:off x="8268937" y="4431140"/>
              <a:ext cx="445154"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MS</a:t>
              </a:r>
            </a:p>
          </p:txBody>
        </p:sp>
        <p:sp>
          <p:nvSpPr>
            <p:cNvPr id="52" name="CaixaDeTexto 51">
              <a:extLst>
                <a:ext uri="{FF2B5EF4-FFF2-40B4-BE49-F238E27FC236}">
                  <a16:creationId xmlns:a16="http://schemas.microsoft.com/office/drawing/2014/main" id="{9FFED8EB-DC07-4073-8B07-96257FFF8657}"/>
                </a:ext>
              </a:extLst>
            </p:cNvPr>
            <p:cNvSpPr txBox="1"/>
            <p:nvPr/>
          </p:nvSpPr>
          <p:spPr>
            <a:xfrm>
              <a:off x="8698888" y="5084772"/>
              <a:ext cx="401859"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PR</a:t>
              </a:r>
            </a:p>
          </p:txBody>
        </p:sp>
        <p:sp>
          <p:nvSpPr>
            <p:cNvPr id="53" name="CaixaDeTexto 52">
              <a:extLst>
                <a:ext uri="{FF2B5EF4-FFF2-40B4-BE49-F238E27FC236}">
                  <a16:creationId xmlns:a16="http://schemas.microsoft.com/office/drawing/2014/main" id="{5A69DBFA-C607-4935-B74B-659539E545D1}"/>
                </a:ext>
              </a:extLst>
            </p:cNvPr>
            <p:cNvSpPr txBox="1"/>
            <p:nvPr/>
          </p:nvSpPr>
          <p:spPr>
            <a:xfrm>
              <a:off x="8916636" y="5493571"/>
              <a:ext cx="392018"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SC</a:t>
              </a:r>
            </a:p>
          </p:txBody>
        </p:sp>
        <p:sp>
          <p:nvSpPr>
            <p:cNvPr id="54" name="CaixaDeTexto 53">
              <a:extLst>
                <a:ext uri="{FF2B5EF4-FFF2-40B4-BE49-F238E27FC236}">
                  <a16:creationId xmlns:a16="http://schemas.microsoft.com/office/drawing/2014/main" id="{49012FDC-75F7-4A0E-865B-AF2E645BF2DA}"/>
                </a:ext>
              </a:extLst>
            </p:cNvPr>
            <p:cNvSpPr txBox="1"/>
            <p:nvPr/>
          </p:nvSpPr>
          <p:spPr>
            <a:xfrm>
              <a:off x="8502487" y="5987669"/>
              <a:ext cx="393987"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RS</a:t>
              </a:r>
            </a:p>
          </p:txBody>
        </p:sp>
        <p:sp>
          <p:nvSpPr>
            <p:cNvPr id="55" name="CaixaDeTexto 54">
              <a:extLst>
                <a:ext uri="{FF2B5EF4-FFF2-40B4-BE49-F238E27FC236}">
                  <a16:creationId xmlns:a16="http://schemas.microsoft.com/office/drawing/2014/main" id="{4276EC55-BFF6-4811-9D33-E79A5E6F8BA2}"/>
                </a:ext>
              </a:extLst>
            </p:cNvPr>
            <p:cNvSpPr txBox="1"/>
            <p:nvPr/>
          </p:nvSpPr>
          <p:spPr>
            <a:xfrm>
              <a:off x="9077977" y="4746950"/>
              <a:ext cx="388082"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SP</a:t>
              </a:r>
            </a:p>
          </p:txBody>
        </p:sp>
        <p:sp>
          <p:nvSpPr>
            <p:cNvPr id="56" name="CaixaDeTexto 55">
              <a:extLst>
                <a:ext uri="{FF2B5EF4-FFF2-40B4-BE49-F238E27FC236}">
                  <a16:creationId xmlns:a16="http://schemas.microsoft.com/office/drawing/2014/main" id="{0FB2254A-3403-4698-A251-7C9BE8EEFB80}"/>
                </a:ext>
              </a:extLst>
            </p:cNvPr>
            <p:cNvSpPr txBox="1"/>
            <p:nvPr/>
          </p:nvSpPr>
          <p:spPr>
            <a:xfrm>
              <a:off x="9640622" y="4249477"/>
              <a:ext cx="472705"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MG</a:t>
              </a:r>
            </a:p>
          </p:txBody>
        </p:sp>
        <p:sp>
          <p:nvSpPr>
            <p:cNvPr id="57" name="CaixaDeTexto 56">
              <a:extLst>
                <a:ext uri="{FF2B5EF4-FFF2-40B4-BE49-F238E27FC236}">
                  <a16:creationId xmlns:a16="http://schemas.microsoft.com/office/drawing/2014/main" id="{2B12781D-A6CF-4C8F-BECE-8ED9C0BE2AB0}"/>
                </a:ext>
              </a:extLst>
            </p:cNvPr>
            <p:cNvSpPr txBox="1"/>
            <p:nvPr/>
          </p:nvSpPr>
          <p:spPr>
            <a:xfrm>
              <a:off x="10169707" y="3268267"/>
              <a:ext cx="413666"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BA</a:t>
              </a:r>
            </a:p>
          </p:txBody>
        </p:sp>
        <p:sp>
          <p:nvSpPr>
            <p:cNvPr id="58" name="CaixaDeTexto 57">
              <a:extLst>
                <a:ext uri="{FF2B5EF4-FFF2-40B4-BE49-F238E27FC236}">
                  <a16:creationId xmlns:a16="http://schemas.microsoft.com/office/drawing/2014/main" id="{68A1C742-6CBC-433E-AEC9-C1B186C814A8}"/>
                </a:ext>
              </a:extLst>
            </p:cNvPr>
            <p:cNvSpPr txBox="1"/>
            <p:nvPr/>
          </p:nvSpPr>
          <p:spPr>
            <a:xfrm>
              <a:off x="11289948" y="2619026"/>
              <a:ext cx="392018"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PE</a:t>
              </a:r>
            </a:p>
          </p:txBody>
        </p:sp>
        <p:sp>
          <p:nvSpPr>
            <p:cNvPr id="59" name="CaixaDeTexto 58">
              <a:extLst>
                <a:ext uri="{FF2B5EF4-FFF2-40B4-BE49-F238E27FC236}">
                  <a16:creationId xmlns:a16="http://schemas.microsoft.com/office/drawing/2014/main" id="{9847E95B-48D0-4687-9930-3360F490F844}"/>
                </a:ext>
              </a:extLst>
            </p:cNvPr>
            <p:cNvSpPr txBox="1"/>
            <p:nvPr/>
          </p:nvSpPr>
          <p:spPr>
            <a:xfrm>
              <a:off x="9020300" y="3800669"/>
              <a:ext cx="441218"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GO</a:t>
              </a:r>
            </a:p>
          </p:txBody>
        </p:sp>
        <p:sp>
          <p:nvSpPr>
            <p:cNvPr id="60" name="Elipse 59">
              <a:extLst>
                <a:ext uri="{FF2B5EF4-FFF2-40B4-BE49-F238E27FC236}">
                  <a16:creationId xmlns:a16="http://schemas.microsoft.com/office/drawing/2014/main" id="{1334D5F2-5CC1-4F8A-8071-C2F476FC28C0}"/>
                </a:ext>
              </a:extLst>
            </p:cNvPr>
            <p:cNvSpPr/>
            <p:nvPr/>
          </p:nvSpPr>
          <p:spPr>
            <a:xfrm>
              <a:off x="6248318" y="2376228"/>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a:t>
              </a:r>
            </a:p>
          </p:txBody>
        </p:sp>
        <p:sp>
          <p:nvSpPr>
            <p:cNvPr id="61" name="Elipse 60">
              <a:extLst>
                <a:ext uri="{FF2B5EF4-FFF2-40B4-BE49-F238E27FC236}">
                  <a16:creationId xmlns:a16="http://schemas.microsoft.com/office/drawing/2014/main" id="{753AB0B3-E78A-459D-A490-91E8A8D5CA8B}"/>
                </a:ext>
              </a:extLst>
            </p:cNvPr>
            <p:cNvSpPr/>
            <p:nvPr/>
          </p:nvSpPr>
          <p:spPr>
            <a:xfrm>
              <a:off x="8722321" y="3928767"/>
              <a:ext cx="371062" cy="3669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8</a:t>
              </a:r>
            </a:p>
          </p:txBody>
        </p:sp>
        <p:sp>
          <p:nvSpPr>
            <p:cNvPr id="62" name="Elipse 61">
              <a:extLst>
                <a:ext uri="{FF2B5EF4-FFF2-40B4-BE49-F238E27FC236}">
                  <a16:creationId xmlns:a16="http://schemas.microsoft.com/office/drawing/2014/main" id="{16EAB643-1CF2-41E5-810E-9FA266040D6B}"/>
                </a:ext>
              </a:extLst>
            </p:cNvPr>
            <p:cNvSpPr/>
            <p:nvPr/>
          </p:nvSpPr>
          <p:spPr>
            <a:xfrm>
              <a:off x="9729434" y="3704712"/>
              <a:ext cx="575921" cy="5840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8</a:t>
              </a:r>
            </a:p>
          </p:txBody>
        </p:sp>
        <p:sp>
          <p:nvSpPr>
            <p:cNvPr id="63" name="Elipse 62">
              <a:extLst>
                <a:ext uri="{FF2B5EF4-FFF2-40B4-BE49-F238E27FC236}">
                  <a16:creationId xmlns:a16="http://schemas.microsoft.com/office/drawing/2014/main" id="{8F3C62B1-5D0C-46A1-AC5E-66E4F84AB470}"/>
                </a:ext>
              </a:extLst>
            </p:cNvPr>
            <p:cNvSpPr/>
            <p:nvPr/>
          </p:nvSpPr>
          <p:spPr>
            <a:xfrm>
              <a:off x="8172039" y="3677851"/>
              <a:ext cx="330449" cy="3008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6</a:t>
              </a:r>
            </a:p>
          </p:txBody>
        </p:sp>
        <p:sp>
          <p:nvSpPr>
            <p:cNvPr id="64" name="CaixaDeTexto 63">
              <a:extLst>
                <a:ext uri="{FF2B5EF4-FFF2-40B4-BE49-F238E27FC236}">
                  <a16:creationId xmlns:a16="http://schemas.microsoft.com/office/drawing/2014/main" id="{F3C26C88-305A-431E-8296-57CF8B38E20E}"/>
                </a:ext>
              </a:extLst>
            </p:cNvPr>
            <p:cNvSpPr txBox="1"/>
            <p:nvPr/>
          </p:nvSpPr>
          <p:spPr>
            <a:xfrm>
              <a:off x="11283606" y="2378465"/>
              <a:ext cx="401859"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PB</a:t>
              </a:r>
            </a:p>
          </p:txBody>
        </p:sp>
        <p:sp>
          <p:nvSpPr>
            <p:cNvPr id="65" name="Elipse 64">
              <a:extLst>
                <a:ext uri="{FF2B5EF4-FFF2-40B4-BE49-F238E27FC236}">
                  <a16:creationId xmlns:a16="http://schemas.microsoft.com/office/drawing/2014/main" id="{4D4C44FC-15C2-4A6C-B5BF-047E2E66D3B8}"/>
                </a:ext>
              </a:extLst>
            </p:cNvPr>
            <p:cNvSpPr/>
            <p:nvPr/>
          </p:nvSpPr>
          <p:spPr>
            <a:xfrm>
              <a:off x="11034512" y="2474627"/>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a:t>
              </a:r>
            </a:p>
          </p:txBody>
        </p:sp>
        <p:sp>
          <p:nvSpPr>
            <p:cNvPr id="66" name="Elipse 65">
              <a:extLst>
                <a:ext uri="{FF2B5EF4-FFF2-40B4-BE49-F238E27FC236}">
                  <a16:creationId xmlns:a16="http://schemas.microsoft.com/office/drawing/2014/main" id="{A1CB9918-B7A7-4A49-891A-F5779433B070}"/>
                </a:ext>
              </a:extLst>
            </p:cNvPr>
            <p:cNvSpPr/>
            <p:nvPr/>
          </p:nvSpPr>
          <p:spPr>
            <a:xfrm>
              <a:off x="9875737" y="3247345"/>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a:t>
              </a:r>
            </a:p>
          </p:txBody>
        </p:sp>
        <p:sp>
          <p:nvSpPr>
            <p:cNvPr id="67" name="Elipse 66">
              <a:extLst>
                <a:ext uri="{FF2B5EF4-FFF2-40B4-BE49-F238E27FC236}">
                  <a16:creationId xmlns:a16="http://schemas.microsoft.com/office/drawing/2014/main" id="{30ACA029-4C01-489F-B9D7-52B1524EDB90}"/>
                </a:ext>
              </a:extLst>
            </p:cNvPr>
            <p:cNvSpPr/>
            <p:nvPr/>
          </p:nvSpPr>
          <p:spPr>
            <a:xfrm>
              <a:off x="8109292" y="4223107"/>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2</a:t>
              </a:r>
            </a:p>
          </p:txBody>
        </p:sp>
        <p:sp>
          <p:nvSpPr>
            <p:cNvPr id="68" name="Elipse 67">
              <a:extLst>
                <a:ext uri="{FF2B5EF4-FFF2-40B4-BE49-F238E27FC236}">
                  <a16:creationId xmlns:a16="http://schemas.microsoft.com/office/drawing/2014/main" id="{950C1FD0-D1A9-4478-AA39-D64AA863D91C}"/>
                </a:ext>
              </a:extLst>
            </p:cNvPr>
            <p:cNvSpPr/>
            <p:nvPr/>
          </p:nvSpPr>
          <p:spPr>
            <a:xfrm>
              <a:off x="10575577" y="2640939"/>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a:t>
              </a:r>
            </a:p>
          </p:txBody>
        </p:sp>
        <p:sp>
          <p:nvSpPr>
            <p:cNvPr id="69" name="Elipse 68">
              <a:extLst>
                <a:ext uri="{FF2B5EF4-FFF2-40B4-BE49-F238E27FC236}">
                  <a16:creationId xmlns:a16="http://schemas.microsoft.com/office/drawing/2014/main" id="{B3BF056D-2073-49C7-91C3-5E536FAA9DAE}"/>
                </a:ext>
              </a:extLst>
            </p:cNvPr>
            <p:cNvSpPr/>
            <p:nvPr/>
          </p:nvSpPr>
          <p:spPr>
            <a:xfrm>
              <a:off x="8152997" y="4967718"/>
              <a:ext cx="616086" cy="6248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20</a:t>
              </a:r>
            </a:p>
          </p:txBody>
        </p:sp>
        <p:sp>
          <p:nvSpPr>
            <p:cNvPr id="70" name="Elipse 69">
              <a:extLst>
                <a:ext uri="{FF2B5EF4-FFF2-40B4-BE49-F238E27FC236}">
                  <a16:creationId xmlns:a16="http://schemas.microsoft.com/office/drawing/2014/main" id="{A5281E99-B2E2-4B52-9862-609A6FFE2875}"/>
                </a:ext>
              </a:extLst>
            </p:cNvPr>
            <p:cNvSpPr/>
            <p:nvPr/>
          </p:nvSpPr>
          <p:spPr>
            <a:xfrm>
              <a:off x="10061049" y="4611646"/>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2</a:t>
              </a:r>
            </a:p>
          </p:txBody>
        </p:sp>
        <p:sp>
          <p:nvSpPr>
            <p:cNvPr id="71" name="CaixaDeTexto 70">
              <a:extLst>
                <a:ext uri="{FF2B5EF4-FFF2-40B4-BE49-F238E27FC236}">
                  <a16:creationId xmlns:a16="http://schemas.microsoft.com/office/drawing/2014/main" id="{30E79B4B-33E3-4804-8BA6-52C94B0E174D}"/>
                </a:ext>
              </a:extLst>
            </p:cNvPr>
            <p:cNvSpPr txBox="1"/>
            <p:nvPr/>
          </p:nvSpPr>
          <p:spPr>
            <a:xfrm>
              <a:off x="10215595" y="4779838"/>
              <a:ext cx="370371"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RJ</a:t>
              </a:r>
            </a:p>
          </p:txBody>
        </p:sp>
        <p:sp>
          <p:nvSpPr>
            <p:cNvPr id="72" name="CaixaDeTexto 71">
              <a:extLst>
                <a:ext uri="{FF2B5EF4-FFF2-40B4-BE49-F238E27FC236}">
                  <a16:creationId xmlns:a16="http://schemas.microsoft.com/office/drawing/2014/main" id="{A202D1F6-4E8B-42B5-8501-2A1CCB92A090}"/>
                </a:ext>
              </a:extLst>
            </p:cNvPr>
            <p:cNvSpPr txBox="1"/>
            <p:nvPr/>
          </p:nvSpPr>
          <p:spPr>
            <a:xfrm>
              <a:off x="11057556" y="2112238"/>
              <a:ext cx="423505"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RN</a:t>
              </a:r>
            </a:p>
          </p:txBody>
        </p:sp>
        <p:sp>
          <p:nvSpPr>
            <p:cNvPr id="73" name="Elipse 72">
              <a:extLst>
                <a:ext uri="{FF2B5EF4-FFF2-40B4-BE49-F238E27FC236}">
                  <a16:creationId xmlns:a16="http://schemas.microsoft.com/office/drawing/2014/main" id="{9A46CCDE-D5B8-451C-BD2F-0DD4889FB7A2}"/>
                </a:ext>
              </a:extLst>
            </p:cNvPr>
            <p:cNvSpPr/>
            <p:nvPr/>
          </p:nvSpPr>
          <p:spPr>
            <a:xfrm>
              <a:off x="10860473" y="2197608"/>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a:t>
              </a:r>
            </a:p>
          </p:txBody>
        </p:sp>
        <p:sp>
          <p:nvSpPr>
            <p:cNvPr id="74" name="Elipse 73">
              <a:extLst>
                <a:ext uri="{FF2B5EF4-FFF2-40B4-BE49-F238E27FC236}">
                  <a16:creationId xmlns:a16="http://schemas.microsoft.com/office/drawing/2014/main" id="{E698FFC4-F2B9-44D0-801F-B535D16A2472}"/>
                </a:ext>
              </a:extLst>
            </p:cNvPr>
            <p:cNvSpPr/>
            <p:nvPr/>
          </p:nvSpPr>
          <p:spPr>
            <a:xfrm>
              <a:off x="7317284" y="3212022"/>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2</a:t>
              </a:r>
            </a:p>
          </p:txBody>
        </p:sp>
        <p:sp>
          <p:nvSpPr>
            <p:cNvPr id="75" name="Elipse 74">
              <a:extLst>
                <a:ext uri="{FF2B5EF4-FFF2-40B4-BE49-F238E27FC236}">
                  <a16:creationId xmlns:a16="http://schemas.microsoft.com/office/drawing/2014/main" id="{97C8D4DA-1F43-4BDA-B351-A88BEBA33B93}"/>
                </a:ext>
              </a:extLst>
            </p:cNvPr>
            <p:cNvSpPr/>
            <p:nvPr/>
          </p:nvSpPr>
          <p:spPr>
            <a:xfrm>
              <a:off x="7973403" y="5684674"/>
              <a:ext cx="582041" cy="5902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9</a:t>
              </a:r>
            </a:p>
          </p:txBody>
        </p:sp>
        <p:sp>
          <p:nvSpPr>
            <p:cNvPr id="76" name="Elipse 75">
              <a:extLst>
                <a:ext uri="{FF2B5EF4-FFF2-40B4-BE49-F238E27FC236}">
                  <a16:creationId xmlns:a16="http://schemas.microsoft.com/office/drawing/2014/main" id="{0086C2AF-BAAC-4C26-9FEA-69BB4B1B15BB}"/>
                </a:ext>
              </a:extLst>
            </p:cNvPr>
            <p:cNvSpPr/>
            <p:nvPr/>
          </p:nvSpPr>
          <p:spPr>
            <a:xfrm>
              <a:off x="9212835" y="5519602"/>
              <a:ext cx="371062" cy="3669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7</a:t>
              </a:r>
            </a:p>
          </p:txBody>
        </p:sp>
        <p:sp>
          <p:nvSpPr>
            <p:cNvPr id="77" name="CaixaDeTexto 76">
              <a:extLst>
                <a:ext uri="{FF2B5EF4-FFF2-40B4-BE49-F238E27FC236}">
                  <a16:creationId xmlns:a16="http://schemas.microsoft.com/office/drawing/2014/main" id="{A83DD6A6-5DF8-4A8E-8600-82EE06FC58AB}"/>
                </a:ext>
              </a:extLst>
            </p:cNvPr>
            <p:cNvSpPr txBox="1"/>
            <p:nvPr/>
          </p:nvSpPr>
          <p:spPr>
            <a:xfrm>
              <a:off x="11051348" y="3085752"/>
              <a:ext cx="384146" cy="312120"/>
            </a:xfrm>
            <a:prstGeom prst="rect">
              <a:avLst/>
            </a:prstGeom>
            <a:noFill/>
          </p:spPr>
          <p:txBody>
            <a:bodyPr wrap="none" rtlCol="0">
              <a:spAutoFit/>
            </a:bodyPr>
            <a:lstStyle/>
            <a:p>
              <a:r>
                <a:rPr lang="en-GB" sz="1052" dirty="0">
                  <a:solidFill>
                    <a:schemeClr val="tx2">
                      <a:lumMod val="75000"/>
                    </a:schemeClr>
                  </a:solidFill>
                  <a:ea typeface="ＭＳ Ｐゴシック" charset="-128"/>
                </a:rPr>
                <a:t>SE</a:t>
              </a:r>
            </a:p>
          </p:txBody>
        </p:sp>
        <p:sp>
          <p:nvSpPr>
            <p:cNvPr id="78" name="Elipse 77">
              <a:extLst>
                <a:ext uri="{FF2B5EF4-FFF2-40B4-BE49-F238E27FC236}">
                  <a16:creationId xmlns:a16="http://schemas.microsoft.com/office/drawing/2014/main" id="{9D4A6A8C-056E-47BC-8AB1-B773F41774AA}"/>
                </a:ext>
              </a:extLst>
            </p:cNvPr>
            <p:cNvSpPr/>
            <p:nvPr/>
          </p:nvSpPr>
          <p:spPr>
            <a:xfrm>
              <a:off x="10818199" y="3004048"/>
              <a:ext cx="272523" cy="2792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1</a:t>
              </a:r>
            </a:p>
          </p:txBody>
        </p:sp>
        <p:sp>
          <p:nvSpPr>
            <p:cNvPr id="79" name="Elipse 78">
              <a:extLst>
                <a:ext uri="{FF2B5EF4-FFF2-40B4-BE49-F238E27FC236}">
                  <a16:creationId xmlns:a16="http://schemas.microsoft.com/office/drawing/2014/main" id="{6713CB30-BF80-4D22-B32F-93F5198CE357}"/>
                </a:ext>
              </a:extLst>
            </p:cNvPr>
            <p:cNvSpPr/>
            <p:nvPr/>
          </p:nvSpPr>
          <p:spPr>
            <a:xfrm>
              <a:off x="9387126" y="4728646"/>
              <a:ext cx="671410" cy="6809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228" b="1" dirty="0"/>
                <a:t>75</a:t>
              </a:r>
            </a:p>
          </p:txBody>
        </p:sp>
      </p:grpSp>
      <p:sp>
        <p:nvSpPr>
          <p:cNvPr id="80" name="Título 7">
            <a:extLst>
              <a:ext uri="{FF2B5EF4-FFF2-40B4-BE49-F238E27FC236}">
                <a16:creationId xmlns:a16="http://schemas.microsoft.com/office/drawing/2014/main" id="{9B84C0D1-6CF0-4951-A9AF-66E81476DC95}"/>
              </a:ext>
            </a:extLst>
          </p:cNvPr>
          <p:cNvSpPr txBox="1">
            <a:spLocks/>
          </p:cNvSpPr>
          <p:nvPr/>
        </p:nvSpPr>
        <p:spPr>
          <a:xfrm>
            <a:off x="6181509" y="1554331"/>
            <a:ext cx="3392531" cy="522194"/>
          </a:xfrm>
          <a:prstGeom prst="rect">
            <a:avLst/>
          </a:prstGeom>
        </p:spPr>
        <p:txBody>
          <a:bodyPr vert="horz" lIns="80175" tIns="40088" rIns="80175" bIns="40088" rtlCol="0" anchor="ctr">
            <a:noAutofit/>
          </a:bodyPr>
          <a:lstStyle>
            <a:lvl1pPr algn="r" defTabSz="914400" rtl="0" eaLnBrk="1" latinLnBrk="0" hangingPunct="1">
              <a:spcBef>
                <a:spcPct val="0"/>
              </a:spcBef>
              <a:buNone/>
              <a:defRPr sz="2600" kern="1200">
                <a:solidFill>
                  <a:schemeClr val="accent1"/>
                </a:solidFill>
                <a:latin typeface="Myriad Pro" pitchFamily="34" charset="0"/>
                <a:ea typeface="Verdana" panose="020B0604030504040204" pitchFamily="34" charset="0"/>
                <a:cs typeface="Nirmala UI" panose="020B0502040204020203" pitchFamily="34" charset="0"/>
              </a:defRPr>
            </a:lvl1pPr>
          </a:lstStyle>
          <a:p>
            <a:pPr algn="l"/>
            <a:r>
              <a:rPr lang="pt-BR" sz="1052" i="1" dirty="0">
                <a:solidFill>
                  <a:schemeClr val="accent2"/>
                </a:solidFill>
              </a:rPr>
              <a:t>DISTRIBUIÇÃO GEOGRÁFICA DA </a:t>
            </a:r>
            <a:r>
              <a:rPr lang="pt-BR" sz="1052" b="1" i="1" dirty="0">
                <a:solidFill>
                  <a:schemeClr val="accent2"/>
                </a:solidFill>
              </a:rPr>
              <a:t>AMOSTRA 165</a:t>
            </a:r>
          </a:p>
        </p:txBody>
      </p:sp>
      <p:pic>
        <p:nvPicPr>
          <p:cNvPr id="81" name="Imagem 80">
            <a:extLst>
              <a:ext uri="{FF2B5EF4-FFF2-40B4-BE49-F238E27FC236}">
                <a16:creationId xmlns:a16="http://schemas.microsoft.com/office/drawing/2014/main" id="{BF4D3F57-9238-4FFA-A995-72039C8826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7097" y="6818665"/>
            <a:ext cx="1748571" cy="360000"/>
          </a:xfrm>
          <a:prstGeom prst="rect">
            <a:avLst/>
          </a:prstGeom>
        </p:spPr>
      </p:pic>
      <p:grpSp>
        <p:nvGrpSpPr>
          <p:cNvPr id="82" name="Agrupar 81">
            <a:extLst>
              <a:ext uri="{FF2B5EF4-FFF2-40B4-BE49-F238E27FC236}">
                <a16:creationId xmlns:a16="http://schemas.microsoft.com/office/drawing/2014/main" id="{8E463001-C1A7-42CB-A2CE-2759EAE164BD}"/>
              </a:ext>
            </a:extLst>
          </p:cNvPr>
          <p:cNvGrpSpPr/>
          <p:nvPr/>
        </p:nvGrpSpPr>
        <p:grpSpPr>
          <a:xfrm>
            <a:off x="339228" y="4220259"/>
            <a:ext cx="4916333" cy="1015858"/>
            <a:chOff x="535491" y="5108125"/>
            <a:chExt cx="5607088" cy="1158589"/>
          </a:xfrm>
        </p:grpSpPr>
        <p:grpSp>
          <p:nvGrpSpPr>
            <p:cNvPr id="83" name="Agrupar 82">
              <a:extLst>
                <a:ext uri="{FF2B5EF4-FFF2-40B4-BE49-F238E27FC236}">
                  <a16:creationId xmlns:a16="http://schemas.microsoft.com/office/drawing/2014/main" id="{B0C290C1-9502-4C39-8306-AE4F5EEE935F}"/>
                </a:ext>
              </a:extLst>
            </p:cNvPr>
            <p:cNvGrpSpPr/>
            <p:nvPr/>
          </p:nvGrpSpPr>
          <p:grpSpPr>
            <a:xfrm>
              <a:off x="541985" y="5161801"/>
              <a:ext cx="5600594" cy="1104913"/>
              <a:chOff x="134080" y="4772796"/>
              <a:chExt cx="5873805" cy="1158814"/>
            </a:xfrm>
          </p:grpSpPr>
          <p:pic>
            <p:nvPicPr>
              <p:cNvPr id="88" name="Imagem 87">
                <a:extLst>
                  <a:ext uri="{FF2B5EF4-FFF2-40B4-BE49-F238E27FC236}">
                    <a16:creationId xmlns:a16="http://schemas.microsoft.com/office/drawing/2014/main" id="{F2F48BD6-058B-4F47-928B-D1A0DF099D92}"/>
                  </a:ext>
                </a:extLst>
              </p:cNvPr>
              <p:cNvPicPr>
                <a:picLocks noChangeAspect="1"/>
              </p:cNvPicPr>
              <p:nvPr/>
            </p:nvPicPr>
            <p:blipFill rotWithShape="1">
              <a:blip r:embed="rId5">
                <a:extLst>
                  <a:ext uri="{28A0092B-C50C-407E-A947-70E740481C1C}">
                    <a14:useLocalDpi xmlns:a14="http://schemas.microsoft.com/office/drawing/2010/main" val="0"/>
                  </a:ext>
                </a:extLst>
              </a:blip>
              <a:srcRect l="80636" t="69495" r="15424" b="24301"/>
              <a:stretch/>
            </p:blipFill>
            <p:spPr>
              <a:xfrm>
                <a:off x="1364616" y="4772796"/>
                <a:ext cx="604165" cy="623019"/>
              </a:xfrm>
              <a:prstGeom prst="rect">
                <a:avLst/>
              </a:prstGeom>
            </p:spPr>
          </p:pic>
          <p:sp>
            <p:nvSpPr>
              <p:cNvPr id="89" name="CaixaDeTexto 88">
                <a:extLst>
                  <a:ext uri="{FF2B5EF4-FFF2-40B4-BE49-F238E27FC236}">
                    <a16:creationId xmlns:a16="http://schemas.microsoft.com/office/drawing/2014/main" id="{E5AC8C2C-0942-470F-9808-433A71895092}"/>
                  </a:ext>
                </a:extLst>
              </p:cNvPr>
              <p:cNvSpPr txBox="1"/>
              <p:nvPr/>
            </p:nvSpPr>
            <p:spPr>
              <a:xfrm>
                <a:off x="134080" y="5369117"/>
                <a:ext cx="717497" cy="336468"/>
              </a:xfrm>
              <a:prstGeom prst="rect">
                <a:avLst/>
              </a:prstGeom>
              <a:noFill/>
            </p:spPr>
            <p:txBody>
              <a:bodyPr wrap="none" rtlCol="0">
                <a:spAutoFit/>
              </a:bodyPr>
              <a:lstStyle/>
              <a:p>
                <a:pPr algn="ctr"/>
                <a:r>
                  <a:rPr lang="pt-BR" sz="1228" b="1" dirty="0">
                    <a:solidFill>
                      <a:schemeClr val="bg2">
                        <a:lumMod val="50000"/>
                      </a:schemeClr>
                    </a:solidFill>
                    <a:latin typeface="Myriad Pro"/>
                  </a:rPr>
                  <a:t>Foliar</a:t>
                </a:r>
              </a:p>
            </p:txBody>
          </p:sp>
          <p:sp>
            <p:nvSpPr>
              <p:cNvPr id="90" name="CaixaDeTexto 89">
                <a:extLst>
                  <a:ext uri="{FF2B5EF4-FFF2-40B4-BE49-F238E27FC236}">
                    <a16:creationId xmlns:a16="http://schemas.microsoft.com/office/drawing/2014/main" id="{DE794787-DD71-432A-AE94-E8DC94910FAC}"/>
                  </a:ext>
                </a:extLst>
              </p:cNvPr>
              <p:cNvSpPr txBox="1"/>
              <p:nvPr/>
            </p:nvSpPr>
            <p:spPr>
              <a:xfrm>
                <a:off x="839445" y="5369117"/>
                <a:ext cx="1554639" cy="336468"/>
              </a:xfrm>
              <a:prstGeom prst="rect">
                <a:avLst/>
              </a:prstGeom>
              <a:noFill/>
            </p:spPr>
            <p:txBody>
              <a:bodyPr wrap="none" rtlCol="0">
                <a:spAutoFit/>
              </a:bodyPr>
              <a:lstStyle/>
              <a:p>
                <a:pPr algn="ctr"/>
                <a:r>
                  <a:rPr lang="pt-BR" sz="1228" b="1" dirty="0">
                    <a:solidFill>
                      <a:schemeClr val="bg2">
                        <a:lumMod val="50000"/>
                      </a:schemeClr>
                    </a:solidFill>
                    <a:latin typeface="Myriad Pro"/>
                  </a:rPr>
                  <a:t>Organomineral</a:t>
                </a:r>
              </a:p>
            </p:txBody>
          </p:sp>
          <p:sp>
            <p:nvSpPr>
              <p:cNvPr id="91" name="CaixaDeTexto 90">
                <a:extLst>
                  <a:ext uri="{FF2B5EF4-FFF2-40B4-BE49-F238E27FC236}">
                    <a16:creationId xmlns:a16="http://schemas.microsoft.com/office/drawing/2014/main" id="{488BEF88-81F3-4F5F-BFF1-FD317B27B25A}"/>
                  </a:ext>
                </a:extLst>
              </p:cNvPr>
              <p:cNvSpPr txBox="1"/>
              <p:nvPr/>
            </p:nvSpPr>
            <p:spPr>
              <a:xfrm>
                <a:off x="2388184" y="5369117"/>
                <a:ext cx="1517059" cy="562493"/>
              </a:xfrm>
              <a:prstGeom prst="rect">
                <a:avLst/>
              </a:prstGeom>
              <a:noFill/>
            </p:spPr>
            <p:txBody>
              <a:bodyPr wrap="none" rtlCol="0">
                <a:spAutoFit/>
              </a:bodyPr>
              <a:lstStyle/>
              <a:p>
                <a:pPr algn="ctr"/>
                <a:r>
                  <a:rPr lang="pt-BR" sz="1228" b="1" dirty="0">
                    <a:solidFill>
                      <a:schemeClr val="bg2">
                        <a:lumMod val="50000"/>
                      </a:schemeClr>
                    </a:solidFill>
                    <a:latin typeface="Myriad Pro"/>
                  </a:rPr>
                  <a:t>Condicionador</a:t>
                </a:r>
              </a:p>
              <a:p>
                <a:pPr algn="ctr"/>
                <a:r>
                  <a:rPr lang="pt-BR" sz="1228" b="1" dirty="0">
                    <a:solidFill>
                      <a:schemeClr val="bg2">
                        <a:lumMod val="50000"/>
                      </a:schemeClr>
                    </a:solidFill>
                    <a:latin typeface="Myriad Pro"/>
                  </a:rPr>
                  <a:t>De solo</a:t>
                </a:r>
              </a:p>
            </p:txBody>
          </p:sp>
          <p:sp>
            <p:nvSpPr>
              <p:cNvPr id="92" name="CaixaDeTexto 91">
                <a:extLst>
                  <a:ext uri="{FF2B5EF4-FFF2-40B4-BE49-F238E27FC236}">
                    <a16:creationId xmlns:a16="http://schemas.microsoft.com/office/drawing/2014/main" id="{E8A9BA9A-3570-418B-8A72-D4D7BA6EFFD5}"/>
                  </a:ext>
                </a:extLst>
              </p:cNvPr>
              <p:cNvSpPr txBox="1"/>
              <p:nvPr/>
            </p:nvSpPr>
            <p:spPr>
              <a:xfrm>
                <a:off x="3906602" y="5369119"/>
                <a:ext cx="1027350" cy="336468"/>
              </a:xfrm>
              <a:prstGeom prst="rect">
                <a:avLst/>
              </a:prstGeom>
              <a:noFill/>
            </p:spPr>
            <p:txBody>
              <a:bodyPr wrap="none" rtlCol="0">
                <a:spAutoFit/>
              </a:bodyPr>
              <a:lstStyle/>
              <a:p>
                <a:pPr algn="ctr"/>
                <a:r>
                  <a:rPr lang="pt-BR" sz="1228" b="1" dirty="0">
                    <a:solidFill>
                      <a:schemeClr val="bg2">
                        <a:lumMod val="50000"/>
                      </a:schemeClr>
                    </a:solidFill>
                    <a:latin typeface="Myriad Pro"/>
                  </a:rPr>
                  <a:t>Orgânico</a:t>
                </a:r>
              </a:p>
            </p:txBody>
          </p:sp>
          <p:sp>
            <p:nvSpPr>
              <p:cNvPr id="93" name="CaixaDeTexto 92">
                <a:extLst>
                  <a:ext uri="{FF2B5EF4-FFF2-40B4-BE49-F238E27FC236}">
                    <a16:creationId xmlns:a16="http://schemas.microsoft.com/office/drawing/2014/main" id="{989ADEA2-1ABB-4E77-BAD7-75C2218CE862}"/>
                  </a:ext>
                </a:extLst>
              </p:cNvPr>
              <p:cNvSpPr txBox="1"/>
              <p:nvPr/>
            </p:nvSpPr>
            <p:spPr>
              <a:xfrm>
                <a:off x="4932598" y="5369119"/>
                <a:ext cx="1075287" cy="336468"/>
              </a:xfrm>
              <a:prstGeom prst="rect">
                <a:avLst/>
              </a:prstGeom>
              <a:noFill/>
            </p:spPr>
            <p:txBody>
              <a:bodyPr wrap="none" rtlCol="0">
                <a:spAutoFit/>
              </a:bodyPr>
              <a:lstStyle/>
              <a:p>
                <a:pPr algn="ctr"/>
                <a:r>
                  <a:rPr lang="pt-BR" sz="1228" b="1" dirty="0">
                    <a:solidFill>
                      <a:schemeClr val="bg2">
                        <a:lumMod val="50000"/>
                      </a:schemeClr>
                    </a:solidFill>
                    <a:latin typeface="Myriad Pro"/>
                  </a:rPr>
                  <a:t>Substrato</a:t>
                </a:r>
              </a:p>
            </p:txBody>
          </p:sp>
        </p:grpSp>
        <p:pic>
          <p:nvPicPr>
            <p:cNvPr id="84" name="Imagem 83">
              <a:extLst>
                <a:ext uri="{FF2B5EF4-FFF2-40B4-BE49-F238E27FC236}">
                  <a16:creationId xmlns:a16="http://schemas.microsoft.com/office/drawing/2014/main" id="{2C0C1013-628E-453D-BD77-EB02805A6502}"/>
                </a:ext>
              </a:extLst>
            </p:cNvPr>
            <p:cNvPicPr>
              <a:picLocks noChangeAspect="1"/>
            </p:cNvPicPr>
            <p:nvPr/>
          </p:nvPicPr>
          <p:blipFill rotWithShape="1">
            <a:blip r:embed="rId5">
              <a:extLst>
                <a:ext uri="{28A0092B-C50C-407E-A947-70E740481C1C}">
                  <a14:useLocalDpi xmlns:a14="http://schemas.microsoft.com/office/drawing/2010/main" val="0"/>
                </a:ext>
              </a:extLst>
            </a:blip>
            <a:srcRect l="76017" t="69495" r="19914" b="24388"/>
            <a:stretch/>
          </p:blipFill>
          <p:spPr>
            <a:xfrm>
              <a:off x="535491" y="5147598"/>
              <a:ext cx="595038" cy="585658"/>
            </a:xfrm>
            <a:prstGeom prst="rect">
              <a:avLst/>
            </a:prstGeom>
          </p:spPr>
        </p:pic>
        <p:pic>
          <p:nvPicPr>
            <p:cNvPr id="85" name="Imagem 84">
              <a:extLst>
                <a:ext uri="{FF2B5EF4-FFF2-40B4-BE49-F238E27FC236}">
                  <a16:creationId xmlns:a16="http://schemas.microsoft.com/office/drawing/2014/main" id="{E7BD50FB-DE0A-4E34-978B-FC46567450CC}"/>
                </a:ext>
              </a:extLst>
            </p:cNvPr>
            <p:cNvPicPr>
              <a:picLocks noChangeAspect="1"/>
            </p:cNvPicPr>
            <p:nvPr/>
          </p:nvPicPr>
          <p:blipFill rotWithShape="1">
            <a:blip r:embed="rId5">
              <a:extLst>
                <a:ext uri="{28A0092B-C50C-407E-A947-70E740481C1C}">
                  <a14:useLocalDpi xmlns:a14="http://schemas.microsoft.com/office/drawing/2010/main" val="0"/>
                </a:ext>
              </a:extLst>
            </a:blip>
            <a:srcRect l="84768" t="69187" r="11292" b="24609"/>
            <a:stretch/>
          </p:blipFill>
          <p:spPr>
            <a:xfrm>
              <a:off x="3046547" y="5108125"/>
              <a:ext cx="576063" cy="594042"/>
            </a:xfrm>
            <a:prstGeom prst="rect">
              <a:avLst/>
            </a:prstGeom>
          </p:spPr>
        </p:pic>
        <p:pic>
          <p:nvPicPr>
            <p:cNvPr id="86" name="Imagem 85">
              <a:extLst>
                <a:ext uri="{FF2B5EF4-FFF2-40B4-BE49-F238E27FC236}">
                  <a16:creationId xmlns:a16="http://schemas.microsoft.com/office/drawing/2014/main" id="{702D190C-DA6C-4B98-A0DD-72D56DBDEDB7}"/>
                </a:ext>
              </a:extLst>
            </p:cNvPr>
            <p:cNvPicPr>
              <a:picLocks noChangeAspect="1"/>
            </p:cNvPicPr>
            <p:nvPr/>
          </p:nvPicPr>
          <p:blipFill rotWithShape="1">
            <a:blip r:embed="rId5">
              <a:extLst>
                <a:ext uri="{28A0092B-C50C-407E-A947-70E740481C1C}">
                  <a14:useLocalDpi xmlns:a14="http://schemas.microsoft.com/office/drawing/2010/main" val="0"/>
                </a:ext>
              </a:extLst>
            </a:blip>
            <a:srcRect l="88996" t="69079" r="7064" b="24717"/>
            <a:stretch/>
          </p:blipFill>
          <p:spPr>
            <a:xfrm>
              <a:off x="4329464" y="5108125"/>
              <a:ext cx="576063" cy="594042"/>
            </a:xfrm>
            <a:prstGeom prst="rect">
              <a:avLst/>
            </a:prstGeom>
          </p:spPr>
        </p:pic>
        <p:pic>
          <p:nvPicPr>
            <p:cNvPr id="87" name="Imagem 86">
              <a:extLst>
                <a:ext uri="{FF2B5EF4-FFF2-40B4-BE49-F238E27FC236}">
                  <a16:creationId xmlns:a16="http://schemas.microsoft.com/office/drawing/2014/main" id="{4413F056-BC1D-4A37-BAE5-47956C2E14BC}"/>
                </a:ext>
              </a:extLst>
            </p:cNvPr>
            <p:cNvPicPr>
              <a:picLocks noChangeAspect="1"/>
            </p:cNvPicPr>
            <p:nvPr/>
          </p:nvPicPr>
          <p:blipFill rotWithShape="1">
            <a:blip r:embed="rId5">
              <a:extLst>
                <a:ext uri="{28A0092B-C50C-407E-A947-70E740481C1C}">
                  <a14:useLocalDpi xmlns:a14="http://schemas.microsoft.com/office/drawing/2010/main" val="0"/>
                </a:ext>
              </a:extLst>
            </a:blip>
            <a:srcRect l="93486" t="69167" r="2574" b="24629"/>
            <a:stretch/>
          </p:blipFill>
          <p:spPr>
            <a:xfrm>
              <a:off x="5360991" y="5108125"/>
              <a:ext cx="576063" cy="594042"/>
            </a:xfrm>
            <a:prstGeom prst="rect">
              <a:avLst/>
            </a:prstGeom>
          </p:spPr>
        </p:pic>
      </p:grpSp>
      <p:sp>
        <p:nvSpPr>
          <p:cNvPr id="94" name="Espaço Reservado para Conteúdo 2">
            <a:extLst>
              <a:ext uri="{FF2B5EF4-FFF2-40B4-BE49-F238E27FC236}">
                <a16:creationId xmlns:a16="http://schemas.microsoft.com/office/drawing/2014/main" id="{DAEB0BA8-B17B-453E-93E8-DA9863CE1248}"/>
              </a:ext>
            </a:extLst>
          </p:cNvPr>
          <p:cNvSpPr txBox="1">
            <a:spLocks/>
          </p:cNvSpPr>
          <p:nvPr/>
        </p:nvSpPr>
        <p:spPr>
          <a:xfrm>
            <a:off x="292054" y="2011527"/>
            <a:ext cx="4980454" cy="2036165"/>
          </a:xfrm>
          <a:prstGeom prst="rect">
            <a:avLst/>
          </a:prstGeom>
        </p:spPr>
        <p:txBody>
          <a:bodyPr>
            <a:noAutofit/>
          </a:bodyPr>
          <a:lstStyle>
            <a:lvl1pPr marL="225459" indent="-225459" algn="l" defTabSz="601226" rtl="0" eaLnBrk="1" latinLnBrk="0" hangingPunct="1">
              <a:spcBef>
                <a:spcPct val="20000"/>
              </a:spcBef>
              <a:buFont typeface="Arial" pitchFamily="34" charset="0"/>
              <a:buChar char="•"/>
              <a:defRPr sz="2104" kern="1200">
                <a:solidFill>
                  <a:schemeClr val="tx1"/>
                </a:solidFill>
                <a:latin typeface="+mn-lt"/>
                <a:ea typeface="+mn-ea"/>
                <a:cs typeface="+mn-cs"/>
              </a:defRPr>
            </a:lvl1pPr>
            <a:lvl2pPr marL="488496" indent="-187884" algn="l" defTabSz="601226" rtl="0" eaLnBrk="1" latinLnBrk="0" hangingPunct="1">
              <a:spcBef>
                <a:spcPct val="20000"/>
              </a:spcBef>
              <a:buFont typeface="Arial" pitchFamily="34" charset="0"/>
              <a:buChar char="–"/>
              <a:defRPr sz="1841" kern="1200">
                <a:solidFill>
                  <a:schemeClr val="tx1"/>
                </a:solidFill>
                <a:latin typeface="+mn-lt"/>
                <a:ea typeface="+mn-ea"/>
                <a:cs typeface="+mn-cs"/>
              </a:defRPr>
            </a:lvl2pPr>
            <a:lvl3pPr marL="751532" indent="-150307" algn="l" defTabSz="601226" rtl="0" eaLnBrk="1" latinLnBrk="0" hangingPunct="1">
              <a:spcBef>
                <a:spcPct val="20000"/>
              </a:spcBef>
              <a:buFont typeface="Arial" pitchFamily="34" charset="0"/>
              <a:buChar char="•"/>
              <a:defRPr sz="1578" kern="1200">
                <a:solidFill>
                  <a:schemeClr val="tx1"/>
                </a:solidFill>
                <a:latin typeface="+mn-lt"/>
                <a:ea typeface="+mn-ea"/>
                <a:cs typeface="+mn-cs"/>
              </a:defRPr>
            </a:lvl3pPr>
            <a:lvl4pPr marL="1052145"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4pPr>
            <a:lvl5pPr marL="1352759"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5pPr>
            <a:lvl6pPr marL="1653371"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6pPr>
            <a:lvl7pPr marL="1953985"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7pPr>
            <a:lvl8pPr marL="2254597"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8pPr>
            <a:lvl9pPr marL="2555210" indent="-150307" algn="l" defTabSz="601226" rtl="0" eaLnBrk="1" latinLnBrk="0" hangingPunct="1">
              <a:spcBef>
                <a:spcPct val="20000"/>
              </a:spcBef>
              <a:buFont typeface="Arial" pitchFamily="34" charset="0"/>
              <a:buChar char="•"/>
              <a:defRPr sz="1315" kern="1200">
                <a:solidFill>
                  <a:schemeClr val="tx1"/>
                </a:solidFill>
                <a:latin typeface="+mn-lt"/>
                <a:ea typeface="+mn-ea"/>
                <a:cs typeface="+mn-cs"/>
              </a:defRPr>
            </a:lvl9pPr>
          </a:lstStyle>
          <a:p>
            <a:pPr marL="250546" indent="-250546" fontAlgn="auto">
              <a:lnSpc>
                <a:spcPct val="150000"/>
              </a:lnSpc>
              <a:spcAft>
                <a:spcPts val="0"/>
              </a:spcAft>
              <a:buClr>
                <a:schemeClr val="accent1"/>
              </a:buClr>
            </a:pPr>
            <a:r>
              <a:rPr lang="pt-BR" sz="1578" dirty="0"/>
              <a:t>Análise de </a:t>
            </a:r>
            <a:r>
              <a:rPr lang="pt-BR" sz="1578" b="1" dirty="0"/>
              <a:t>504 empresas </a:t>
            </a:r>
            <a:r>
              <a:rPr lang="pt-BR" sz="1578" dirty="0"/>
              <a:t>registradas e ativas;</a:t>
            </a:r>
          </a:p>
          <a:p>
            <a:pPr marL="250546" indent="-250546" fontAlgn="auto">
              <a:lnSpc>
                <a:spcPct val="150000"/>
              </a:lnSpc>
              <a:spcAft>
                <a:spcPts val="0"/>
              </a:spcAft>
              <a:buClr>
                <a:schemeClr val="accent1"/>
              </a:buClr>
            </a:pPr>
            <a:r>
              <a:rPr lang="pt-BR" sz="1578" dirty="0"/>
              <a:t>Pesquisa de Mercado por amostragem </a:t>
            </a:r>
            <a:r>
              <a:rPr lang="pt-BR" sz="1578" b="1" dirty="0"/>
              <a:t> </a:t>
            </a:r>
            <a:r>
              <a:rPr lang="pt-BR" sz="1578" dirty="0"/>
              <a:t>com nível de confiança de 95%;</a:t>
            </a:r>
          </a:p>
          <a:p>
            <a:pPr marL="250546" indent="-250546" fontAlgn="auto">
              <a:lnSpc>
                <a:spcPct val="150000"/>
              </a:lnSpc>
              <a:spcAft>
                <a:spcPts val="0"/>
              </a:spcAft>
              <a:buClr>
                <a:schemeClr val="accent1"/>
              </a:buClr>
            </a:pPr>
            <a:r>
              <a:rPr lang="pt-BR" sz="1578" dirty="0"/>
              <a:t>Levantamento de dados para 5 segmentos de Tecnologia em Nutrição Vegetal:</a:t>
            </a:r>
          </a:p>
          <a:p>
            <a:pPr fontAlgn="auto">
              <a:spcAft>
                <a:spcPts val="0"/>
              </a:spcAft>
            </a:pPr>
            <a:endParaRPr lang="pt-BR" sz="1578" dirty="0"/>
          </a:p>
        </p:txBody>
      </p:sp>
    </p:spTree>
    <p:extLst>
      <p:ext uri="{BB962C8B-B14F-4D97-AF65-F5344CB8AC3E}">
        <p14:creationId xmlns:p14="http://schemas.microsoft.com/office/powerpoint/2010/main" val="1005983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1292662"/>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Mercado de tecnologia e nutrição especial</a:t>
            </a:r>
          </a:p>
          <a:p>
            <a:pPr lvl="0"/>
            <a:r>
              <a:rPr lang="it-IT" sz="1800" cap="all" dirty="0">
                <a:ln w="19050">
                  <a:noFill/>
                </a:ln>
                <a:solidFill>
                  <a:srgbClr val="163D28"/>
                </a:solidFill>
                <a:latin typeface="Arial" pitchFamily="34" charset="0"/>
                <a:cs typeface="Arial" pitchFamily="34" charset="0"/>
              </a:rPr>
              <a:t>Crecimento anual médio de 13% ao ano </a:t>
            </a:r>
            <a:endParaRPr lang="es-ES_tradnl" sz="2400" cap="all" dirty="0">
              <a:ln w="19050">
                <a:noFill/>
              </a:ln>
              <a:solidFill>
                <a:srgbClr val="163D28"/>
              </a:solidFill>
              <a:latin typeface="Arial" pitchFamily="34" charset="0"/>
              <a:cs typeface="Arial" pitchFamily="34" charset="0"/>
            </a:endParaRPr>
          </a:p>
          <a:p>
            <a:pPr lvl="0"/>
            <a:r>
              <a:rPr lang="de-DE" sz="3000" b="1" cap="all" dirty="0">
                <a:ln w="19050">
                  <a:noFill/>
                </a:ln>
                <a:solidFill>
                  <a:srgbClr val="163D28"/>
                </a:solidFill>
                <a:latin typeface="Arial" pitchFamily="34" charset="0"/>
                <a:cs typeface="Arial" pitchFamily="34" charset="0"/>
              </a:rPr>
              <a:t>  </a:t>
            </a:r>
            <a:endParaRPr lang="it-IT" sz="1000" dirty="0">
              <a:ln w="19050">
                <a:noFill/>
              </a:ln>
              <a:solidFill>
                <a:schemeClr val="tx1">
                  <a:lumMod val="65000"/>
                  <a:lumOff val="35000"/>
                </a:schemeClr>
              </a:solidFill>
              <a:latin typeface="Arial" pitchFamily="34" charset="0"/>
              <a:cs typeface="Arial" pitchFamily="34" charset="0"/>
            </a:endParaRPr>
          </a:p>
        </p:txBody>
      </p:sp>
      <p:graphicFrame>
        <p:nvGraphicFramePr>
          <p:cNvPr id="9" name="Gráfico 8">
            <a:extLst>
              <a:ext uri="{FF2B5EF4-FFF2-40B4-BE49-F238E27FC236}">
                <a16:creationId xmlns:a16="http://schemas.microsoft.com/office/drawing/2014/main" id="{4C5B1B42-388C-4427-820B-BC7F8E0362FC}"/>
              </a:ext>
            </a:extLst>
          </p:cNvPr>
          <p:cNvGraphicFramePr/>
          <p:nvPr>
            <p:extLst/>
          </p:nvPr>
        </p:nvGraphicFramePr>
        <p:xfrm>
          <a:off x="3305909" y="1903519"/>
          <a:ext cx="6761875" cy="4130064"/>
        </p:xfrm>
        <a:graphic>
          <a:graphicData uri="http://schemas.openxmlformats.org/drawingml/2006/chart">
            <c:chart xmlns:c="http://schemas.openxmlformats.org/drawingml/2006/chart" xmlns:r="http://schemas.openxmlformats.org/officeDocument/2006/relationships" r:id="rId4"/>
          </a:graphicData>
        </a:graphic>
      </p:graphicFrame>
      <p:sp>
        <p:nvSpPr>
          <p:cNvPr id="11" name="CaixaDeTexto 10">
            <a:extLst>
              <a:ext uri="{FF2B5EF4-FFF2-40B4-BE49-F238E27FC236}">
                <a16:creationId xmlns:a16="http://schemas.microsoft.com/office/drawing/2014/main" id="{E1300EFC-D205-4031-AC7C-2C035FA92313}"/>
              </a:ext>
            </a:extLst>
          </p:cNvPr>
          <p:cNvSpPr txBox="1"/>
          <p:nvPr/>
        </p:nvSpPr>
        <p:spPr>
          <a:xfrm>
            <a:off x="279204" y="6312876"/>
            <a:ext cx="10409434" cy="307777"/>
          </a:xfrm>
          <a:prstGeom prst="rect">
            <a:avLst/>
          </a:prstGeom>
          <a:noFill/>
        </p:spPr>
        <p:txBody>
          <a:bodyPr wrap="square" rtlCol="0">
            <a:spAutoFit/>
          </a:bodyPr>
          <a:lstStyle/>
          <a:p>
            <a:r>
              <a:rPr lang="pt-BR" sz="1400" dirty="0"/>
              <a:t>Fonte: </a:t>
            </a:r>
            <a:r>
              <a:rPr lang="pt-BR" sz="1400" dirty="0" err="1"/>
              <a:t>Abisolo</a:t>
            </a:r>
            <a:r>
              <a:rPr lang="pt-BR" sz="1400" dirty="0"/>
              <a:t> – Outras categorias incluem: Fertilizante </a:t>
            </a:r>
            <a:r>
              <a:rPr lang="pt-BR" sz="1400" dirty="0" err="1"/>
              <a:t>Organomineral</a:t>
            </a:r>
            <a:r>
              <a:rPr lang="pt-BR" sz="1400" dirty="0"/>
              <a:t>, fertilizante orgânico, condicionador de solo e substrato para plantas</a:t>
            </a:r>
          </a:p>
        </p:txBody>
      </p:sp>
      <p:cxnSp>
        <p:nvCxnSpPr>
          <p:cNvPr id="13" name="Conector de Seta Reta 12">
            <a:extLst>
              <a:ext uri="{FF2B5EF4-FFF2-40B4-BE49-F238E27FC236}">
                <a16:creationId xmlns:a16="http://schemas.microsoft.com/office/drawing/2014/main" id="{C336ED01-F78B-45B8-AB51-F12844D06D4C}"/>
              </a:ext>
            </a:extLst>
          </p:cNvPr>
          <p:cNvCxnSpPr>
            <a:cxnSpLocks/>
          </p:cNvCxnSpPr>
          <p:nvPr/>
        </p:nvCxnSpPr>
        <p:spPr>
          <a:xfrm flipV="1">
            <a:off x="4378567" y="1695770"/>
            <a:ext cx="4949909" cy="906751"/>
          </a:xfrm>
          <a:prstGeom prst="straightConnector1">
            <a:avLst/>
          </a:prstGeom>
          <a:ln>
            <a:prstDash val="dashDot"/>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0CD3237F-6C7A-4358-9193-357B3909B45C}"/>
              </a:ext>
            </a:extLst>
          </p:cNvPr>
          <p:cNvSpPr txBox="1"/>
          <p:nvPr/>
        </p:nvSpPr>
        <p:spPr>
          <a:xfrm>
            <a:off x="5047133" y="1190232"/>
            <a:ext cx="2917129" cy="738664"/>
          </a:xfrm>
          <a:prstGeom prst="rect">
            <a:avLst/>
          </a:prstGeom>
          <a:noFill/>
        </p:spPr>
        <p:txBody>
          <a:bodyPr wrap="square" rtlCol="0">
            <a:spAutoFit/>
          </a:bodyPr>
          <a:lstStyle/>
          <a:p>
            <a:pPr algn="ctr"/>
            <a:r>
              <a:rPr lang="pt-BR" dirty="0"/>
              <a:t>13% a.a. Crescimento anual médio 2014-2018</a:t>
            </a:r>
          </a:p>
        </p:txBody>
      </p:sp>
      <p:sp>
        <p:nvSpPr>
          <p:cNvPr id="24" name="CaixaDeTexto 23">
            <a:extLst>
              <a:ext uri="{FF2B5EF4-FFF2-40B4-BE49-F238E27FC236}">
                <a16:creationId xmlns:a16="http://schemas.microsoft.com/office/drawing/2014/main" id="{C2B4A419-1E07-450F-8293-0A24925CAFE5}"/>
              </a:ext>
            </a:extLst>
          </p:cNvPr>
          <p:cNvSpPr txBox="1"/>
          <p:nvPr/>
        </p:nvSpPr>
        <p:spPr>
          <a:xfrm>
            <a:off x="279204" y="2022237"/>
            <a:ext cx="2323319" cy="1631216"/>
          </a:xfrm>
          <a:prstGeom prst="rect">
            <a:avLst/>
          </a:prstGeom>
          <a:noFill/>
        </p:spPr>
        <p:txBody>
          <a:bodyPr wrap="square" rtlCol="0">
            <a:spAutoFit/>
          </a:bodyPr>
          <a:lstStyle/>
          <a:p>
            <a:pPr algn="ctr"/>
            <a:r>
              <a:rPr lang="pt-BR" sz="2000" dirty="0"/>
              <a:t>De acordo com pesquisa Abisolo, a mercado teve crescimento de 19% em 2018</a:t>
            </a:r>
          </a:p>
        </p:txBody>
      </p:sp>
      <p:cxnSp>
        <p:nvCxnSpPr>
          <p:cNvPr id="26" name="Conector reto 25">
            <a:extLst>
              <a:ext uri="{FF2B5EF4-FFF2-40B4-BE49-F238E27FC236}">
                <a16:creationId xmlns:a16="http://schemas.microsoft.com/office/drawing/2014/main" id="{E199C6FC-EA3D-4701-BE2B-C2820C0DB30A}"/>
              </a:ext>
            </a:extLst>
          </p:cNvPr>
          <p:cNvCxnSpPr/>
          <p:nvPr/>
        </p:nvCxnSpPr>
        <p:spPr>
          <a:xfrm>
            <a:off x="2883877" y="1815594"/>
            <a:ext cx="0" cy="4130064"/>
          </a:xfrm>
          <a:prstGeom prst="line">
            <a:avLst/>
          </a:prstGeom>
        </p:spPr>
        <p:style>
          <a:lnRef idx="1">
            <a:schemeClr val="accent1"/>
          </a:lnRef>
          <a:fillRef idx="0">
            <a:schemeClr val="accent1"/>
          </a:fillRef>
          <a:effectRef idx="0">
            <a:schemeClr val="accent1"/>
          </a:effectRef>
          <a:fontRef idx="minor">
            <a:schemeClr val="tx1"/>
          </a:fontRef>
        </p:style>
      </p:cxnSp>
      <p:pic>
        <p:nvPicPr>
          <p:cNvPr id="12" name="Imagem 11">
            <a:extLst>
              <a:ext uri="{FF2B5EF4-FFF2-40B4-BE49-F238E27FC236}">
                <a16:creationId xmlns:a16="http://schemas.microsoft.com/office/drawing/2014/main" id="{1576B45E-10D9-495D-BC24-CBFD9EBD64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31413" y="6948292"/>
            <a:ext cx="1748571" cy="360000"/>
          </a:xfrm>
          <a:prstGeom prst="rect">
            <a:avLst/>
          </a:prstGeom>
        </p:spPr>
      </p:pic>
      <p:sp>
        <p:nvSpPr>
          <p:cNvPr id="2" name="CaixaDeTexto 1">
            <a:extLst>
              <a:ext uri="{FF2B5EF4-FFF2-40B4-BE49-F238E27FC236}">
                <a16:creationId xmlns:a16="http://schemas.microsoft.com/office/drawing/2014/main" id="{722F200F-848D-4191-A64E-1662B4D5C51C}"/>
              </a:ext>
            </a:extLst>
          </p:cNvPr>
          <p:cNvSpPr txBox="1"/>
          <p:nvPr/>
        </p:nvSpPr>
        <p:spPr>
          <a:xfrm>
            <a:off x="246546" y="4114785"/>
            <a:ext cx="2323317" cy="738664"/>
          </a:xfrm>
          <a:prstGeom prst="rect">
            <a:avLst/>
          </a:prstGeom>
          <a:solidFill>
            <a:schemeClr val="accent6">
              <a:lumMod val="40000"/>
              <a:lumOff val="60000"/>
            </a:schemeClr>
          </a:solidFill>
        </p:spPr>
        <p:txBody>
          <a:bodyPr wrap="square" rtlCol="0">
            <a:spAutoFit/>
          </a:bodyPr>
          <a:lstStyle/>
          <a:p>
            <a:pPr algn="ctr"/>
            <a:r>
              <a:rPr lang="pt-BR" dirty="0"/>
              <a:t>Mercado 2018: R$ 7,6 Bilhões</a:t>
            </a:r>
          </a:p>
        </p:txBody>
      </p:sp>
      <p:sp>
        <p:nvSpPr>
          <p:cNvPr id="15" name="CaixaDeTexto 14">
            <a:extLst>
              <a:ext uri="{FF2B5EF4-FFF2-40B4-BE49-F238E27FC236}">
                <a16:creationId xmlns:a16="http://schemas.microsoft.com/office/drawing/2014/main" id="{10E61438-A932-4F1B-969A-2C5778404F2A}"/>
              </a:ext>
            </a:extLst>
          </p:cNvPr>
          <p:cNvSpPr txBox="1"/>
          <p:nvPr/>
        </p:nvSpPr>
        <p:spPr>
          <a:xfrm>
            <a:off x="243858" y="4989752"/>
            <a:ext cx="2323317" cy="738664"/>
          </a:xfrm>
          <a:prstGeom prst="rect">
            <a:avLst/>
          </a:prstGeom>
          <a:solidFill>
            <a:schemeClr val="accent6">
              <a:lumMod val="40000"/>
              <a:lumOff val="60000"/>
            </a:schemeClr>
          </a:solidFill>
        </p:spPr>
        <p:txBody>
          <a:bodyPr wrap="square" rtlCol="0">
            <a:spAutoFit/>
          </a:bodyPr>
          <a:lstStyle/>
          <a:p>
            <a:pPr algn="ctr"/>
            <a:r>
              <a:rPr lang="pt-BR" dirty="0"/>
              <a:t>70% no segmento foliar (5,2 bi)</a:t>
            </a:r>
          </a:p>
        </p:txBody>
      </p:sp>
    </p:spTree>
    <p:extLst>
      <p:ext uri="{BB962C8B-B14F-4D97-AF65-F5344CB8AC3E}">
        <p14:creationId xmlns:p14="http://schemas.microsoft.com/office/powerpoint/2010/main" val="20035717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992579"/>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Mercado de tecnologia e nutrição especial</a:t>
            </a:r>
          </a:p>
          <a:p>
            <a:pPr lvl="0"/>
            <a:r>
              <a:rPr lang="it-IT" sz="1800" cap="all" dirty="0">
                <a:ln w="19050">
                  <a:noFill/>
                </a:ln>
                <a:solidFill>
                  <a:srgbClr val="163D28"/>
                </a:solidFill>
                <a:latin typeface="Arial" pitchFamily="34" charset="0"/>
                <a:cs typeface="Arial" pitchFamily="34" charset="0"/>
              </a:rPr>
              <a:t>83% de mercado formado por empresas com faturamento &lt; 20 mln</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sp>
        <p:nvSpPr>
          <p:cNvPr id="11" name="CaixaDeTexto 10">
            <a:extLst>
              <a:ext uri="{FF2B5EF4-FFF2-40B4-BE49-F238E27FC236}">
                <a16:creationId xmlns:a16="http://schemas.microsoft.com/office/drawing/2014/main" id="{E1300EFC-D205-4031-AC7C-2C035FA92313}"/>
              </a:ext>
            </a:extLst>
          </p:cNvPr>
          <p:cNvSpPr txBox="1"/>
          <p:nvPr/>
        </p:nvSpPr>
        <p:spPr>
          <a:xfrm>
            <a:off x="1096778" y="6576651"/>
            <a:ext cx="9591860" cy="307777"/>
          </a:xfrm>
          <a:prstGeom prst="rect">
            <a:avLst/>
          </a:prstGeom>
          <a:noFill/>
        </p:spPr>
        <p:txBody>
          <a:bodyPr wrap="square" rtlCol="0">
            <a:spAutoFit/>
          </a:bodyPr>
          <a:lstStyle/>
          <a:p>
            <a:r>
              <a:rPr lang="pt-BR" sz="1400" dirty="0"/>
              <a:t>Fonte: Abisolo 2017</a:t>
            </a:r>
          </a:p>
        </p:txBody>
      </p:sp>
      <p:graphicFrame>
        <p:nvGraphicFramePr>
          <p:cNvPr id="4" name="Gráfico 3">
            <a:extLst>
              <a:ext uri="{FF2B5EF4-FFF2-40B4-BE49-F238E27FC236}">
                <a16:creationId xmlns:a16="http://schemas.microsoft.com/office/drawing/2014/main" id="{4C572E71-516A-4F3E-BDD5-C20393FAAE51}"/>
              </a:ext>
            </a:extLst>
          </p:cNvPr>
          <p:cNvGraphicFramePr/>
          <p:nvPr>
            <p:extLst/>
          </p:nvPr>
        </p:nvGraphicFramePr>
        <p:xfrm>
          <a:off x="3240958" y="1652362"/>
          <a:ext cx="7125759" cy="4750506"/>
        </p:xfrm>
        <a:graphic>
          <a:graphicData uri="http://schemas.openxmlformats.org/drawingml/2006/chart">
            <c:chart xmlns:c="http://schemas.openxmlformats.org/drawingml/2006/chart" xmlns:r="http://schemas.openxmlformats.org/officeDocument/2006/relationships" r:id="rId4"/>
          </a:graphicData>
        </a:graphic>
      </p:graphicFrame>
      <p:sp>
        <p:nvSpPr>
          <p:cNvPr id="5" name="CaixaDeTexto 4">
            <a:extLst>
              <a:ext uri="{FF2B5EF4-FFF2-40B4-BE49-F238E27FC236}">
                <a16:creationId xmlns:a16="http://schemas.microsoft.com/office/drawing/2014/main" id="{43D0313E-A8FF-461D-AA29-CB2E4E0BA484}"/>
              </a:ext>
            </a:extLst>
          </p:cNvPr>
          <p:cNvSpPr txBox="1"/>
          <p:nvPr/>
        </p:nvSpPr>
        <p:spPr>
          <a:xfrm>
            <a:off x="279204" y="1843335"/>
            <a:ext cx="2323319" cy="2554545"/>
          </a:xfrm>
          <a:prstGeom prst="rect">
            <a:avLst/>
          </a:prstGeom>
          <a:noFill/>
        </p:spPr>
        <p:txBody>
          <a:bodyPr wrap="square" rtlCol="0">
            <a:spAutoFit/>
          </a:bodyPr>
          <a:lstStyle/>
          <a:p>
            <a:r>
              <a:rPr lang="pt-BR" sz="2000" dirty="0"/>
              <a:t>Em 2017, 56% das empresas indicaram faturamento abaixo de 5 milhões e apenas 4% das empresas receita superior a 150 milhões</a:t>
            </a:r>
          </a:p>
        </p:txBody>
      </p:sp>
      <p:cxnSp>
        <p:nvCxnSpPr>
          <p:cNvPr id="12" name="Conector reto 11">
            <a:extLst>
              <a:ext uri="{FF2B5EF4-FFF2-40B4-BE49-F238E27FC236}">
                <a16:creationId xmlns:a16="http://schemas.microsoft.com/office/drawing/2014/main" id="{334EA75C-1AB2-4BF9-9647-E01A25862691}"/>
              </a:ext>
            </a:extLst>
          </p:cNvPr>
          <p:cNvCxnSpPr/>
          <p:nvPr/>
        </p:nvCxnSpPr>
        <p:spPr>
          <a:xfrm>
            <a:off x="2883877" y="1815594"/>
            <a:ext cx="0" cy="4130064"/>
          </a:xfrm>
          <a:prstGeom prst="line">
            <a:avLst/>
          </a:prstGeom>
        </p:spPr>
        <p:style>
          <a:lnRef idx="1">
            <a:schemeClr val="accent1"/>
          </a:lnRef>
          <a:fillRef idx="0">
            <a:schemeClr val="accent1"/>
          </a:fillRef>
          <a:effectRef idx="0">
            <a:schemeClr val="accent1"/>
          </a:effectRef>
          <a:fontRef idx="minor">
            <a:schemeClr val="tx1"/>
          </a:fontRef>
        </p:style>
      </p:cxnSp>
      <p:pic>
        <p:nvPicPr>
          <p:cNvPr id="13" name="Imagem 12">
            <a:extLst>
              <a:ext uri="{FF2B5EF4-FFF2-40B4-BE49-F238E27FC236}">
                <a16:creationId xmlns:a16="http://schemas.microsoft.com/office/drawing/2014/main" id="{9EC68A0F-3F8B-4973-BB22-A0B9DF6820B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31413" y="6948292"/>
            <a:ext cx="1748571" cy="360000"/>
          </a:xfrm>
          <a:prstGeom prst="rect">
            <a:avLst/>
          </a:prstGeom>
        </p:spPr>
      </p:pic>
      <p:pic>
        <p:nvPicPr>
          <p:cNvPr id="14" name="Immagine 5">
            <a:extLst>
              <a:ext uri="{FF2B5EF4-FFF2-40B4-BE49-F238E27FC236}">
                <a16:creationId xmlns:a16="http://schemas.microsoft.com/office/drawing/2014/main" id="{A61A42FD-4210-4626-8EC4-0A60B9D843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75741" y="1268327"/>
            <a:ext cx="1456954" cy="420503"/>
          </a:xfrm>
          <a:prstGeom prst="rect">
            <a:avLst/>
          </a:prstGeom>
        </p:spPr>
      </p:pic>
      <p:cxnSp>
        <p:nvCxnSpPr>
          <p:cNvPr id="3" name="Conector de Seta Reta 2">
            <a:extLst>
              <a:ext uri="{FF2B5EF4-FFF2-40B4-BE49-F238E27FC236}">
                <a16:creationId xmlns:a16="http://schemas.microsoft.com/office/drawing/2014/main" id="{A2A5531C-750B-453A-B4E4-16F6A169D035}"/>
              </a:ext>
            </a:extLst>
          </p:cNvPr>
          <p:cNvCxnSpPr>
            <a:cxnSpLocks/>
          </p:cNvCxnSpPr>
          <p:nvPr/>
        </p:nvCxnSpPr>
        <p:spPr>
          <a:xfrm>
            <a:off x="4436186" y="1843335"/>
            <a:ext cx="1195227" cy="347415"/>
          </a:xfrm>
          <a:prstGeom prst="straightConnector1">
            <a:avLst/>
          </a:prstGeom>
          <a:ln w="28575">
            <a:solidFill>
              <a:schemeClr val="bg1">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CaixaDeTexto 15">
            <a:extLst>
              <a:ext uri="{FF2B5EF4-FFF2-40B4-BE49-F238E27FC236}">
                <a16:creationId xmlns:a16="http://schemas.microsoft.com/office/drawing/2014/main" id="{599FC242-CF97-41FF-B551-D444C124D023}"/>
              </a:ext>
            </a:extLst>
          </p:cNvPr>
          <p:cNvSpPr txBox="1"/>
          <p:nvPr/>
        </p:nvSpPr>
        <p:spPr>
          <a:xfrm>
            <a:off x="5287224" y="1246031"/>
            <a:ext cx="4533900" cy="415498"/>
          </a:xfrm>
          <a:prstGeom prst="rect">
            <a:avLst/>
          </a:prstGeom>
          <a:noFill/>
        </p:spPr>
        <p:txBody>
          <a:bodyPr wrap="square" rtlCol="0">
            <a:spAutoFit/>
          </a:bodyPr>
          <a:lstStyle/>
          <a:p>
            <a:r>
              <a:rPr lang="pt-BR" dirty="0"/>
              <a:t>+450 empresas  Fat. Inferior a </a:t>
            </a:r>
            <a:r>
              <a:rPr lang="pt-BR" dirty="0" err="1"/>
              <a:t>Valagro</a:t>
            </a:r>
            <a:endParaRPr lang="pt-BR" dirty="0"/>
          </a:p>
        </p:txBody>
      </p:sp>
    </p:spTree>
    <p:extLst>
      <p:ext uri="{BB962C8B-B14F-4D97-AF65-F5344CB8AC3E}">
        <p14:creationId xmlns:p14="http://schemas.microsoft.com/office/powerpoint/2010/main" val="1593806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715581"/>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Quem irá vencer neste mercado?</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pic>
        <p:nvPicPr>
          <p:cNvPr id="1026" name="Picture 2" descr="Resultado de imagem para 100 metros rasos">
            <a:extLst>
              <a:ext uri="{FF2B5EF4-FFF2-40B4-BE49-F238E27FC236}">
                <a16:creationId xmlns:a16="http://schemas.microsoft.com/office/drawing/2014/main" id="{6C563AF2-F8BD-4E09-AFBC-178CBF275A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9564" y="833502"/>
            <a:ext cx="8867204" cy="58970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4124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BD3134C4-FADE-4CEE-8458-42137E0D74C8}"/>
              </a:ext>
            </a:extLst>
          </p:cNvPr>
          <p:cNvSpPr txBox="1"/>
          <p:nvPr/>
        </p:nvSpPr>
        <p:spPr>
          <a:xfrm>
            <a:off x="1366681" y="2329271"/>
            <a:ext cx="7387042" cy="375616"/>
          </a:xfrm>
          <a:prstGeom prst="rect">
            <a:avLst/>
          </a:prstGeom>
          <a:noFill/>
        </p:spPr>
        <p:txBody>
          <a:bodyPr wrap="square" rtlCol="0">
            <a:spAutoFit/>
          </a:bodyPr>
          <a:lstStyle/>
          <a:p>
            <a:endParaRPr lang="pt-BR" sz="1841" dirty="0"/>
          </a:p>
        </p:txBody>
      </p:sp>
      <p:pic>
        <p:nvPicPr>
          <p:cNvPr id="4" name="Immagine 8" descr="base_GC_2015.jpg">
            <a:extLst>
              <a:ext uri="{FF2B5EF4-FFF2-40B4-BE49-F238E27FC236}">
                <a16:creationId xmlns:a16="http://schemas.microsoft.com/office/drawing/2014/main" id="{A6967BFB-482F-4D9D-BDA4-C11951FC3CAF}"/>
              </a:ext>
            </a:extLst>
          </p:cNvPr>
          <p:cNvPicPr>
            <a:picLocks noChangeAspect="1"/>
          </p:cNvPicPr>
          <p:nvPr/>
        </p:nvPicPr>
        <p:blipFill>
          <a:blip r:embed="rId2" cstate="print"/>
          <a:srcRect l="75987" t="86747"/>
          <a:stretch>
            <a:fillRect/>
          </a:stretch>
        </p:blipFill>
        <p:spPr>
          <a:xfrm>
            <a:off x="2440012" y="2342799"/>
            <a:ext cx="5154283" cy="2133134"/>
          </a:xfrm>
          <a:prstGeom prst="rect">
            <a:avLst/>
          </a:prstGeom>
        </p:spPr>
      </p:pic>
      <p:sp>
        <p:nvSpPr>
          <p:cNvPr id="3" name="Retângulo 2">
            <a:extLst>
              <a:ext uri="{FF2B5EF4-FFF2-40B4-BE49-F238E27FC236}">
                <a16:creationId xmlns:a16="http://schemas.microsoft.com/office/drawing/2014/main" id="{2D938E8D-AB4E-43BE-83A6-3522C81FB96F}"/>
              </a:ext>
            </a:extLst>
          </p:cNvPr>
          <p:cNvSpPr/>
          <p:nvPr/>
        </p:nvSpPr>
        <p:spPr>
          <a:xfrm>
            <a:off x="8627449" y="5486127"/>
            <a:ext cx="2061190" cy="1301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841"/>
          </a:p>
        </p:txBody>
      </p:sp>
      <p:cxnSp>
        <p:nvCxnSpPr>
          <p:cNvPr id="6" name="Conector reto 5">
            <a:extLst>
              <a:ext uri="{FF2B5EF4-FFF2-40B4-BE49-F238E27FC236}">
                <a16:creationId xmlns:a16="http://schemas.microsoft.com/office/drawing/2014/main" id="{23CA1D08-6540-45B6-8FC0-C2C0748CA3C9}"/>
              </a:ext>
            </a:extLst>
          </p:cNvPr>
          <p:cNvCxnSpPr>
            <a:cxnSpLocks/>
          </p:cNvCxnSpPr>
          <p:nvPr/>
        </p:nvCxnSpPr>
        <p:spPr>
          <a:xfrm>
            <a:off x="4712948" y="4286522"/>
            <a:ext cx="2272936" cy="0"/>
          </a:xfrm>
          <a:prstGeom prst="line">
            <a:avLst/>
          </a:prstGeom>
          <a:ln w="38100">
            <a:solidFill>
              <a:srgbClr val="C00000"/>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86976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5708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4555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5708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715581"/>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Quem garantir continuidade a longo prazo</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grpSp>
        <p:nvGrpSpPr>
          <p:cNvPr id="26" name="Agrupar 25">
            <a:extLst>
              <a:ext uri="{FF2B5EF4-FFF2-40B4-BE49-F238E27FC236}">
                <a16:creationId xmlns:a16="http://schemas.microsoft.com/office/drawing/2014/main" id="{CA20BD5B-EE16-4096-AD11-AA55D4B86912}"/>
              </a:ext>
            </a:extLst>
          </p:cNvPr>
          <p:cNvGrpSpPr/>
          <p:nvPr/>
        </p:nvGrpSpPr>
        <p:grpSpPr>
          <a:xfrm>
            <a:off x="482963" y="1292093"/>
            <a:ext cx="3288937" cy="1220855"/>
            <a:chOff x="482963" y="1292093"/>
            <a:chExt cx="2647941" cy="1220855"/>
          </a:xfrm>
        </p:grpSpPr>
        <p:sp>
          <p:nvSpPr>
            <p:cNvPr id="3" name="CaixaDeTexto 2">
              <a:extLst>
                <a:ext uri="{FF2B5EF4-FFF2-40B4-BE49-F238E27FC236}">
                  <a16:creationId xmlns:a16="http://schemas.microsoft.com/office/drawing/2014/main" id="{2AA2BA6C-803E-411F-AD00-811E2ADE4942}"/>
                </a:ext>
              </a:extLst>
            </p:cNvPr>
            <p:cNvSpPr txBox="1"/>
            <p:nvPr/>
          </p:nvSpPr>
          <p:spPr>
            <a:xfrm>
              <a:off x="629206" y="1487021"/>
              <a:ext cx="2355454" cy="830997"/>
            </a:xfrm>
            <a:prstGeom prst="rect">
              <a:avLst/>
            </a:prstGeom>
            <a:noFill/>
          </p:spPr>
          <p:txBody>
            <a:bodyPr wrap="square" rtlCol="0">
              <a:spAutoFit/>
            </a:bodyPr>
            <a:lstStyle/>
            <a:p>
              <a:pPr algn="ctr"/>
              <a:r>
                <a:rPr lang="pt-BR" sz="2400" dirty="0">
                  <a:effectLst>
                    <a:outerShdw blurRad="38100" dist="38100" dir="2700000" algn="tl">
                      <a:srgbClr val="000000">
                        <a:alpha val="43137"/>
                      </a:srgbClr>
                    </a:outerShdw>
                  </a:effectLst>
                </a:rPr>
                <a:t>Real capacidade de Inovação e tecnologia</a:t>
              </a:r>
            </a:p>
          </p:txBody>
        </p:sp>
        <p:sp>
          <p:nvSpPr>
            <p:cNvPr id="18" name="Elipse 17">
              <a:extLst>
                <a:ext uri="{FF2B5EF4-FFF2-40B4-BE49-F238E27FC236}">
                  <a16:creationId xmlns:a16="http://schemas.microsoft.com/office/drawing/2014/main" id="{E9EB176C-49A6-400D-8D6B-B11F780E6048}"/>
                </a:ext>
              </a:extLst>
            </p:cNvPr>
            <p:cNvSpPr/>
            <p:nvPr/>
          </p:nvSpPr>
          <p:spPr>
            <a:xfrm>
              <a:off x="482963" y="1292093"/>
              <a:ext cx="2647941"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2" name="Agrupar 31">
            <a:extLst>
              <a:ext uri="{FF2B5EF4-FFF2-40B4-BE49-F238E27FC236}">
                <a16:creationId xmlns:a16="http://schemas.microsoft.com/office/drawing/2014/main" id="{7F8830D9-896C-47FC-AF20-3938C4F79605}"/>
              </a:ext>
            </a:extLst>
          </p:cNvPr>
          <p:cNvGrpSpPr/>
          <p:nvPr/>
        </p:nvGrpSpPr>
        <p:grpSpPr>
          <a:xfrm>
            <a:off x="4441358" y="1196722"/>
            <a:ext cx="4594438" cy="1220855"/>
            <a:chOff x="3130904" y="2611282"/>
            <a:chExt cx="4594438" cy="1220855"/>
          </a:xfrm>
        </p:grpSpPr>
        <p:sp>
          <p:nvSpPr>
            <p:cNvPr id="14" name="CaixaDeTexto 13">
              <a:extLst>
                <a:ext uri="{FF2B5EF4-FFF2-40B4-BE49-F238E27FC236}">
                  <a16:creationId xmlns:a16="http://schemas.microsoft.com/office/drawing/2014/main" id="{1D60F7FA-8408-45BB-B521-2B67BBF0D5E6}"/>
                </a:ext>
              </a:extLst>
            </p:cNvPr>
            <p:cNvSpPr txBox="1"/>
            <p:nvPr/>
          </p:nvSpPr>
          <p:spPr>
            <a:xfrm>
              <a:off x="3435347" y="2732249"/>
              <a:ext cx="4030858" cy="830997"/>
            </a:xfrm>
            <a:prstGeom prst="rect">
              <a:avLst/>
            </a:prstGeom>
            <a:noFill/>
          </p:spPr>
          <p:txBody>
            <a:bodyPr wrap="square" rtlCol="0">
              <a:spAutoFit/>
            </a:bodyPr>
            <a:lstStyle/>
            <a:p>
              <a:pPr algn="ctr"/>
              <a:r>
                <a:rPr lang="pt-BR" sz="2400" dirty="0">
                  <a:effectLst>
                    <a:outerShdw blurRad="38100" dist="38100" dir="2700000" algn="tl">
                      <a:srgbClr val="000000">
                        <a:alpha val="43137"/>
                      </a:srgbClr>
                    </a:outerShdw>
                  </a:effectLst>
                </a:rPr>
                <a:t>Robustos investimentos em Pesquisa &amp; Desenvolvimento</a:t>
              </a:r>
            </a:p>
          </p:txBody>
        </p:sp>
        <p:sp>
          <p:nvSpPr>
            <p:cNvPr id="20" name="Elipse 19">
              <a:extLst>
                <a:ext uri="{FF2B5EF4-FFF2-40B4-BE49-F238E27FC236}">
                  <a16:creationId xmlns:a16="http://schemas.microsoft.com/office/drawing/2014/main" id="{E6FB5492-86DF-481A-A7A6-91F19048CC5C}"/>
                </a:ext>
              </a:extLst>
            </p:cNvPr>
            <p:cNvSpPr/>
            <p:nvPr/>
          </p:nvSpPr>
          <p:spPr>
            <a:xfrm>
              <a:off x="3130904" y="2611282"/>
              <a:ext cx="4594438"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1" name="Agrupar 30">
            <a:extLst>
              <a:ext uri="{FF2B5EF4-FFF2-40B4-BE49-F238E27FC236}">
                <a16:creationId xmlns:a16="http://schemas.microsoft.com/office/drawing/2014/main" id="{11CC8884-EAD4-4E0F-837A-1973E5EEB3DB}"/>
              </a:ext>
            </a:extLst>
          </p:cNvPr>
          <p:cNvGrpSpPr/>
          <p:nvPr/>
        </p:nvGrpSpPr>
        <p:grpSpPr>
          <a:xfrm>
            <a:off x="2653454" y="2867244"/>
            <a:ext cx="2384048" cy="841259"/>
            <a:chOff x="681743" y="4005811"/>
            <a:chExt cx="2384048" cy="841259"/>
          </a:xfrm>
        </p:grpSpPr>
        <p:sp>
          <p:nvSpPr>
            <p:cNvPr id="15" name="CaixaDeTexto 14">
              <a:extLst>
                <a:ext uri="{FF2B5EF4-FFF2-40B4-BE49-F238E27FC236}">
                  <a16:creationId xmlns:a16="http://schemas.microsoft.com/office/drawing/2014/main" id="{870BAC89-4E53-4B94-B1A3-FCF8C235447F}"/>
                </a:ext>
              </a:extLst>
            </p:cNvPr>
            <p:cNvSpPr txBox="1"/>
            <p:nvPr/>
          </p:nvSpPr>
          <p:spPr>
            <a:xfrm>
              <a:off x="681743" y="4155392"/>
              <a:ext cx="2384048" cy="461665"/>
            </a:xfrm>
            <a:prstGeom prst="rect">
              <a:avLst/>
            </a:prstGeom>
            <a:noFill/>
          </p:spPr>
          <p:txBody>
            <a:bodyPr wrap="square" rtlCol="0">
              <a:spAutoFit/>
            </a:bodyPr>
            <a:lstStyle/>
            <a:p>
              <a:pPr algn="ctr"/>
              <a:r>
                <a:rPr lang="pt-BR" sz="2400" dirty="0">
                  <a:effectLst>
                    <a:outerShdw blurRad="38100" dist="38100" dir="2700000" algn="tl">
                      <a:srgbClr val="000000">
                        <a:alpha val="43137"/>
                      </a:srgbClr>
                    </a:outerShdw>
                  </a:effectLst>
                </a:rPr>
                <a:t>Patentes</a:t>
              </a:r>
            </a:p>
          </p:txBody>
        </p:sp>
        <p:sp>
          <p:nvSpPr>
            <p:cNvPr id="21" name="Elipse 20">
              <a:extLst>
                <a:ext uri="{FF2B5EF4-FFF2-40B4-BE49-F238E27FC236}">
                  <a16:creationId xmlns:a16="http://schemas.microsoft.com/office/drawing/2014/main" id="{0F8F3EA7-0C82-4A97-94A5-E9401315BC10}"/>
                </a:ext>
              </a:extLst>
            </p:cNvPr>
            <p:cNvSpPr/>
            <p:nvPr/>
          </p:nvSpPr>
          <p:spPr>
            <a:xfrm>
              <a:off x="681743" y="4005811"/>
              <a:ext cx="2384048" cy="84125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0" name="Agrupar 29">
            <a:extLst>
              <a:ext uri="{FF2B5EF4-FFF2-40B4-BE49-F238E27FC236}">
                <a16:creationId xmlns:a16="http://schemas.microsoft.com/office/drawing/2014/main" id="{D0EE37FF-2A0F-43C9-A846-5CEDCB4C570A}"/>
              </a:ext>
            </a:extLst>
          </p:cNvPr>
          <p:cNvGrpSpPr/>
          <p:nvPr/>
        </p:nvGrpSpPr>
        <p:grpSpPr>
          <a:xfrm>
            <a:off x="334279" y="4044613"/>
            <a:ext cx="3833566" cy="1220855"/>
            <a:chOff x="1550504" y="5374333"/>
            <a:chExt cx="3833566" cy="1220855"/>
          </a:xfrm>
        </p:grpSpPr>
        <p:sp>
          <p:nvSpPr>
            <p:cNvPr id="17" name="CaixaDeTexto 16">
              <a:extLst>
                <a:ext uri="{FF2B5EF4-FFF2-40B4-BE49-F238E27FC236}">
                  <a16:creationId xmlns:a16="http://schemas.microsoft.com/office/drawing/2014/main" id="{25E721A6-2896-472C-90C7-0C1BF3CDA181}"/>
                </a:ext>
              </a:extLst>
            </p:cNvPr>
            <p:cNvSpPr txBox="1"/>
            <p:nvPr/>
          </p:nvSpPr>
          <p:spPr>
            <a:xfrm>
              <a:off x="1726535" y="5575668"/>
              <a:ext cx="3301259" cy="830997"/>
            </a:xfrm>
            <a:prstGeom prst="rect">
              <a:avLst/>
            </a:prstGeom>
            <a:noFill/>
          </p:spPr>
          <p:txBody>
            <a:bodyPr wrap="square" rtlCol="0">
              <a:spAutoFit/>
            </a:bodyPr>
            <a:lstStyle/>
            <a:p>
              <a:pPr algn="ctr"/>
              <a:r>
                <a:rPr lang="pt-BR" sz="2400" dirty="0">
                  <a:effectLst>
                    <a:outerShdw blurRad="38100" dist="38100" dir="2700000" algn="tl">
                      <a:srgbClr val="000000">
                        <a:alpha val="43137"/>
                      </a:srgbClr>
                    </a:outerShdw>
                  </a:effectLst>
                </a:rPr>
                <a:t>Rigorosos processos produtivos</a:t>
              </a:r>
            </a:p>
          </p:txBody>
        </p:sp>
        <p:sp>
          <p:nvSpPr>
            <p:cNvPr id="22" name="Elipse 21">
              <a:extLst>
                <a:ext uri="{FF2B5EF4-FFF2-40B4-BE49-F238E27FC236}">
                  <a16:creationId xmlns:a16="http://schemas.microsoft.com/office/drawing/2014/main" id="{7C5A6052-4F63-447A-A2A5-38E0E6A5CD69}"/>
                </a:ext>
              </a:extLst>
            </p:cNvPr>
            <p:cNvSpPr/>
            <p:nvPr/>
          </p:nvSpPr>
          <p:spPr>
            <a:xfrm>
              <a:off x="1550504" y="5374333"/>
              <a:ext cx="3833566"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8" name="Agrupar 27">
            <a:extLst>
              <a:ext uri="{FF2B5EF4-FFF2-40B4-BE49-F238E27FC236}">
                <a16:creationId xmlns:a16="http://schemas.microsoft.com/office/drawing/2014/main" id="{90D60669-EE4B-44C8-AE87-55B09CCCA483}"/>
              </a:ext>
            </a:extLst>
          </p:cNvPr>
          <p:cNvGrpSpPr/>
          <p:nvPr/>
        </p:nvGrpSpPr>
        <p:grpSpPr>
          <a:xfrm>
            <a:off x="5828554" y="2865042"/>
            <a:ext cx="4214987" cy="1220855"/>
            <a:chOff x="6297512" y="3900613"/>
            <a:chExt cx="4214987" cy="1220855"/>
          </a:xfrm>
        </p:grpSpPr>
        <p:sp>
          <p:nvSpPr>
            <p:cNvPr id="16" name="CaixaDeTexto 15">
              <a:extLst>
                <a:ext uri="{FF2B5EF4-FFF2-40B4-BE49-F238E27FC236}">
                  <a16:creationId xmlns:a16="http://schemas.microsoft.com/office/drawing/2014/main" id="{E27B788D-C8D3-41CB-A247-41ED6137A293}"/>
                </a:ext>
              </a:extLst>
            </p:cNvPr>
            <p:cNvSpPr txBox="1"/>
            <p:nvPr/>
          </p:nvSpPr>
          <p:spPr>
            <a:xfrm>
              <a:off x="6645918" y="4095543"/>
              <a:ext cx="3728839" cy="830997"/>
            </a:xfrm>
            <a:prstGeom prst="rect">
              <a:avLst/>
            </a:prstGeom>
            <a:noFill/>
          </p:spPr>
          <p:txBody>
            <a:bodyPr wrap="square" rtlCol="0">
              <a:spAutoFit/>
            </a:bodyPr>
            <a:lstStyle/>
            <a:p>
              <a:pPr algn="ctr"/>
              <a:r>
                <a:rPr lang="pt-BR" sz="2400" dirty="0">
                  <a:effectLst>
                    <a:outerShdw blurRad="38100" dist="38100" dir="2700000" algn="tl">
                      <a:srgbClr val="000000">
                        <a:alpha val="43137"/>
                      </a:srgbClr>
                    </a:outerShdw>
                  </a:effectLst>
                </a:rPr>
                <a:t>Controle sobre </a:t>
              </a:r>
              <a:r>
                <a:rPr lang="pt-BR" sz="2400" dirty="0" err="1">
                  <a:effectLst>
                    <a:outerShdw blurRad="38100" dist="38100" dir="2700000" algn="tl">
                      <a:srgbClr val="000000">
                        <a:alpha val="43137"/>
                      </a:srgbClr>
                    </a:outerShdw>
                  </a:effectLst>
                </a:rPr>
                <a:t>originação</a:t>
              </a:r>
              <a:r>
                <a:rPr lang="pt-BR" sz="2400" dirty="0">
                  <a:effectLst>
                    <a:outerShdw blurRad="38100" dist="38100" dir="2700000" algn="tl">
                      <a:srgbClr val="000000">
                        <a:alpha val="43137"/>
                      </a:srgbClr>
                    </a:outerShdw>
                  </a:effectLst>
                </a:rPr>
                <a:t> de matérias primas</a:t>
              </a:r>
            </a:p>
          </p:txBody>
        </p:sp>
        <p:sp>
          <p:nvSpPr>
            <p:cNvPr id="23" name="Elipse 22">
              <a:extLst>
                <a:ext uri="{FF2B5EF4-FFF2-40B4-BE49-F238E27FC236}">
                  <a16:creationId xmlns:a16="http://schemas.microsoft.com/office/drawing/2014/main" id="{E9391899-7B88-40C8-83CD-E4DEAD49C8DB}"/>
                </a:ext>
              </a:extLst>
            </p:cNvPr>
            <p:cNvSpPr/>
            <p:nvPr/>
          </p:nvSpPr>
          <p:spPr>
            <a:xfrm>
              <a:off x="6297512" y="3900613"/>
              <a:ext cx="4214987"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9" name="Agrupar 28">
            <a:extLst>
              <a:ext uri="{FF2B5EF4-FFF2-40B4-BE49-F238E27FC236}">
                <a16:creationId xmlns:a16="http://schemas.microsoft.com/office/drawing/2014/main" id="{B0F6618C-699D-49E1-8019-E2CD8FED67F2}"/>
              </a:ext>
            </a:extLst>
          </p:cNvPr>
          <p:cNvGrpSpPr/>
          <p:nvPr/>
        </p:nvGrpSpPr>
        <p:grpSpPr>
          <a:xfrm>
            <a:off x="4943093" y="4251218"/>
            <a:ext cx="3833566" cy="1220855"/>
            <a:chOff x="5996612" y="5367709"/>
            <a:chExt cx="3833566" cy="1220855"/>
          </a:xfrm>
        </p:grpSpPr>
        <p:sp>
          <p:nvSpPr>
            <p:cNvPr id="24" name="CaixaDeTexto 23">
              <a:extLst>
                <a:ext uri="{FF2B5EF4-FFF2-40B4-BE49-F238E27FC236}">
                  <a16:creationId xmlns:a16="http://schemas.microsoft.com/office/drawing/2014/main" id="{8B8A14E2-7DE7-4717-8CAD-AB660AAAF9D6}"/>
                </a:ext>
              </a:extLst>
            </p:cNvPr>
            <p:cNvSpPr txBox="1"/>
            <p:nvPr/>
          </p:nvSpPr>
          <p:spPr>
            <a:xfrm>
              <a:off x="6172643" y="5569044"/>
              <a:ext cx="3301259" cy="830997"/>
            </a:xfrm>
            <a:prstGeom prst="rect">
              <a:avLst/>
            </a:prstGeom>
            <a:noFill/>
          </p:spPr>
          <p:txBody>
            <a:bodyPr wrap="square" rtlCol="0">
              <a:spAutoFit/>
            </a:bodyPr>
            <a:lstStyle/>
            <a:p>
              <a:pPr algn="ctr"/>
              <a:r>
                <a:rPr lang="pt-BR" sz="2400" dirty="0">
                  <a:effectLst>
                    <a:outerShdw blurRad="38100" dist="38100" dir="2700000" algn="tl">
                      <a:srgbClr val="000000">
                        <a:alpha val="43137"/>
                      </a:srgbClr>
                    </a:outerShdw>
                  </a:effectLst>
                </a:rPr>
                <a:t>Equipe técnica altamente qualificada</a:t>
              </a:r>
            </a:p>
          </p:txBody>
        </p:sp>
        <p:sp>
          <p:nvSpPr>
            <p:cNvPr id="25" name="Elipse 24">
              <a:extLst>
                <a:ext uri="{FF2B5EF4-FFF2-40B4-BE49-F238E27FC236}">
                  <a16:creationId xmlns:a16="http://schemas.microsoft.com/office/drawing/2014/main" id="{57FBFF2F-C6FF-4AB1-ADF3-18D1DD52498B}"/>
                </a:ext>
              </a:extLst>
            </p:cNvPr>
            <p:cNvSpPr/>
            <p:nvPr/>
          </p:nvSpPr>
          <p:spPr>
            <a:xfrm>
              <a:off x="5996612" y="5367709"/>
              <a:ext cx="3833566"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3" name="Agrupar 32">
            <a:extLst>
              <a:ext uri="{FF2B5EF4-FFF2-40B4-BE49-F238E27FC236}">
                <a16:creationId xmlns:a16="http://schemas.microsoft.com/office/drawing/2014/main" id="{6D1D2068-E319-4905-8BE1-62F36ADAED3F}"/>
              </a:ext>
            </a:extLst>
          </p:cNvPr>
          <p:cNvGrpSpPr/>
          <p:nvPr/>
        </p:nvGrpSpPr>
        <p:grpSpPr>
          <a:xfrm>
            <a:off x="361955" y="5870480"/>
            <a:ext cx="4743823" cy="1438835"/>
            <a:chOff x="5996612" y="5367709"/>
            <a:chExt cx="3833566" cy="1438835"/>
          </a:xfrm>
        </p:grpSpPr>
        <p:sp>
          <p:nvSpPr>
            <p:cNvPr id="34" name="CaixaDeTexto 33">
              <a:extLst>
                <a:ext uri="{FF2B5EF4-FFF2-40B4-BE49-F238E27FC236}">
                  <a16:creationId xmlns:a16="http://schemas.microsoft.com/office/drawing/2014/main" id="{76BD1285-D28C-4A96-B5AC-8D0192BA8193}"/>
                </a:ext>
              </a:extLst>
            </p:cNvPr>
            <p:cNvSpPr txBox="1"/>
            <p:nvPr/>
          </p:nvSpPr>
          <p:spPr>
            <a:xfrm>
              <a:off x="6262765" y="5606215"/>
              <a:ext cx="3301259" cy="1200329"/>
            </a:xfrm>
            <a:prstGeom prst="rect">
              <a:avLst/>
            </a:prstGeom>
            <a:noFill/>
          </p:spPr>
          <p:txBody>
            <a:bodyPr wrap="square" rtlCol="0">
              <a:spAutoFit/>
            </a:bodyPr>
            <a:lstStyle/>
            <a:p>
              <a:pPr algn="ctr"/>
              <a:r>
                <a:rPr lang="pt-BR" sz="2400" b="1" dirty="0">
                  <a:effectLst>
                    <a:outerShdw blurRad="38100" dist="38100" dir="2700000" algn="tl">
                      <a:srgbClr val="000000">
                        <a:alpha val="43137"/>
                      </a:srgbClr>
                    </a:outerShdw>
                  </a:effectLst>
                </a:rPr>
                <a:t>Estratégias de crescimento sustentáveis</a:t>
              </a:r>
            </a:p>
          </p:txBody>
        </p:sp>
        <p:sp>
          <p:nvSpPr>
            <p:cNvPr id="35" name="Elipse 34">
              <a:extLst>
                <a:ext uri="{FF2B5EF4-FFF2-40B4-BE49-F238E27FC236}">
                  <a16:creationId xmlns:a16="http://schemas.microsoft.com/office/drawing/2014/main" id="{80A029E1-895A-4AA1-BB72-91E312855AC6}"/>
                </a:ext>
              </a:extLst>
            </p:cNvPr>
            <p:cNvSpPr/>
            <p:nvPr/>
          </p:nvSpPr>
          <p:spPr>
            <a:xfrm>
              <a:off x="5996612" y="5367709"/>
              <a:ext cx="3833566"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7" name="Agrupar 26">
            <a:extLst>
              <a:ext uri="{FF2B5EF4-FFF2-40B4-BE49-F238E27FC236}">
                <a16:creationId xmlns:a16="http://schemas.microsoft.com/office/drawing/2014/main" id="{CD9D68D4-21E5-4BCA-8B05-84D4E992C1FD}"/>
              </a:ext>
            </a:extLst>
          </p:cNvPr>
          <p:cNvGrpSpPr/>
          <p:nvPr/>
        </p:nvGrpSpPr>
        <p:grpSpPr>
          <a:xfrm>
            <a:off x="4419605" y="5832380"/>
            <a:ext cx="4743823" cy="1220855"/>
            <a:chOff x="5996612" y="5367709"/>
            <a:chExt cx="3833566" cy="1220855"/>
          </a:xfrm>
        </p:grpSpPr>
        <p:sp>
          <p:nvSpPr>
            <p:cNvPr id="36" name="CaixaDeTexto 35">
              <a:extLst>
                <a:ext uri="{FF2B5EF4-FFF2-40B4-BE49-F238E27FC236}">
                  <a16:creationId xmlns:a16="http://schemas.microsoft.com/office/drawing/2014/main" id="{2C4A85B9-9F60-4865-BD9A-8651549AA116}"/>
                </a:ext>
              </a:extLst>
            </p:cNvPr>
            <p:cNvSpPr txBox="1"/>
            <p:nvPr/>
          </p:nvSpPr>
          <p:spPr>
            <a:xfrm>
              <a:off x="6262765" y="5606215"/>
              <a:ext cx="3301259" cy="830997"/>
            </a:xfrm>
            <a:prstGeom prst="rect">
              <a:avLst/>
            </a:prstGeom>
            <a:noFill/>
          </p:spPr>
          <p:txBody>
            <a:bodyPr wrap="square" rtlCol="0">
              <a:spAutoFit/>
            </a:bodyPr>
            <a:lstStyle/>
            <a:p>
              <a:pPr algn="ctr"/>
              <a:r>
                <a:rPr lang="pt-BR" sz="2400" b="1" dirty="0">
                  <a:effectLst>
                    <a:outerShdw blurRad="38100" dist="38100" dir="2700000" algn="tl">
                      <a:srgbClr val="000000">
                        <a:alpha val="43137"/>
                      </a:srgbClr>
                    </a:outerShdw>
                  </a:effectLst>
                </a:rPr>
                <a:t>Parcerias de distribuição sólidas</a:t>
              </a:r>
            </a:p>
          </p:txBody>
        </p:sp>
        <p:sp>
          <p:nvSpPr>
            <p:cNvPr id="37" name="Elipse 36">
              <a:extLst>
                <a:ext uri="{FF2B5EF4-FFF2-40B4-BE49-F238E27FC236}">
                  <a16:creationId xmlns:a16="http://schemas.microsoft.com/office/drawing/2014/main" id="{3A9D1E26-F634-4E82-9C13-13D5FEBA6690}"/>
                </a:ext>
              </a:extLst>
            </p:cNvPr>
            <p:cNvSpPr/>
            <p:nvPr/>
          </p:nvSpPr>
          <p:spPr>
            <a:xfrm>
              <a:off x="5996612" y="5367709"/>
              <a:ext cx="3833566" cy="122085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Tree>
    <p:extLst>
      <p:ext uri="{BB962C8B-B14F-4D97-AF65-F5344CB8AC3E}">
        <p14:creationId xmlns:p14="http://schemas.microsoft.com/office/powerpoint/2010/main" val="370999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992579"/>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Valagro do brasil</a:t>
            </a:r>
          </a:p>
          <a:p>
            <a:pPr lvl="0"/>
            <a:r>
              <a:rPr lang="pt-BR" sz="1800" cap="all" dirty="0">
                <a:ln w="19050">
                  <a:noFill/>
                </a:ln>
                <a:solidFill>
                  <a:srgbClr val="163D28"/>
                </a:solidFill>
                <a:latin typeface="Arial" pitchFamily="34" charset="0"/>
                <a:cs typeface="Arial" pitchFamily="34" charset="0"/>
              </a:rPr>
              <a:t>Desenvolvimento regional – novas geografias</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sp>
        <p:nvSpPr>
          <p:cNvPr id="9" name="Rectangle 166">
            <a:extLst>
              <a:ext uri="{FF2B5EF4-FFF2-40B4-BE49-F238E27FC236}">
                <a16:creationId xmlns:a16="http://schemas.microsoft.com/office/drawing/2014/main" id="{9E081069-6602-47D2-963D-5022409144E1}"/>
              </a:ext>
            </a:extLst>
          </p:cNvPr>
          <p:cNvSpPr>
            <a:spLocks noChangeArrowheads="1"/>
          </p:cNvSpPr>
          <p:nvPr>
            <p:custDataLst>
              <p:tags r:id="rId1"/>
            </p:custDataLst>
          </p:nvPr>
        </p:nvSpPr>
        <p:spPr bwMode="gray">
          <a:xfrm>
            <a:off x="2062170" y="1328607"/>
            <a:ext cx="1633206" cy="221705"/>
          </a:xfrm>
          <a:prstGeom prst="rect">
            <a:avLst/>
          </a:prstGeom>
          <a:solidFill>
            <a:srgbClr val="DCDCDC"/>
          </a:solidFill>
          <a:ln w="12700">
            <a:solidFill>
              <a:schemeClr val="bg1"/>
            </a:solidFill>
            <a:miter lim="800000"/>
            <a:headEnd/>
            <a:tailEnd/>
          </a:ln>
        </p:spPr>
        <p:txBody>
          <a:bodyPr lIns="0" tIns="0" rIns="0" bIns="0" anchor="ctr"/>
          <a:lstStyle/>
          <a:p>
            <a:pPr algn="ctr" defTabSz="940621" eaLnBrk="0" hangingPunct="0"/>
            <a:r>
              <a:rPr lang="en-US" sz="1400" b="1" dirty="0">
                <a:solidFill>
                  <a:srgbClr val="000000"/>
                </a:solidFill>
              </a:rPr>
              <a:t>2018</a:t>
            </a:r>
          </a:p>
        </p:txBody>
      </p:sp>
      <p:sp>
        <p:nvSpPr>
          <p:cNvPr id="12" name="Rectangle 2">
            <a:extLst>
              <a:ext uri="{FF2B5EF4-FFF2-40B4-BE49-F238E27FC236}">
                <a16:creationId xmlns:a16="http://schemas.microsoft.com/office/drawing/2014/main" id="{748732AD-4B8D-4C7A-AE82-431A90FA579F}"/>
              </a:ext>
            </a:extLst>
          </p:cNvPr>
          <p:cNvSpPr>
            <a:spLocks noChangeArrowheads="1"/>
          </p:cNvSpPr>
          <p:nvPr>
            <p:custDataLst>
              <p:tags r:id="rId2"/>
            </p:custDataLst>
          </p:nvPr>
        </p:nvSpPr>
        <p:spPr bwMode="gray">
          <a:xfrm>
            <a:off x="2072750" y="1601101"/>
            <a:ext cx="1622624" cy="1904789"/>
          </a:xfrm>
          <a:prstGeom prst="rect">
            <a:avLst/>
          </a:prstGeom>
          <a:noFill/>
          <a:ln w="12700">
            <a:solidFill>
              <a:srgbClr val="C0C0C0"/>
            </a:solidFill>
            <a:miter lim="800000"/>
            <a:headEnd/>
            <a:tailEnd/>
          </a:ln>
        </p:spPr>
        <p:txBody>
          <a:bodyPr lIns="0" tIns="0" rIns="0" bIns="0" anchor="ctr"/>
          <a:lstStyle/>
          <a:p>
            <a:pPr algn="ctr" defTabSz="940621" eaLnBrk="0" hangingPunct="0"/>
            <a:endParaRPr lang="en-US" sz="2100" b="1" dirty="0">
              <a:solidFill>
                <a:srgbClr val="000000"/>
              </a:solidFill>
            </a:endParaRPr>
          </a:p>
        </p:txBody>
      </p:sp>
      <p:grpSp>
        <p:nvGrpSpPr>
          <p:cNvPr id="13" name="Group 345">
            <a:extLst>
              <a:ext uri="{FF2B5EF4-FFF2-40B4-BE49-F238E27FC236}">
                <a16:creationId xmlns:a16="http://schemas.microsoft.com/office/drawing/2014/main" id="{4466A894-62A9-46B9-BDE5-94E7DA4D2F33}"/>
              </a:ext>
            </a:extLst>
          </p:cNvPr>
          <p:cNvGrpSpPr>
            <a:grpSpLocks noChangeAspect="1"/>
          </p:cNvGrpSpPr>
          <p:nvPr/>
        </p:nvGrpSpPr>
        <p:grpSpPr bwMode="auto">
          <a:xfrm>
            <a:off x="2147006" y="1628329"/>
            <a:ext cx="1392425" cy="1597569"/>
            <a:chOff x="10105" y="200"/>
            <a:chExt cx="4730" cy="4710"/>
          </a:xfrm>
          <a:solidFill>
            <a:schemeClr val="bg1">
              <a:lumMod val="75000"/>
            </a:schemeClr>
          </a:solidFill>
        </p:grpSpPr>
        <p:sp>
          <p:nvSpPr>
            <p:cNvPr id="14" name="Freeform 318">
              <a:extLst>
                <a:ext uri="{FF2B5EF4-FFF2-40B4-BE49-F238E27FC236}">
                  <a16:creationId xmlns:a16="http://schemas.microsoft.com/office/drawing/2014/main" id="{B8BFBFEC-55FB-4C79-8E27-1DF2078D912C}"/>
                </a:ext>
              </a:extLst>
            </p:cNvPr>
            <p:cNvSpPr>
              <a:spLocks noChangeAspect="1"/>
            </p:cNvSpPr>
            <p:nvPr/>
          </p:nvSpPr>
          <p:spPr bwMode="auto">
            <a:xfrm>
              <a:off x="10105" y="1698"/>
              <a:ext cx="878" cy="494"/>
            </a:xfrm>
            <a:custGeom>
              <a:avLst/>
              <a:gdLst/>
              <a:ahLst/>
              <a:cxnLst>
                <a:cxn ang="0">
                  <a:pos x="364" y="133"/>
                </a:cxn>
                <a:cxn ang="0">
                  <a:pos x="353" y="134"/>
                </a:cxn>
                <a:cxn ang="0">
                  <a:pos x="296" y="101"/>
                </a:cxn>
                <a:cxn ang="0">
                  <a:pos x="216" y="58"/>
                </a:cxn>
                <a:cxn ang="0">
                  <a:pos x="87" y="31"/>
                </a:cxn>
                <a:cxn ang="0">
                  <a:pos x="13" y="0"/>
                </a:cxn>
                <a:cxn ang="0">
                  <a:pos x="15" y="9"/>
                </a:cxn>
                <a:cxn ang="0">
                  <a:pos x="2" y="14"/>
                </a:cxn>
                <a:cxn ang="0">
                  <a:pos x="0" y="25"/>
                </a:cxn>
                <a:cxn ang="0">
                  <a:pos x="18" y="39"/>
                </a:cxn>
                <a:cxn ang="0">
                  <a:pos x="10" y="47"/>
                </a:cxn>
                <a:cxn ang="0">
                  <a:pos x="21" y="55"/>
                </a:cxn>
                <a:cxn ang="0">
                  <a:pos x="23" y="66"/>
                </a:cxn>
                <a:cxn ang="0">
                  <a:pos x="39" y="81"/>
                </a:cxn>
                <a:cxn ang="0">
                  <a:pos x="40" y="92"/>
                </a:cxn>
                <a:cxn ang="0">
                  <a:pos x="51" y="97"/>
                </a:cxn>
                <a:cxn ang="0">
                  <a:pos x="65" y="117"/>
                </a:cxn>
                <a:cxn ang="0">
                  <a:pos x="48" y="137"/>
                </a:cxn>
                <a:cxn ang="0">
                  <a:pos x="99" y="145"/>
                </a:cxn>
                <a:cxn ang="0">
                  <a:pos x="108" y="173"/>
                </a:cxn>
                <a:cxn ang="0">
                  <a:pos x="163" y="173"/>
                </a:cxn>
                <a:cxn ang="0">
                  <a:pos x="206" y="140"/>
                </a:cxn>
                <a:cxn ang="0">
                  <a:pos x="206" y="151"/>
                </a:cxn>
                <a:cxn ang="0">
                  <a:pos x="208" y="158"/>
                </a:cxn>
                <a:cxn ang="0">
                  <a:pos x="202" y="165"/>
                </a:cxn>
                <a:cxn ang="0">
                  <a:pos x="200" y="233"/>
                </a:cxn>
                <a:cxn ang="0">
                  <a:pos x="207" y="228"/>
                </a:cxn>
                <a:cxn ang="0">
                  <a:pos x="218" y="238"/>
                </a:cxn>
                <a:cxn ang="0">
                  <a:pos x="242" y="229"/>
                </a:cxn>
                <a:cxn ang="0">
                  <a:pos x="276" y="229"/>
                </a:cxn>
                <a:cxn ang="0">
                  <a:pos x="313" y="233"/>
                </a:cxn>
                <a:cxn ang="0">
                  <a:pos x="320" y="247"/>
                </a:cxn>
                <a:cxn ang="0">
                  <a:pos x="345" y="232"/>
                </a:cxn>
                <a:cxn ang="0">
                  <a:pos x="355" y="214"/>
                </a:cxn>
                <a:cxn ang="0">
                  <a:pos x="373" y="216"/>
                </a:cxn>
                <a:cxn ang="0">
                  <a:pos x="398" y="196"/>
                </a:cxn>
                <a:cxn ang="0">
                  <a:pos x="419" y="192"/>
                </a:cxn>
                <a:cxn ang="0">
                  <a:pos x="439" y="170"/>
                </a:cxn>
                <a:cxn ang="0">
                  <a:pos x="439" y="170"/>
                </a:cxn>
                <a:cxn ang="0">
                  <a:pos x="433" y="163"/>
                </a:cxn>
                <a:cxn ang="0">
                  <a:pos x="364" y="133"/>
                </a:cxn>
              </a:cxnLst>
              <a:rect l="0" t="0" r="r" b="b"/>
              <a:pathLst>
                <a:path w="439" h="247">
                  <a:moveTo>
                    <a:pt x="364" y="133"/>
                  </a:moveTo>
                  <a:cubicBezTo>
                    <a:pt x="364" y="133"/>
                    <a:pt x="355" y="134"/>
                    <a:pt x="353" y="134"/>
                  </a:cubicBezTo>
                  <a:cubicBezTo>
                    <a:pt x="352" y="134"/>
                    <a:pt x="312" y="108"/>
                    <a:pt x="296" y="101"/>
                  </a:cubicBezTo>
                  <a:cubicBezTo>
                    <a:pt x="280" y="94"/>
                    <a:pt x="216" y="58"/>
                    <a:pt x="216" y="58"/>
                  </a:cubicBezTo>
                  <a:cubicBezTo>
                    <a:pt x="216" y="58"/>
                    <a:pt x="104" y="34"/>
                    <a:pt x="87" y="31"/>
                  </a:cubicBezTo>
                  <a:cubicBezTo>
                    <a:pt x="74" y="29"/>
                    <a:pt x="32" y="9"/>
                    <a:pt x="13" y="0"/>
                  </a:cubicBezTo>
                  <a:cubicBezTo>
                    <a:pt x="14" y="4"/>
                    <a:pt x="15" y="8"/>
                    <a:pt x="15" y="9"/>
                  </a:cubicBezTo>
                  <a:cubicBezTo>
                    <a:pt x="2" y="14"/>
                    <a:pt x="2" y="14"/>
                    <a:pt x="2" y="14"/>
                  </a:cubicBezTo>
                  <a:cubicBezTo>
                    <a:pt x="2" y="14"/>
                    <a:pt x="0" y="19"/>
                    <a:pt x="0" y="25"/>
                  </a:cubicBezTo>
                  <a:cubicBezTo>
                    <a:pt x="0" y="32"/>
                    <a:pt x="18" y="39"/>
                    <a:pt x="18" y="39"/>
                  </a:cubicBezTo>
                  <a:cubicBezTo>
                    <a:pt x="18" y="39"/>
                    <a:pt x="11" y="46"/>
                    <a:pt x="10" y="47"/>
                  </a:cubicBezTo>
                  <a:cubicBezTo>
                    <a:pt x="10" y="48"/>
                    <a:pt x="21" y="55"/>
                    <a:pt x="21" y="55"/>
                  </a:cubicBezTo>
                  <a:cubicBezTo>
                    <a:pt x="21" y="55"/>
                    <a:pt x="20" y="57"/>
                    <a:pt x="23" y="66"/>
                  </a:cubicBezTo>
                  <a:cubicBezTo>
                    <a:pt x="25" y="76"/>
                    <a:pt x="39" y="81"/>
                    <a:pt x="39" y="81"/>
                  </a:cubicBezTo>
                  <a:cubicBezTo>
                    <a:pt x="40" y="92"/>
                    <a:pt x="40" y="92"/>
                    <a:pt x="40" y="92"/>
                  </a:cubicBezTo>
                  <a:cubicBezTo>
                    <a:pt x="51" y="97"/>
                    <a:pt x="51" y="97"/>
                    <a:pt x="51" y="97"/>
                  </a:cubicBezTo>
                  <a:cubicBezTo>
                    <a:pt x="65" y="117"/>
                    <a:pt x="65" y="117"/>
                    <a:pt x="65" y="117"/>
                  </a:cubicBezTo>
                  <a:cubicBezTo>
                    <a:pt x="48" y="137"/>
                    <a:pt x="48" y="137"/>
                    <a:pt x="48" y="137"/>
                  </a:cubicBezTo>
                  <a:cubicBezTo>
                    <a:pt x="48" y="137"/>
                    <a:pt x="86" y="141"/>
                    <a:pt x="99" y="145"/>
                  </a:cubicBezTo>
                  <a:cubicBezTo>
                    <a:pt x="112" y="149"/>
                    <a:pt x="108" y="173"/>
                    <a:pt x="108" y="173"/>
                  </a:cubicBezTo>
                  <a:cubicBezTo>
                    <a:pt x="163" y="173"/>
                    <a:pt x="163" y="173"/>
                    <a:pt x="163" y="173"/>
                  </a:cubicBezTo>
                  <a:cubicBezTo>
                    <a:pt x="206" y="140"/>
                    <a:pt x="206" y="140"/>
                    <a:pt x="206" y="140"/>
                  </a:cubicBezTo>
                  <a:cubicBezTo>
                    <a:pt x="206" y="151"/>
                    <a:pt x="206" y="151"/>
                    <a:pt x="206" y="151"/>
                  </a:cubicBezTo>
                  <a:cubicBezTo>
                    <a:pt x="208" y="158"/>
                    <a:pt x="208" y="158"/>
                    <a:pt x="208" y="158"/>
                  </a:cubicBezTo>
                  <a:cubicBezTo>
                    <a:pt x="202" y="165"/>
                    <a:pt x="202" y="165"/>
                    <a:pt x="202" y="165"/>
                  </a:cubicBezTo>
                  <a:cubicBezTo>
                    <a:pt x="200" y="233"/>
                    <a:pt x="200" y="233"/>
                    <a:pt x="200" y="233"/>
                  </a:cubicBezTo>
                  <a:cubicBezTo>
                    <a:pt x="207" y="228"/>
                    <a:pt x="207" y="228"/>
                    <a:pt x="207" y="228"/>
                  </a:cubicBezTo>
                  <a:cubicBezTo>
                    <a:pt x="218" y="238"/>
                    <a:pt x="218" y="238"/>
                    <a:pt x="218" y="238"/>
                  </a:cubicBezTo>
                  <a:cubicBezTo>
                    <a:pt x="242" y="229"/>
                    <a:pt x="242" y="229"/>
                    <a:pt x="242" y="229"/>
                  </a:cubicBezTo>
                  <a:cubicBezTo>
                    <a:pt x="242" y="229"/>
                    <a:pt x="270" y="229"/>
                    <a:pt x="276" y="229"/>
                  </a:cubicBezTo>
                  <a:cubicBezTo>
                    <a:pt x="281" y="229"/>
                    <a:pt x="312" y="233"/>
                    <a:pt x="313" y="233"/>
                  </a:cubicBezTo>
                  <a:cubicBezTo>
                    <a:pt x="314" y="232"/>
                    <a:pt x="320" y="247"/>
                    <a:pt x="320" y="247"/>
                  </a:cubicBezTo>
                  <a:cubicBezTo>
                    <a:pt x="320" y="247"/>
                    <a:pt x="327" y="238"/>
                    <a:pt x="345" y="232"/>
                  </a:cubicBezTo>
                  <a:cubicBezTo>
                    <a:pt x="364" y="225"/>
                    <a:pt x="355" y="214"/>
                    <a:pt x="355" y="214"/>
                  </a:cubicBezTo>
                  <a:cubicBezTo>
                    <a:pt x="355" y="214"/>
                    <a:pt x="372" y="215"/>
                    <a:pt x="373" y="216"/>
                  </a:cubicBezTo>
                  <a:cubicBezTo>
                    <a:pt x="374" y="215"/>
                    <a:pt x="390" y="201"/>
                    <a:pt x="398" y="196"/>
                  </a:cubicBezTo>
                  <a:cubicBezTo>
                    <a:pt x="407" y="190"/>
                    <a:pt x="419" y="192"/>
                    <a:pt x="419" y="192"/>
                  </a:cubicBezTo>
                  <a:cubicBezTo>
                    <a:pt x="419" y="192"/>
                    <a:pt x="435" y="173"/>
                    <a:pt x="439" y="170"/>
                  </a:cubicBezTo>
                  <a:cubicBezTo>
                    <a:pt x="439" y="170"/>
                    <a:pt x="439" y="170"/>
                    <a:pt x="439" y="170"/>
                  </a:cubicBezTo>
                  <a:cubicBezTo>
                    <a:pt x="433" y="163"/>
                    <a:pt x="433" y="163"/>
                    <a:pt x="433" y="163"/>
                  </a:cubicBezTo>
                  <a:lnTo>
                    <a:pt x="364" y="133"/>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 name="Freeform 319">
              <a:extLst>
                <a:ext uri="{FF2B5EF4-FFF2-40B4-BE49-F238E27FC236}">
                  <a16:creationId xmlns:a16="http://schemas.microsoft.com/office/drawing/2014/main" id="{4B42E25C-E6BE-4510-BECB-9BC50800F6A3}"/>
                </a:ext>
              </a:extLst>
            </p:cNvPr>
            <p:cNvSpPr>
              <a:spLocks noChangeAspect="1"/>
            </p:cNvSpPr>
            <p:nvPr/>
          </p:nvSpPr>
          <p:spPr bwMode="auto">
            <a:xfrm>
              <a:off x="10967" y="1795"/>
              <a:ext cx="858" cy="692"/>
            </a:xfrm>
            <a:custGeom>
              <a:avLst/>
              <a:gdLst/>
              <a:ahLst/>
              <a:cxnLst>
                <a:cxn ang="0">
                  <a:pos x="279" y="40"/>
                </a:cxn>
                <a:cxn ang="0">
                  <a:pos x="272" y="28"/>
                </a:cxn>
                <a:cxn ang="0">
                  <a:pos x="251" y="20"/>
                </a:cxn>
                <a:cxn ang="0">
                  <a:pos x="191" y="0"/>
                </a:cxn>
                <a:cxn ang="0">
                  <a:pos x="187" y="22"/>
                </a:cxn>
                <a:cxn ang="0">
                  <a:pos x="174" y="43"/>
                </a:cxn>
                <a:cxn ang="0">
                  <a:pos x="162" y="64"/>
                </a:cxn>
                <a:cxn ang="0">
                  <a:pos x="132" y="68"/>
                </a:cxn>
                <a:cxn ang="0">
                  <a:pos x="115" y="72"/>
                </a:cxn>
                <a:cxn ang="0">
                  <a:pos x="102" y="90"/>
                </a:cxn>
                <a:cxn ang="0">
                  <a:pos x="84" y="81"/>
                </a:cxn>
                <a:cxn ang="0">
                  <a:pos x="75" y="91"/>
                </a:cxn>
                <a:cxn ang="0">
                  <a:pos x="50" y="86"/>
                </a:cxn>
                <a:cxn ang="0">
                  <a:pos x="24" y="97"/>
                </a:cxn>
                <a:cxn ang="0">
                  <a:pos x="0" y="113"/>
                </a:cxn>
                <a:cxn ang="0">
                  <a:pos x="9" y="121"/>
                </a:cxn>
                <a:cxn ang="0">
                  <a:pos x="74" y="115"/>
                </a:cxn>
                <a:cxn ang="0">
                  <a:pos x="98" y="114"/>
                </a:cxn>
                <a:cxn ang="0">
                  <a:pos x="96" y="136"/>
                </a:cxn>
                <a:cxn ang="0">
                  <a:pos x="98" y="183"/>
                </a:cxn>
                <a:cxn ang="0">
                  <a:pos x="96" y="227"/>
                </a:cxn>
                <a:cxn ang="0">
                  <a:pos x="104" y="241"/>
                </a:cxn>
                <a:cxn ang="0">
                  <a:pos x="138" y="258"/>
                </a:cxn>
                <a:cxn ang="0">
                  <a:pos x="164" y="274"/>
                </a:cxn>
                <a:cxn ang="0">
                  <a:pos x="207" y="287"/>
                </a:cxn>
                <a:cxn ang="0">
                  <a:pos x="258" y="309"/>
                </a:cxn>
                <a:cxn ang="0">
                  <a:pos x="299" y="336"/>
                </a:cxn>
                <a:cxn ang="0">
                  <a:pos x="369" y="346"/>
                </a:cxn>
                <a:cxn ang="0">
                  <a:pos x="392" y="309"/>
                </a:cxn>
                <a:cxn ang="0">
                  <a:pos x="406" y="281"/>
                </a:cxn>
                <a:cxn ang="0">
                  <a:pos x="417" y="250"/>
                </a:cxn>
                <a:cxn ang="0">
                  <a:pos x="406" y="236"/>
                </a:cxn>
                <a:cxn ang="0">
                  <a:pos x="422" y="206"/>
                </a:cxn>
                <a:cxn ang="0">
                  <a:pos x="394" y="190"/>
                </a:cxn>
                <a:cxn ang="0">
                  <a:pos x="319" y="180"/>
                </a:cxn>
                <a:cxn ang="0">
                  <a:pos x="316" y="133"/>
                </a:cxn>
                <a:cxn ang="0">
                  <a:pos x="318" y="108"/>
                </a:cxn>
                <a:cxn ang="0">
                  <a:pos x="319" y="91"/>
                </a:cxn>
                <a:cxn ang="0">
                  <a:pos x="321" y="78"/>
                </a:cxn>
                <a:cxn ang="0">
                  <a:pos x="318" y="54"/>
                </a:cxn>
                <a:cxn ang="0">
                  <a:pos x="290" y="52"/>
                </a:cxn>
              </a:cxnLst>
              <a:rect l="0" t="0" r="r" b="b"/>
              <a:pathLst>
                <a:path w="429" h="346">
                  <a:moveTo>
                    <a:pt x="290" y="52"/>
                  </a:moveTo>
                  <a:cubicBezTo>
                    <a:pt x="284" y="50"/>
                    <a:pt x="279" y="40"/>
                    <a:pt x="279" y="40"/>
                  </a:cubicBezTo>
                  <a:cubicBezTo>
                    <a:pt x="273" y="42"/>
                    <a:pt x="273" y="42"/>
                    <a:pt x="273" y="42"/>
                  </a:cubicBezTo>
                  <a:cubicBezTo>
                    <a:pt x="272" y="28"/>
                    <a:pt x="272" y="28"/>
                    <a:pt x="272" y="28"/>
                  </a:cubicBezTo>
                  <a:cubicBezTo>
                    <a:pt x="261" y="28"/>
                    <a:pt x="261" y="28"/>
                    <a:pt x="261" y="28"/>
                  </a:cubicBezTo>
                  <a:cubicBezTo>
                    <a:pt x="261" y="28"/>
                    <a:pt x="257" y="21"/>
                    <a:pt x="251" y="20"/>
                  </a:cubicBezTo>
                  <a:cubicBezTo>
                    <a:pt x="245" y="20"/>
                    <a:pt x="240" y="2"/>
                    <a:pt x="240" y="2"/>
                  </a:cubicBezTo>
                  <a:cubicBezTo>
                    <a:pt x="191" y="0"/>
                    <a:pt x="191" y="0"/>
                    <a:pt x="191" y="0"/>
                  </a:cubicBezTo>
                  <a:cubicBezTo>
                    <a:pt x="192" y="9"/>
                    <a:pt x="192" y="9"/>
                    <a:pt x="192" y="9"/>
                  </a:cubicBezTo>
                  <a:cubicBezTo>
                    <a:pt x="192" y="9"/>
                    <a:pt x="187" y="20"/>
                    <a:pt x="187" y="22"/>
                  </a:cubicBezTo>
                  <a:cubicBezTo>
                    <a:pt x="186" y="23"/>
                    <a:pt x="172" y="22"/>
                    <a:pt x="172" y="24"/>
                  </a:cubicBezTo>
                  <a:cubicBezTo>
                    <a:pt x="172" y="27"/>
                    <a:pt x="172" y="36"/>
                    <a:pt x="174" y="43"/>
                  </a:cubicBezTo>
                  <a:cubicBezTo>
                    <a:pt x="175" y="50"/>
                    <a:pt x="162" y="49"/>
                    <a:pt x="162" y="49"/>
                  </a:cubicBezTo>
                  <a:cubicBezTo>
                    <a:pt x="162" y="64"/>
                    <a:pt x="162" y="64"/>
                    <a:pt x="162" y="64"/>
                  </a:cubicBezTo>
                  <a:cubicBezTo>
                    <a:pt x="153" y="60"/>
                    <a:pt x="153" y="60"/>
                    <a:pt x="153" y="60"/>
                  </a:cubicBezTo>
                  <a:cubicBezTo>
                    <a:pt x="132" y="68"/>
                    <a:pt x="132" y="68"/>
                    <a:pt x="132" y="68"/>
                  </a:cubicBezTo>
                  <a:cubicBezTo>
                    <a:pt x="126" y="60"/>
                    <a:pt x="126" y="60"/>
                    <a:pt x="126" y="60"/>
                  </a:cubicBezTo>
                  <a:cubicBezTo>
                    <a:pt x="115" y="72"/>
                    <a:pt x="115" y="72"/>
                    <a:pt x="115" y="72"/>
                  </a:cubicBezTo>
                  <a:cubicBezTo>
                    <a:pt x="116" y="79"/>
                    <a:pt x="116" y="79"/>
                    <a:pt x="116" y="79"/>
                  </a:cubicBezTo>
                  <a:cubicBezTo>
                    <a:pt x="102" y="90"/>
                    <a:pt x="102" y="90"/>
                    <a:pt x="102" y="90"/>
                  </a:cubicBezTo>
                  <a:cubicBezTo>
                    <a:pt x="98" y="79"/>
                    <a:pt x="98" y="79"/>
                    <a:pt x="98" y="79"/>
                  </a:cubicBezTo>
                  <a:cubicBezTo>
                    <a:pt x="84" y="81"/>
                    <a:pt x="84" y="81"/>
                    <a:pt x="84" y="81"/>
                  </a:cubicBezTo>
                  <a:cubicBezTo>
                    <a:pt x="85" y="95"/>
                    <a:pt x="85" y="95"/>
                    <a:pt x="85" y="95"/>
                  </a:cubicBezTo>
                  <a:cubicBezTo>
                    <a:pt x="85" y="95"/>
                    <a:pt x="84" y="92"/>
                    <a:pt x="75" y="91"/>
                  </a:cubicBezTo>
                  <a:cubicBezTo>
                    <a:pt x="66" y="89"/>
                    <a:pt x="62" y="98"/>
                    <a:pt x="60" y="99"/>
                  </a:cubicBezTo>
                  <a:cubicBezTo>
                    <a:pt x="59" y="100"/>
                    <a:pt x="50" y="86"/>
                    <a:pt x="50" y="86"/>
                  </a:cubicBezTo>
                  <a:cubicBezTo>
                    <a:pt x="24" y="88"/>
                    <a:pt x="24" y="88"/>
                    <a:pt x="24" y="88"/>
                  </a:cubicBezTo>
                  <a:cubicBezTo>
                    <a:pt x="24" y="97"/>
                    <a:pt x="24" y="97"/>
                    <a:pt x="24" y="97"/>
                  </a:cubicBezTo>
                  <a:cubicBezTo>
                    <a:pt x="24" y="97"/>
                    <a:pt x="12" y="106"/>
                    <a:pt x="6" y="109"/>
                  </a:cubicBezTo>
                  <a:cubicBezTo>
                    <a:pt x="4" y="110"/>
                    <a:pt x="2" y="111"/>
                    <a:pt x="0" y="113"/>
                  </a:cubicBezTo>
                  <a:cubicBezTo>
                    <a:pt x="3" y="114"/>
                    <a:pt x="3" y="114"/>
                    <a:pt x="3" y="114"/>
                  </a:cubicBezTo>
                  <a:cubicBezTo>
                    <a:pt x="9" y="121"/>
                    <a:pt x="9" y="121"/>
                    <a:pt x="9" y="121"/>
                  </a:cubicBezTo>
                  <a:cubicBezTo>
                    <a:pt x="14" y="118"/>
                    <a:pt x="41" y="115"/>
                    <a:pt x="41" y="115"/>
                  </a:cubicBezTo>
                  <a:cubicBezTo>
                    <a:pt x="41" y="115"/>
                    <a:pt x="65" y="112"/>
                    <a:pt x="74" y="115"/>
                  </a:cubicBezTo>
                  <a:cubicBezTo>
                    <a:pt x="83" y="117"/>
                    <a:pt x="84" y="104"/>
                    <a:pt x="84" y="104"/>
                  </a:cubicBezTo>
                  <a:cubicBezTo>
                    <a:pt x="98" y="114"/>
                    <a:pt x="98" y="114"/>
                    <a:pt x="98" y="114"/>
                  </a:cubicBezTo>
                  <a:cubicBezTo>
                    <a:pt x="88" y="126"/>
                    <a:pt x="88" y="126"/>
                    <a:pt x="88" y="126"/>
                  </a:cubicBezTo>
                  <a:cubicBezTo>
                    <a:pt x="88" y="126"/>
                    <a:pt x="96" y="131"/>
                    <a:pt x="96" y="136"/>
                  </a:cubicBezTo>
                  <a:cubicBezTo>
                    <a:pt x="96" y="141"/>
                    <a:pt x="87" y="142"/>
                    <a:pt x="86" y="153"/>
                  </a:cubicBezTo>
                  <a:cubicBezTo>
                    <a:pt x="84" y="164"/>
                    <a:pt x="98" y="183"/>
                    <a:pt x="98" y="183"/>
                  </a:cubicBezTo>
                  <a:cubicBezTo>
                    <a:pt x="98" y="183"/>
                    <a:pt x="89" y="192"/>
                    <a:pt x="87" y="199"/>
                  </a:cubicBezTo>
                  <a:cubicBezTo>
                    <a:pt x="84" y="207"/>
                    <a:pt x="96" y="227"/>
                    <a:pt x="96" y="227"/>
                  </a:cubicBezTo>
                  <a:cubicBezTo>
                    <a:pt x="103" y="228"/>
                    <a:pt x="103" y="228"/>
                    <a:pt x="103" y="228"/>
                  </a:cubicBezTo>
                  <a:cubicBezTo>
                    <a:pt x="104" y="241"/>
                    <a:pt x="104" y="241"/>
                    <a:pt x="104" y="241"/>
                  </a:cubicBezTo>
                  <a:cubicBezTo>
                    <a:pt x="125" y="257"/>
                    <a:pt x="125" y="257"/>
                    <a:pt x="125" y="257"/>
                  </a:cubicBezTo>
                  <a:cubicBezTo>
                    <a:pt x="138" y="258"/>
                    <a:pt x="138" y="258"/>
                    <a:pt x="138" y="258"/>
                  </a:cubicBezTo>
                  <a:cubicBezTo>
                    <a:pt x="140" y="266"/>
                    <a:pt x="140" y="266"/>
                    <a:pt x="140" y="266"/>
                  </a:cubicBezTo>
                  <a:cubicBezTo>
                    <a:pt x="140" y="266"/>
                    <a:pt x="157" y="274"/>
                    <a:pt x="164" y="274"/>
                  </a:cubicBezTo>
                  <a:cubicBezTo>
                    <a:pt x="170" y="275"/>
                    <a:pt x="177" y="271"/>
                    <a:pt x="189" y="271"/>
                  </a:cubicBezTo>
                  <a:cubicBezTo>
                    <a:pt x="201" y="271"/>
                    <a:pt x="207" y="287"/>
                    <a:pt x="207" y="287"/>
                  </a:cubicBezTo>
                  <a:cubicBezTo>
                    <a:pt x="227" y="287"/>
                    <a:pt x="227" y="287"/>
                    <a:pt x="227" y="287"/>
                  </a:cubicBezTo>
                  <a:cubicBezTo>
                    <a:pt x="227" y="287"/>
                    <a:pt x="248" y="307"/>
                    <a:pt x="258" y="309"/>
                  </a:cubicBezTo>
                  <a:cubicBezTo>
                    <a:pt x="267" y="311"/>
                    <a:pt x="282" y="313"/>
                    <a:pt x="283" y="313"/>
                  </a:cubicBezTo>
                  <a:cubicBezTo>
                    <a:pt x="284" y="313"/>
                    <a:pt x="299" y="336"/>
                    <a:pt x="299" y="336"/>
                  </a:cubicBezTo>
                  <a:cubicBezTo>
                    <a:pt x="356" y="337"/>
                    <a:pt x="356" y="337"/>
                    <a:pt x="356" y="337"/>
                  </a:cubicBezTo>
                  <a:cubicBezTo>
                    <a:pt x="356" y="337"/>
                    <a:pt x="362" y="341"/>
                    <a:pt x="369" y="346"/>
                  </a:cubicBezTo>
                  <a:cubicBezTo>
                    <a:pt x="378" y="340"/>
                    <a:pt x="389" y="333"/>
                    <a:pt x="389" y="332"/>
                  </a:cubicBezTo>
                  <a:cubicBezTo>
                    <a:pt x="389" y="331"/>
                    <a:pt x="392" y="309"/>
                    <a:pt x="392" y="309"/>
                  </a:cubicBezTo>
                  <a:cubicBezTo>
                    <a:pt x="406" y="299"/>
                    <a:pt x="406" y="299"/>
                    <a:pt x="406" y="299"/>
                  </a:cubicBezTo>
                  <a:cubicBezTo>
                    <a:pt x="406" y="281"/>
                    <a:pt x="406" y="281"/>
                    <a:pt x="406" y="281"/>
                  </a:cubicBezTo>
                  <a:cubicBezTo>
                    <a:pt x="429" y="266"/>
                    <a:pt x="429" y="266"/>
                    <a:pt x="429" y="266"/>
                  </a:cubicBezTo>
                  <a:cubicBezTo>
                    <a:pt x="417" y="250"/>
                    <a:pt x="417" y="250"/>
                    <a:pt x="417" y="250"/>
                  </a:cubicBezTo>
                  <a:cubicBezTo>
                    <a:pt x="417" y="239"/>
                    <a:pt x="417" y="239"/>
                    <a:pt x="417" y="239"/>
                  </a:cubicBezTo>
                  <a:cubicBezTo>
                    <a:pt x="406" y="236"/>
                    <a:pt x="406" y="236"/>
                    <a:pt x="406" y="236"/>
                  </a:cubicBezTo>
                  <a:cubicBezTo>
                    <a:pt x="404" y="218"/>
                    <a:pt x="404" y="218"/>
                    <a:pt x="404" y="218"/>
                  </a:cubicBezTo>
                  <a:cubicBezTo>
                    <a:pt x="422" y="206"/>
                    <a:pt x="422" y="206"/>
                    <a:pt x="422" y="206"/>
                  </a:cubicBezTo>
                  <a:cubicBezTo>
                    <a:pt x="409" y="187"/>
                    <a:pt x="409" y="187"/>
                    <a:pt x="409" y="187"/>
                  </a:cubicBezTo>
                  <a:cubicBezTo>
                    <a:pt x="394" y="190"/>
                    <a:pt x="394" y="190"/>
                    <a:pt x="394" y="190"/>
                  </a:cubicBezTo>
                  <a:cubicBezTo>
                    <a:pt x="384" y="183"/>
                    <a:pt x="384" y="183"/>
                    <a:pt x="384" y="183"/>
                  </a:cubicBezTo>
                  <a:cubicBezTo>
                    <a:pt x="319" y="180"/>
                    <a:pt x="319" y="180"/>
                    <a:pt x="319" y="180"/>
                  </a:cubicBezTo>
                  <a:cubicBezTo>
                    <a:pt x="319" y="180"/>
                    <a:pt x="326" y="158"/>
                    <a:pt x="325" y="155"/>
                  </a:cubicBezTo>
                  <a:cubicBezTo>
                    <a:pt x="324" y="151"/>
                    <a:pt x="316" y="140"/>
                    <a:pt x="316" y="133"/>
                  </a:cubicBezTo>
                  <a:cubicBezTo>
                    <a:pt x="316" y="127"/>
                    <a:pt x="326" y="118"/>
                    <a:pt x="326" y="118"/>
                  </a:cubicBezTo>
                  <a:cubicBezTo>
                    <a:pt x="318" y="108"/>
                    <a:pt x="318" y="108"/>
                    <a:pt x="318" y="108"/>
                  </a:cubicBezTo>
                  <a:cubicBezTo>
                    <a:pt x="325" y="99"/>
                    <a:pt x="325" y="99"/>
                    <a:pt x="325" y="99"/>
                  </a:cubicBezTo>
                  <a:cubicBezTo>
                    <a:pt x="319" y="91"/>
                    <a:pt x="319" y="91"/>
                    <a:pt x="319" y="91"/>
                  </a:cubicBezTo>
                  <a:cubicBezTo>
                    <a:pt x="317" y="83"/>
                    <a:pt x="317" y="83"/>
                    <a:pt x="317" y="83"/>
                  </a:cubicBezTo>
                  <a:cubicBezTo>
                    <a:pt x="321" y="78"/>
                    <a:pt x="321" y="78"/>
                    <a:pt x="321" y="78"/>
                  </a:cubicBezTo>
                  <a:cubicBezTo>
                    <a:pt x="317" y="54"/>
                    <a:pt x="317" y="54"/>
                    <a:pt x="317" y="54"/>
                  </a:cubicBezTo>
                  <a:cubicBezTo>
                    <a:pt x="318" y="54"/>
                    <a:pt x="318" y="54"/>
                    <a:pt x="318" y="54"/>
                  </a:cubicBezTo>
                  <a:cubicBezTo>
                    <a:pt x="312" y="50"/>
                    <a:pt x="308" y="47"/>
                    <a:pt x="308" y="47"/>
                  </a:cubicBezTo>
                  <a:cubicBezTo>
                    <a:pt x="308" y="47"/>
                    <a:pt x="297" y="55"/>
                    <a:pt x="290" y="52"/>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 name="Freeform 320">
              <a:extLst>
                <a:ext uri="{FF2B5EF4-FFF2-40B4-BE49-F238E27FC236}">
                  <a16:creationId xmlns:a16="http://schemas.microsoft.com/office/drawing/2014/main" id="{DF83D527-1C9A-4CB9-BC73-B48BEA4524D1}"/>
                </a:ext>
              </a:extLst>
            </p:cNvPr>
            <p:cNvSpPr>
              <a:spLocks noChangeAspect="1"/>
            </p:cNvSpPr>
            <p:nvPr/>
          </p:nvSpPr>
          <p:spPr bwMode="auto">
            <a:xfrm>
              <a:off x="10129" y="564"/>
              <a:ext cx="2141" cy="1459"/>
            </a:xfrm>
            <a:custGeom>
              <a:avLst/>
              <a:gdLst/>
              <a:ahLst/>
              <a:cxnLst>
                <a:cxn ang="0">
                  <a:pos x="953" y="493"/>
                </a:cxn>
                <a:cxn ang="0">
                  <a:pos x="1049" y="274"/>
                </a:cxn>
                <a:cxn ang="0">
                  <a:pos x="1060" y="257"/>
                </a:cxn>
                <a:cxn ang="0">
                  <a:pos x="1030" y="258"/>
                </a:cxn>
                <a:cxn ang="0">
                  <a:pos x="992" y="241"/>
                </a:cxn>
                <a:cxn ang="0">
                  <a:pos x="962" y="225"/>
                </a:cxn>
                <a:cxn ang="0">
                  <a:pos x="942" y="210"/>
                </a:cxn>
                <a:cxn ang="0">
                  <a:pos x="918" y="189"/>
                </a:cxn>
                <a:cxn ang="0">
                  <a:pos x="901" y="159"/>
                </a:cxn>
                <a:cxn ang="0">
                  <a:pos x="814" y="141"/>
                </a:cxn>
                <a:cxn ang="0">
                  <a:pos x="807" y="171"/>
                </a:cxn>
                <a:cxn ang="0">
                  <a:pos x="793" y="190"/>
                </a:cxn>
                <a:cxn ang="0">
                  <a:pos x="733" y="190"/>
                </a:cxn>
                <a:cxn ang="0">
                  <a:pos x="745" y="230"/>
                </a:cxn>
                <a:cxn ang="0">
                  <a:pos x="701" y="199"/>
                </a:cxn>
                <a:cxn ang="0">
                  <a:pos x="689" y="168"/>
                </a:cxn>
                <a:cxn ang="0">
                  <a:pos x="678" y="99"/>
                </a:cxn>
                <a:cxn ang="0">
                  <a:pos x="673" y="53"/>
                </a:cxn>
                <a:cxn ang="0">
                  <a:pos x="647" y="12"/>
                </a:cxn>
                <a:cxn ang="0">
                  <a:pos x="611" y="16"/>
                </a:cxn>
                <a:cxn ang="0">
                  <a:pos x="571" y="52"/>
                </a:cxn>
                <a:cxn ang="0">
                  <a:pos x="532" y="66"/>
                </a:cxn>
                <a:cxn ang="0">
                  <a:pos x="500" y="81"/>
                </a:cxn>
                <a:cxn ang="0">
                  <a:pos x="420" y="65"/>
                </a:cxn>
                <a:cxn ang="0">
                  <a:pos x="387" y="14"/>
                </a:cxn>
                <a:cxn ang="0">
                  <a:pos x="362" y="11"/>
                </a:cxn>
                <a:cxn ang="0">
                  <a:pos x="339" y="33"/>
                </a:cxn>
                <a:cxn ang="0">
                  <a:pos x="238" y="30"/>
                </a:cxn>
                <a:cxn ang="0">
                  <a:pos x="279" y="94"/>
                </a:cxn>
                <a:cxn ang="0">
                  <a:pos x="243" y="100"/>
                </a:cxn>
                <a:cxn ang="0">
                  <a:pos x="224" y="147"/>
                </a:cxn>
                <a:cxn ang="0">
                  <a:pos x="260" y="193"/>
                </a:cxn>
                <a:cxn ang="0">
                  <a:pos x="213" y="397"/>
                </a:cxn>
                <a:cxn ang="0">
                  <a:pos x="155" y="397"/>
                </a:cxn>
                <a:cxn ang="0">
                  <a:pos x="102" y="420"/>
                </a:cxn>
                <a:cxn ang="0">
                  <a:pos x="56" y="445"/>
                </a:cxn>
                <a:cxn ang="0">
                  <a:pos x="29" y="501"/>
                </a:cxn>
                <a:cxn ang="0">
                  <a:pos x="22" y="536"/>
                </a:cxn>
                <a:cxn ang="0">
                  <a:pos x="75" y="597"/>
                </a:cxn>
                <a:cxn ang="0">
                  <a:pos x="341" y="700"/>
                </a:cxn>
                <a:cxn ang="0">
                  <a:pos x="424" y="724"/>
                </a:cxn>
                <a:cxn ang="0">
                  <a:pos x="468" y="701"/>
                </a:cxn>
                <a:cxn ang="0">
                  <a:pos x="503" y="710"/>
                </a:cxn>
                <a:cxn ang="0">
                  <a:pos x="520" y="705"/>
                </a:cxn>
                <a:cxn ang="0">
                  <a:pos x="544" y="675"/>
                </a:cxn>
                <a:cxn ang="0">
                  <a:pos x="580" y="679"/>
                </a:cxn>
                <a:cxn ang="0">
                  <a:pos x="590" y="639"/>
                </a:cxn>
                <a:cxn ang="0">
                  <a:pos x="609" y="615"/>
                </a:cxn>
                <a:cxn ang="0">
                  <a:pos x="679" y="643"/>
                </a:cxn>
                <a:cxn ang="0">
                  <a:pos x="697" y="655"/>
                </a:cxn>
                <a:cxn ang="0">
                  <a:pos x="736" y="669"/>
                </a:cxn>
                <a:cxn ang="0">
                  <a:pos x="926" y="651"/>
                </a:cxn>
                <a:cxn ang="0">
                  <a:pos x="942" y="600"/>
                </a:cxn>
                <a:cxn ang="0">
                  <a:pos x="943" y="575"/>
                </a:cxn>
              </a:cxnLst>
              <a:rect l="0" t="0" r="r" b="b"/>
              <a:pathLst>
                <a:path w="1069" h="728">
                  <a:moveTo>
                    <a:pt x="922" y="540"/>
                  </a:moveTo>
                  <a:cubicBezTo>
                    <a:pt x="922" y="528"/>
                    <a:pt x="930" y="530"/>
                    <a:pt x="937" y="526"/>
                  </a:cubicBezTo>
                  <a:cubicBezTo>
                    <a:pt x="943" y="522"/>
                    <a:pt x="948" y="501"/>
                    <a:pt x="953" y="493"/>
                  </a:cubicBezTo>
                  <a:cubicBezTo>
                    <a:pt x="958" y="485"/>
                    <a:pt x="999" y="386"/>
                    <a:pt x="1005" y="373"/>
                  </a:cubicBezTo>
                  <a:cubicBezTo>
                    <a:pt x="1011" y="361"/>
                    <a:pt x="1044" y="288"/>
                    <a:pt x="1044" y="288"/>
                  </a:cubicBezTo>
                  <a:cubicBezTo>
                    <a:pt x="1049" y="274"/>
                    <a:pt x="1049" y="274"/>
                    <a:pt x="1049" y="274"/>
                  </a:cubicBezTo>
                  <a:cubicBezTo>
                    <a:pt x="1055" y="274"/>
                    <a:pt x="1055" y="274"/>
                    <a:pt x="1055" y="274"/>
                  </a:cubicBezTo>
                  <a:cubicBezTo>
                    <a:pt x="1069" y="257"/>
                    <a:pt x="1069" y="257"/>
                    <a:pt x="1069" y="257"/>
                  </a:cubicBezTo>
                  <a:cubicBezTo>
                    <a:pt x="1060" y="257"/>
                    <a:pt x="1060" y="257"/>
                    <a:pt x="1060" y="257"/>
                  </a:cubicBezTo>
                  <a:cubicBezTo>
                    <a:pt x="1056" y="264"/>
                    <a:pt x="1056" y="264"/>
                    <a:pt x="1056" y="264"/>
                  </a:cubicBezTo>
                  <a:cubicBezTo>
                    <a:pt x="1056" y="264"/>
                    <a:pt x="1041" y="270"/>
                    <a:pt x="1029" y="270"/>
                  </a:cubicBezTo>
                  <a:cubicBezTo>
                    <a:pt x="1018" y="270"/>
                    <a:pt x="1030" y="258"/>
                    <a:pt x="1030" y="258"/>
                  </a:cubicBezTo>
                  <a:cubicBezTo>
                    <a:pt x="1012" y="253"/>
                    <a:pt x="1012" y="253"/>
                    <a:pt x="1012" y="253"/>
                  </a:cubicBezTo>
                  <a:cubicBezTo>
                    <a:pt x="1002" y="236"/>
                    <a:pt x="1002" y="236"/>
                    <a:pt x="1002" y="236"/>
                  </a:cubicBezTo>
                  <a:cubicBezTo>
                    <a:pt x="992" y="241"/>
                    <a:pt x="992" y="241"/>
                    <a:pt x="992" y="241"/>
                  </a:cubicBezTo>
                  <a:cubicBezTo>
                    <a:pt x="982" y="235"/>
                    <a:pt x="982" y="235"/>
                    <a:pt x="982" y="235"/>
                  </a:cubicBezTo>
                  <a:cubicBezTo>
                    <a:pt x="977" y="228"/>
                    <a:pt x="977" y="228"/>
                    <a:pt x="977" y="228"/>
                  </a:cubicBezTo>
                  <a:cubicBezTo>
                    <a:pt x="962" y="225"/>
                    <a:pt x="962" y="225"/>
                    <a:pt x="962" y="225"/>
                  </a:cubicBezTo>
                  <a:cubicBezTo>
                    <a:pt x="949" y="218"/>
                    <a:pt x="949" y="218"/>
                    <a:pt x="949" y="218"/>
                  </a:cubicBezTo>
                  <a:cubicBezTo>
                    <a:pt x="949" y="218"/>
                    <a:pt x="953" y="215"/>
                    <a:pt x="954" y="206"/>
                  </a:cubicBezTo>
                  <a:cubicBezTo>
                    <a:pt x="955" y="197"/>
                    <a:pt x="942" y="210"/>
                    <a:pt x="942" y="210"/>
                  </a:cubicBezTo>
                  <a:cubicBezTo>
                    <a:pt x="926" y="202"/>
                    <a:pt x="926" y="202"/>
                    <a:pt x="926" y="202"/>
                  </a:cubicBezTo>
                  <a:cubicBezTo>
                    <a:pt x="927" y="186"/>
                    <a:pt x="927" y="186"/>
                    <a:pt x="927" y="186"/>
                  </a:cubicBezTo>
                  <a:cubicBezTo>
                    <a:pt x="918" y="189"/>
                    <a:pt x="918" y="189"/>
                    <a:pt x="918" y="189"/>
                  </a:cubicBezTo>
                  <a:cubicBezTo>
                    <a:pt x="908" y="177"/>
                    <a:pt x="908" y="177"/>
                    <a:pt x="908" y="177"/>
                  </a:cubicBezTo>
                  <a:cubicBezTo>
                    <a:pt x="907" y="159"/>
                    <a:pt x="907" y="159"/>
                    <a:pt x="907" y="159"/>
                  </a:cubicBezTo>
                  <a:cubicBezTo>
                    <a:pt x="901" y="159"/>
                    <a:pt x="901" y="159"/>
                    <a:pt x="901" y="159"/>
                  </a:cubicBezTo>
                  <a:cubicBezTo>
                    <a:pt x="897" y="121"/>
                    <a:pt x="897" y="121"/>
                    <a:pt x="897" y="121"/>
                  </a:cubicBezTo>
                  <a:cubicBezTo>
                    <a:pt x="826" y="122"/>
                    <a:pt x="826" y="122"/>
                    <a:pt x="826" y="122"/>
                  </a:cubicBezTo>
                  <a:cubicBezTo>
                    <a:pt x="826" y="122"/>
                    <a:pt x="818" y="139"/>
                    <a:pt x="814" y="141"/>
                  </a:cubicBezTo>
                  <a:cubicBezTo>
                    <a:pt x="811" y="144"/>
                    <a:pt x="814" y="155"/>
                    <a:pt x="814" y="155"/>
                  </a:cubicBezTo>
                  <a:cubicBezTo>
                    <a:pt x="814" y="155"/>
                    <a:pt x="807" y="158"/>
                    <a:pt x="807" y="160"/>
                  </a:cubicBezTo>
                  <a:cubicBezTo>
                    <a:pt x="806" y="161"/>
                    <a:pt x="807" y="171"/>
                    <a:pt x="807" y="171"/>
                  </a:cubicBezTo>
                  <a:cubicBezTo>
                    <a:pt x="807" y="171"/>
                    <a:pt x="816" y="173"/>
                    <a:pt x="816" y="179"/>
                  </a:cubicBezTo>
                  <a:cubicBezTo>
                    <a:pt x="817" y="185"/>
                    <a:pt x="800" y="182"/>
                    <a:pt x="800" y="182"/>
                  </a:cubicBezTo>
                  <a:cubicBezTo>
                    <a:pt x="793" y="190"/>
                    <a:pt x="793" y="190"/>
                    <a:pt x="793" y="190"/>
                  </a:cubicBezTo>
                  <a:cubicBezTo>
                    <a:pt x="758" y="164"/>
                    <a:pt x="758" y="164"/>
                    <a:pt x="758" y="164"/>
                  </a:cubicBezTo>
                  <a:cubicBezTo>
                    <a:pt x="741" y="178"/>
                    <a:pt x="741" y="178"/>
                    <a:pt x="741" y="178"/>
                  </a:cubicBezTo>
                  <a:cubicBezTo>
                    <a:pt x="733" y="190"/>
                    <a:pt x="733" y="190"/>
                    <a:pt x="733" y="190"/>
                  </a:cubicBezTo>
                  <a:cubicBezTo>
                    <a:pt x="735" y="201"/>
                    <a:pt x="735" y="201"/>
                    <a:pt x="735" y="201"/>
                  </a:cubicBezTo>
                  <a:cubicBezTo>
                    <a:pt x="735" y="201"/>
                    <a:pt x="734" y="212"/>
                    <a:pt x="734" y="217"/>
                  </a:cubicBezTo>
                  <a:cubicBezTo>
                    <a:pt x="734" y="221"/>
                    <a:pt x="745" y="230"/>
                    <a:pt x="745" y="230"/>
                  </a:cubicBezTo>
                  <a:cubicBezTo>
                    <a:pt x="737" y="230"/>
                    <a:pt x="737" y="230"/>
                    <a:pt x="737" y="230"/>
                  </a:cubicBezTo>
                  <a:cubicBezTo>
                    <a:pt x="718" y="222"/>
                    <a:pt x="718" y="222"/>
                    <a:pt x="718" y="222"/>
                  </a:cubicBezTo>
                  <a:cubicBezTo>
                    <a:pt x="718" y="222"/>
                    <a:pt x="710" y="212"/>
                    <a:pt x="701" y="199"/>
                  </a:cubicBezTo>
                  <a:cubicBezTo>
                    <a:pt x="692" y="186"/>
                    <a:pt x="679" y="178"/>
                    <a:pt x="679" y="178"/>
                  </a:cubicBezTo>
                  <a:cubicBezTo>
                    <a:pt x="679" y="178"/>
                    <a:pt x="690" y="179"/>
                    <a:pt x="693" y="178"/>
                  </a:cubicBezTo>
                  <a:cubicBezTo>
                    <a:pt x="696" y="176"/>
                    <a:pt x="689" y="168"/>
                    <a:pt x="689" y="168"/>
                  </a:cubicBezTo>
                  <a:cubicBezTo>
                    <a:pt x="698" y="155"/>
                    <a:pt x="698" y="155"/>
                    <a:pt x="698" y="155"/>
                  </a:cubicBezTo>
                  <a:cubicBezTo>
                    <a:pt x="689" y="137"/>
                    <a:pt x="689" y="137"/>
                    <a:pt x="689" y="137"/>
                  </a:cubicBezTo>
                  <a:cubicBezTo>
                    <a:pt x="689" y="137"/>
                    <a:pt x="679" y="115"/>
                    <a:pt x="678" y="99"/>
                  </a:cubicBezTo>
                  <a:cubicBezTo>
                    <a:pt x="676" y="83"/>
                    <a:pt x="684" y="86"/>
                    <a:pt x="684" y="86"/>
                  </a:cubicBezTo>
                  <a:cubicBezTo>
                    <a:pt x="680" y="71"/>
                    <a:pt x="680" y="71"/>
                    <a:pt x="680" y="71"/>
                  </a:cubicBezTo>
                  <a:cubicBezTo>
                    <a:pt x="673" y="53"/>
                    <a:pt x="673" y="53"/>
                    <a:pt x="673" y="53"/>
                  </a:cubicBezTo>
                  <a:cubicBezTo>
                    <a:pt x="662" y="40"/>
                    <a:pt x="662" y="40"/>
                    <a:pt x="662" y="40"/>
                  </a:cubicBezTo>
                  <a:cubicBezTo>
                    <a:pt x="670" y="17"/>
                    <a:pt x="670" y="17"/>
                    <a:pt x="670" y="17"/>
                  </a:cubicBezTo>
                  <a:cubicBezTo>
                    <a:pt x="647" y="12"/>
                    <a:pt x="647" y="12"/>
                    <a:pt x="647" y="12"/>
                  </a:cubicBezTo>
                  <a:cubicBezTo>
                    <a:pt x="626" y="3"/>
                    <a:pt x="626" y="3"/>
                    <a:pt x="626" y="3"/>
                  </a:cubicBezTo>
                  <a:cubicBezTo>
                    <a:pt x="612" y="8"/>
                    <a:pt x="612" y="8"/>
                    <a:pt x="612" y="8"/>
                  </a:cubicBezTo>
                  <a:cubicBezTo>
                    <a:pt x="612" y="8"/>
                    <a:pt x="612" y="15"/>
                    <a:pt x="611" y="16"/>
                  </a:cubicBezTo>
                  <a:cubicBezTo>
                    <a:pt x="611" y="18"/>
                    <a:pt x="588" y="15"/>
                    <a:pt x="588" y="15"/>
                  </a:cubicBezTo>
                  <a:cubicBezTo>
                    <a:pt x="588" y="15"/>
                    <a:pt x="588" y="36"/>
                    <a:pt x="588" y="37"/>
                  </a:cubicBezTo>
                  <a:cubicBezTo>
                    <a:pt x="588" y="38"/>
                    <a:pt x="571" y="52"/>
                    <a:pt x="571" y="52"/>
                  </a:cubicBezTo>
                  <a:cubicBezTo>
                    <a:pt x="566" y="43"/>
                    <a:pt x="566" y="43"/>
                    <a:pt x="566" y="43"/>
                  </a:cubicBezTo>
                  <a:cubicBezTo>
                    <a:pt x="566" y="43"/>
                    <a:pt x="549" y="62"/>
                    <a:pt x="546" y="65"/>
                  </a:cubicBezTo>
                  <a:cubicBezTo>
                    <a:pt x="543" y="67"/>
                    <a:pt x="533" y="65"/>
                    <a:pt x="532" y="66"/>
                  </a:cubicBezTo>
                  <a:cubicBezTo>
                    <a:pt x="532" y="68"/>
                    <a:pt x="520" y="67"/>
                    <a:pt x="520" y="67"/>
                  </a:cubicBezTo>
                  <a:cubicBezTo>
                    <a:pt x="520" y="67"/>
                    <a:pt x="504" y="95"/>
                    <a:pt x="495" y="95"/>
                  </a:cubicBezTo>
                  <a:cubicBezTo>
                    <a:pt x="486" y="95"/>
                    <a:pt x="500" y="81"/>
                    <a:pt x="500" y="81"/>
                  </a:cubicBezTo>
                  <a:cubicBezTo>
                    <a:pt x="492" y="71"/>
                    <a:pt x="492" y="71"/>
                    <a:pt x="492" y="71"/>
                  </a:cubicBezTo>
                  <a:cubicBezTo>
                    <a:pt x="492" y="71"/>
                    <a:pt x="469" y="89"/>
                    <a:pt x="456" y="89"/>
                  </a:cubicBezTo>
                  <a:cubicBezTo>
                    <a:pt x="443" y="90"/>
                    <a:pt x="420" y="65"/>
                    <a:pt x="420" y="65"/>
                  </a:cubicBezTo>
                  <a:cubicBezTo>
                    <a:pt x="400" y="63"/>
                    <a:pt x="400" y="63"/>
                    <a:pt x="400" y="63"/>
                  </a:cubicBezTo>
                  <a:cubicBezTo>
                    <a:pt x="400" y="63"/>
                    <a:pt x="408" y="49"/>
                    <a:pt x="408" y="43"/>
                  </a:cubicBezTo>
                  <a:cubicBezTo>
                    <a:pt x="409" y="37"/>
                    <a:pt x="387" y="14"/>
                    <a:pt x="387" y="14"/>
                  </a:cubicBezTo>
                  <a:cubicBezTo>
                    <a:pt x="382" y="0"/>
                    <a:pt x="382" y="0"/>
                    <a:pt x="382" y="0"/>
                  </a:cubicBezTo>
                  <a:cubicBezTo>
                    <a:pt x="382" y="0"/>
                    <a:pt x="370" y="14"/>
                    <a:pt x="370" y="15"/>
                  </a:cubicBezTo>
                  <a:cubicBezTo>
                    <a:pt x="370" y="15"/>
                    <a:pt x="362" y="11"/>
                    <a:pt x="362" y="11"/>
                  </a:cubicBezTo>
                  <a:cubicBezTo>
                    <a:pt x="352" y="26"/>
                    <a:pt x="352" y="26"/>
                    <a:pt x="352" y="26"/>
                  </a:cubicBezTo>
                  <a:cubicBezTo>
                    <a:pt x="352" y="26"/>
                    <a:pt x="336" y="15"/>
                    <a:pt x="334" y="18"/>
                  </a:cubicBezTo>
                  <a:cubicBezTo>
                    <a:pt x="331" y="20"/>
                    <a:pt x="339" y="33"/>
                    <a:pt x="339" y="33"/>
                  </a:cubicBezTo>
                  <a:cubicBezTo>
                    <a:pt x="272" y="31"/>
                    <a:pt x="272" y="31"/>
                    <a:pt x="272" y="31"/>
                  </a:cubicBezTo>
                  <a:cubicBezTo>
                    <a:pt x="272" y="31"/>
                    <a:pt x="265" y="29"/>
                    <a:pt x="258" y="27"/>
                  </a:cubicBezTo>
                  <a:cubicBezTo>
                    <a:pt x="251" y="25"/>
                    <a:pt x="238" y="30"/>
                    <a:pt x="238" y="30"/>
                  </a:cubicBezTo>
                  <a:cubicBezTo>
                    <a:pt x="240" y="67"/>
                    <a:pt x="240" y="67"/>
                    <a:pt x="240" y="67"/>
                  </a:cubicBezTo>
                  <a:cubicBezTo>
                    <a:pt x="240" y="67"/>
                    <a:pt x="264" y="67"/>
                    <a:pt x="273" y="71"/>
                  </a:cubicBezTo>
                  <a:cubicBezTo>
                    <a:pt x="282" y="74"/>
                    <a:pt x="279" y="94"/>
                    <a:pt x="279" y="94"/>
                  </a:cubicBezTo>
                  <a:cubicBezTo>
                    <a:pt x="272" y="102"/>
                    <a:pt x="272" y="102"/>
                    <a:pt x="272" y="102"/>
                  </a:cubicBezTo>
                  <a:cubicBezTo>
                    <a:pt x="257" y="91"/>
                    <a:pt x="257" y="91"/>
                    <a:pt x="257" y="91"/>
                  </a:cubicBezTo>
                  <a:cubicBezTo>
                    <a:pt x="257" y="91"/>
                    <a:pt x="243" y="99"/>
                    <a:pt x="243" y="100"/>
                  </a:cubicBezTo>
                  <a:cubicBezTo>
                    <a:pt x="243" y="100"/>
                    <a:pt x="230" y="102"/>
                    <a:pt x="230" y="102"/>
                  </a:cubicBezTo>
                  <a:cubicBezTo>
                    <a:pt x="230" y="102"/>
                    <a:pt x="226" y="109"/>
                    <a:pt x="222" y="117"/>
                  </a:cubicBezTo>
                  <a:cubicBezTo>
                    <a:pt x="217" y="125"/>
                    <a:pt x="224" y="144"/>
                    <a:pt x="224" y="147"/>
                  </a:cubicBezTo>
                  <a:cubicBezTo>
                    <a:pt x="224" y="149"/>
                    <a:pt x="249" y="166"/>
                    <a:pt x="251" y="166"/>
                  </a:cubicBezTo>
                  <a:cubicBezTo>
                    <a:pt x="254" y="167"/>
                    <a:pt x="252" y="178"/>
                    <a:pt x="252" y="180"/>
                  </a:cubicBezTo>
                  <a:cubicBezTo>
                    <a:pt x="252" y="181"/>
                    <a:pt x="257" y="192"/>
                    <a:pt x="260" y="193"/>
                  </a:cubicBezTo>
                  <a:cubicBezTo>
                    <a:pt x="262" y="194"/>
                    <a:pt x="259" y="237"/>
                    <a:pt x="259" y="237"/>
                  </a:cubicBezTo>
                  <a:cubicBezTo>
                    <a:pt x="226" y="399"/>
                    <a:pt x="226" y="399"/>
                    <a:pt x="226" y="399"/>
                  </a:cubicBezTo>
                  <a:cubicBezTo>
                    <a:pt x="213" y="397"/>
                    <a:pt x="213" y="397"/>
                    <a:pt x="213" y="397"/>
                  </a:cubicBezTo>
                  <a:cubicBezTo>
                    <a:pt x="213" y="397"/>
                    <a:pt x="208" y="387"/>
                    <a:pt x="193" y="387"/>
                  </a:cubicBezTo>
                  <a:cubicBezTo>
                    <a:pt x="177" y="388"/>
                    <a:pt x="163" y="403"/>
                    <a:pt x="163" y="403"/>
                  </a:cubicBezTo>
                  <a:cubicBezTo>
                    <a:pt x="163" y="403"/>
                    <a:pt x="157" y="399"/>
                    <a:pt x="155" y="397"/>
                  </a:cubicBezTo>
                  <a:cubicBezTo>
                    <a:pt x="152" y="396"/>
                    <a:pt x="132" y="408"/>
                    <a:pt x="132" y="408"/>
                  </a:cubicBezTo>
                  <a:cubicBezTo>
                    <a:pt x="132" y="408"/>
                    <a:pt x="120" y="407"/>
                    <a:pt x="112" y="410"/>
                  </a:cubicBezTo>
                  <a:cubicBezTo>
                    <a:pt x="104" y="413"/>
                    <a:pt x="102" y="420"/>
                    <a:pt x="102" y="420"/>
                  </a:cubicBezTo>
                  <a:cubicBezTo>
                    <a:pt x="102" y="420"/>
                    <a:pt x="102" y="420"/>
                    <a:pt x="93" y="420"/>
                  </a:cubicBezTo>
                  <a:cubicBezTo>
                    <a:pt x="84" y="420"/>
                    <a:pt x="83" y="430"/>
                    <a:pt x="82" y="430"/>
                  </a:cubicBezTo>
                  <a:cubicBezTo>
                    <a:pt x="82" y="431"/>
                    <a:pt x="56" y="445"/>
                    <a:pt x="56" y="445"/>
                  </a:cubicBezTo>
                  <a:cubicBezTo>
                    <a:pt x="56" y="445"/>
                    <a:pt x="59" y="452"/>
                    <a:pt x="52" y="459"/>
                  </a:cubicBezTo>
                  <a:cubicBezTo>
                    <a:pt x="45" y="467"/>
                    <a:pt x="44" y="483"/>
                    <a:pt x="44" y="483"/>
                  </a:cubicBezTo>
                  <a:cubicBezTo>
                    <a:pt x="44" y="483"/>
                    <a:pt x="29" y="500"/>
                    <a:pt x="29" y="501"/>
                  </a:cubicBezTo>
                  <a:cubicBezTo>
                    <a:pt x="29" y="501"/>
                    <a:pt x="34" y="511"/>
                    <a:pt x="34" y="511"/>
                  </a:cubicBezTo>
                  <a:cubicBezTo>
                    <a:pt x="34" y="511"/>
                    <a:pt x="40" y="518"/>
                    <a:pt x="39" y="528"/>
                  </a:cubicBezTo>
                  <a:cubicBezTo>
                    <a:pt x="37" y="537"/>
                    <a:pt x="22" y="535"/>
                    <a:pt x="22" y="536"/>
                  </a:cubicBezTo>
                  <a:cubicBezTo>
                    <a:pt x="22" y="537"/>
                    <a:pt x="4" y="550"/>
                    <a:pt x="1" y="555"/>
                  </a:cubicBezTo>
                  <a:cubicBezTo>
                    <a:pt x="0" y="558"/>
                    <a:pt x="0" y="562"/>
                    <a:pt x="1" y="566"/>
                  </a:cubicBezTo>
                  <a:cubicBezTo>
                    <a:pt x="20" y="575"/>
                    <a:pt x="62" y="595"/>
                    <a:pt x="75" y="597"/>
                  </a:cubicBezTo>
                  <a:cubicBezTo>
                    <a:pt x="92" y="600"/>
                    <a:pt x="204" y="624"/>
                    <a:pt x="204" y="624"/>
                  </a:cubicBezTo>
                  <a:cubicBezTo>
                    <a:pt x="204" y="624"/>
                    <a:pt x="268" y="660"/>
                    <a:pt x="284" y="667"/>
                  </a:cubicBezTo>
                  <a:cubicBezTo>
                    <a:pt x="300" y="674"/>
                    <a:pt x="340" y="700"/>
                    <a:pt x="341" y="700"/>
                  </a:cubicBezTo>
                  <a:cubicBezTo>
                    <a:pt x="343" y="700"/>
                    <a:pt x="352" y="699"/>
                    <a:pt x="352" y="699"/>
                  </a:cubicBezTo>
                  <a:cubicBezTo>
                    <a:pt x="418" y="728"/>
                    <a:pt x="418" y="728"/>
                    <a:pt x="418" y="728"/>
                  </a:cubicBezTo>
                  <a:cubicBezTo>
                    <a:pt x="420" y="726"/>
                    <a:pt x="422" y="725"/>
                    <a:pt x="424" y="724"/>
                  </a:cubicBezTo>
                  <a:cubicBezTo>
                    <a:pt x="430" y="721"/>
                    <a:pt x="442" y="712"/>
                    <a:pt x="442" y="712"/>
                  </a:cubicBezTo>
                  <a:cubicBezTo>
                    <a:pt x="442" y="703"/>
                    <a:pt x="442" y="703"/>
                    <a:pt x="442" y="703"/>
                  </a:cubicBezTo>
                  <a:cubicBezTo>
                    <a:pt x="468" y="701"/>
                    <a:pt x="468" y="701"/>
                    <a:pt x="468" y="701"/>
                  </a:cubicBezTo>
                  <a:cubicBezTo>
                    <a:pt x="468" y="701"/>
                    <a:pt x="477" y="715"/>
                    <a:pt x="478" y="714"/>
                  </a:cubicBezTo>
                  <a:cubicBezTo>
                    <a:pt x="480" y="713"/>
                    <a:pt x="484" y="704"/>
                    <a:pt x="493" y="706"/>
                  </a:cubicBezTo>
                  <a:cubicBezTo>
                    <a:pt x="502" y="707"/>
                    <a:pt x="503" y="710"/>
                    <a:pt x="503" y="710"/>
                  </a:cubicBezTo>
                  <a:cubicBezTo>
                    <a:pt x="502" y="696"/>
                    <a:pt x="502" y="696"/>
                    <a:pt x="502" y="696"/>
                  </a:cubicBezTo>
                  <a:cubicBezTo>
                    <a:pt x="516" y="694"/>
                    <a:pt x="516" y="694"/>
                    <a:pt x="516" y="694"/>
                  </a:cubicBezTo>
                  <a:cubicBezTo>
                    <a:pt x="520" y="705"/>
                    <a:pt x="520" y="705"/>
                    <a:pt x="520" y="705"/>
                  </a:cubicBezTo>
                  <a:cubicBezTo>
                    <a:pt x="534" y="694"/>
                    <a:pt x="534" y="694"/>
                    <a:pt x="534" y="694"/>
                  </a:cubicBezTo>
                  <a:cubicBezTo>
                    <a:pt x="533" y="687"/>
                    <a:pt x="533" y="687"/>
                    <a:pt x="533" y="687"/>
                  </a:cubicBezTo>
                  <a:cubicBezTo>
                    <a:pt x="544" y="675"/>
                    <a:pt x="544" y="675"/>
                    <a:pt x="544" y="675"/>
                  </a:cubicBezTo>
                  <a:cubicBezTo>
                    <a:pt x="550" y="683"/>
                    <a:pt x="550" y="683"/>
                    <a:pt x="550" y="683"/>
                  </a:cubicBezTo>
                  <a:cubicBezTo>
                    <a:pt x="571" y="675"/>
                    <a:pt x="571" y="675"/>
                    <a:pt x="571" y="675"/>
                  </a:cubicBezTo>
                  <a:cubicBezTo>
                    <a:pt x="580" y="679"/>
                    <a:pt x="580" y="679"/>
                    <a:pt x="580" y="679"/>
                  </a:cubicBezTo>
                  <a:cubicBezTo>
                    <a:pt x="580" y="664"/>
                    <a:pt x="580" y="664"/>
                    <a:pt x="580" y="664"/>
                  </a:cubicBezTo>
                  <a:cubicBezTo>
                    <a:pt x="580" y="664"/>
                    <a:pt x="593" y="665"/>
                    <a:pt x="592" y="658"/>
                  </a:cubicBezTo>
                  <a:cubicBezTo>
                    <a:pt x="590" y="651"/>
                    <a:pt x="590" y="642"/>
                    <a:pt x="590" y="639"/>
                  </a:cubicBezTo>
                  <a:cubicBezTo>
                    <a:pt x="590" y="637"/>
                    <a:pt x="604" y="638"/>
                    <a:pt x="605" y="637"/>
                  </a:cubicBezTo>
                  <a:cubicBezTo>
                    <a:pt x="605" y="635"/>
                    <a:pt x="610" y="624"/>
                    <a:pt x="610" y="624"/>
                  </a:cubicBezTo>
                  <a:cubicBezTo>
                    <a:pt x="609" y="615"/>
                    <a:pt x="609" y="615"/>
                    <a:pt x="609" y="615"/>
                  </a:cubicBezTo>
                  <a:cubicBezTo>
                    <a:pt x="658" y="617"/>
                    <a:pt x="658" y="617"/>
                    <a:pt x="658" y="617"/>
                  </a:cubicBezTo>
                  <a:cubicBezTo>
                    <a:pt x="658" y="617"/>
                    <a:pt x="663" y="635"/>
                    <a:pt x="669" y="635"/>
                  </a:cubicBezTo>
                  <a:cubicBezTo>
                    <a:pt x="675" y="636"/>
                    <a:pt x="679" y="643"/>
                    <a:pt x="679" y="643"/>
                  </a:cubicBezTo>
                  <a:cubicBezTo>
                    <a:pt x="690" y="643"/>
                    <a:pt x="690" y="643"/>
                    <a:pt x="690" y="643"/>
                  </a:cubicBezTo>
                  <a:cubicBezTo>
                    <a:pt x="691" y="657"/>
                    <a:pt x="691" y="657"/>
                    <a:pt x="691" y="657"/>
                  </a:cubicBezTo>
                  <a:cubicBezTo>
                    <a:pt x="697" y="655"/>
                    <a:pt x="697" y="655"/>
                    <a:pt x="697" y="655"/>
                  </a:cubicBezTo>
                  <a:cubicBezTo>
                    <a:pt x="697" y="655"/>
                    <a:pt x="702" y="665"/>
                    <a:pt x="708" y="667"/>
                  </a:cubicBezTo>
                  <a:cubicBezTo>
                    <a:pt x="715" y="670"/>
                    <a:pt x="726" y="662"/>
                    <a:pt x="726" y="662"/>
                  </a:cubicBezTo>
                  <a:cubicBezTo>
                    <a:pt x="726" y="662"/>
                    <a:pt x="730" y="665"/>
                    <a:pt x="736" y="669"/>
                  </a:cubicBezTo>
                  <a:cubicBezTo>
                    <a:pt x="923" y="666"/>
                    <a:pt x="923" y="666"/>
                    <a:pt x="923" y="666"/>
                  </a:cubicBezTo>
                  <a:cubicBezTo>
                    <a:pt x="934" y="661"/>
                    <a:pt x="934" y="661"/>
                    <a:pt x="934" y="661"/>
                  </a:cubicBezTo>
                  <a:cubicBezTo>
                    <a:pt x="934" y="661"/>
                    <a:pt x="923" y="659"/>
                    <a:pt x="926" y="651"/>
                  </a:cubicBezTo>
                  <a:cubicBezTo>
                    <a:pt x="930" y="643"/>
                    <a:pt x="933" y="642"/>
                    <a:pt x="934" y="631"/>
                  </a:cubicBezTo>
                  <a:cubicBezTo>
                    <a:pt x="934" y="621"/>
                    <a:pt x="930" y="611"/>
                    <a:pt x="930" y="611"/>
                  </a:cubicBezTo>
                  <a:cubicBezTo>
                    <a:pt x="942" y="600"/>
                    <a:pt x="942" y="600"/>
                    <a:pt x="942" y="600"/>
                  </a:cubicBezTo>
                  <a:cubicBezTo>
                    <a:pt x="942" y="600"/>
                    <a:pt x="934" y="577"/>
                    <a:pt x="942" y="579"/>
                  </a:cubicBezTo>
                  <a:cubicBezTo>
                    <a:pt x="943" y="580"/>
                    <a:pt x="943" y="580"/>
                    <a:pt x="944" y="580"/>
                  </a:cubicBezTo>
                  <a:cubicBezTo>
                    <a:pt x="944" y="578"/>
                    <a:pt x="943" y="576"/>
                    <a:pt x="943" y="575"/>
                  </a:cubicBezTo>
                  <a:cubicBezTo>
                    <a:pt x="941" y="566"/>
                    <a:pt x="922" y="553"/>
                    <a:pt x="922" y="540"/>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7" name="Freeform 321">
              <a:extLst>
                <a:ext uri="{FF2B5EF4-FFF2-40B4-BE49-F238E27FC236}">
                  <a16:creationId xmlns:a16="http://schemas.microsoft.com/office/drawing/2014/main" id="{975F2F56-BE4F-455A-826B-96FC3FC1248B}"/>
                </a:ext>
              </a:extLst>
            </p:cNvPr>
            <p:cNvSpPr>
              <a:spLocks noChangeAspect="1"/>
            </p:cNvSpPr>
            <p:nvPr/>
          </p:nvSpPr>
          <p:spPr bwMode="auto">
            <a:xfrm>
              <a:off x="11209" y="200"/>
              <a:ext cx="721" cy="825"/>
            </a:xfrm>
            <a:custGeom>
              <a:avLst/>
              <a:gdLst/>
              <a:ahLst/>
              <a:cxnLst>
                <a:cxn ang="0">
                  <a:pos x="304" y="204"/>
                </a:cxn>
                <a:cxn ang="0">
                  <a:pos x="307" y="182"/>
                </a:cxn>
                <a:cxn ang="0">
                  <a:pos x="305" y="111"/>
                </a:cxn>
                <a:cxn ang="0">
                  <a:pos x="321" y="79"/>
                </a:cxn>
                <a:cxn ang="0">
                  <a:pos x="308" y="49"/>
                </a:cxn>
                <a:cxn ang="0">
                  <a:pos x="279" y="39"/>
                </a:cxn>
                <a:cxn ang="0">
                  <a:pos x="282" y="1"/>
                </a:cxn>
                <a:cxn ang="0">
                  <a:pos x="256" y="22"/>
                </a:cxn>
                <a:cxn ang="0">
                  <a:pos x="227" y="47"/>
                </a:cxn>
                <a:cxn ang="0">
                  <a:pos x="205" y="50"/>
                </a:cxn>
                <a:cxn ang="0">
                  <a:pos x="186" y="61"/>
                </a:cxn>
                <a:cxn ang="0">
                  <a:pos x="168" y="66"/>
                </a:cxn>
                <a:cxn ang="0">
                  <a:pos x="149" y="66"/>
                </a:cxn>
                <a:cxn ang="0">
                  <a:pos x="125" y="78"/>
                </a:cxn>
                <a:cxn ang="0">
                  <a:pos x="107" y="90"/>
                </a:cxn>
                <a:cxn ang="0">
                  <a:pos x="81" y="87"/>
                </a:cxn>
                <a:cxn ang="0">
                  <a:pos x="53" y="84"/>
                </a:cxn>
                <a:cxn ang="0">
                  <a:pos x="25" y="66"/>
                </a:cxn>
                <a:cxn ang="0">
                  <a:pos x="0" y="60"/>
                </a:cxn>
                <a:cxn ang="0">
                  <a:pos x="41" y="101"/>
                </a:cxn>
                <a:cxn ang="0">
                  <a:pos x="38" y="130"/>
                </a:cxn>
                <a:cxn ang="0">
                  <a:pos x="49" y="163"/>
                </a:cxn>
                <a:cxn ang="0">
                  <a:pos x="85" y="172"/>
                </a:cxn>
                <a:cxn ang="0">
                  <a:pos x="87" y="185"/>
                </a:cxn>
                <a:cxn ang="0">
                  <a:pos x="131" y="199"/>
                </a:cxn>
                <a:cxn ang="0">
                  <a:pos x="134" y="235"/>
                </a:cxn>
                <a:cxn ang="0">
                  <a:pos x="145" y="268"/>
                </a:cxn>
                <a:cxn ang="0">
                  <a:pos x="150" y="319"/>
                </a:cxn>
                <a:cxn ang="0">
                  <a:pos x="150" y="350"/>
                </a:cxn>
                <a:cxn ang="0">
                  <a:pos x="140" y="360"/>
                </a:cxn>
                <a:cxn ang="0">
                  <a:pos x="179" y="404"/>
                </a:cxn>
                <a:cxn ang="0">
                  <a:pos x="206" y="412"/>
                </a:cxn>
                <a:cxn ang="0">
                  <a:pos x="196" y="383"/>
                </a:cxn>
                <a:cxn ang="0">
                  <a:pos x="202" y="360"/>
                </a:cxn>
                <a:cxn ang="0">
                  <a:pos x="254" y="372"/>
                </a:cxn>
                <a:cxn ang="0">
                  <a:pos x="277" y="361"/>
                </a:cxn>
                <a:cxn ang="0">
                  <a:pos x="268" y="342"/>
                </a:cxn>
                <a:cxn ang="0">
                  <a:pos x="275" y="323"/>
                </a:cxn>
                <a:cxn ang="0">
                  <a:pos x="357" y="303"/>
                </a:cxn>
                <a:cxn ang="0">
                  <a:pos x="359" y="244"/>
                </a:cxn>
              </a:cxnLst>
              <a:rect l="0" t="0" r="r" b="b"/>
              <a:pathLst>
                <a:path w="359" h="412">
                  <a:moveTo>
                    <a:pt x="359" y="244"/>
                  </a:moveTo>
                  <a:cubicBezTo>
                    <a:pt x="343" y="237"/>
                    <a:pt x="304" y="204"/>
                    <a:pt x="304" y="204"/>
                  </a:cubicBezTo>
                  <a:cubicBezTo>
                    <a:pt x="307" y="201"/>
                    <a:pt x="307" y="201"/>
                    <a:pt x="307" y="201"/>
                  </a:cubicBezTo>
                  <a:cubicBezTo>
                    <a:pt x="307" y="201"/>
                    <a:pt x="309" y="182"/>
                    <a:pt x="307" y="182"/>
                  </a:cubicBezTo>
                  <a:cubicBezTo>
                    <a:pt x="305" y="182"/>
                    <a:pt x="291" y="161"/>
                    <a:pt x="291" y="147"/>
                  </a:cubicBezTo>
                  <a:cubicBezTo>
                    <a:pt x="291" y="132"/>
                    <a:pt x="303" y="116"/>
                    <a:pt x="305" y="111"/>
                  </a:cubicBezTo>
                  <a:cubicBezTo>
                    <a:pt x="307" y="106"/>
                    <a:pt x="299" y="101"/>
                    <a:pt x="299" y="101"/>
                  </a:cubicBezTo>
                  <a:cubicBezTo>
                    <a:pt x="321" y="79"/>
                    <a:pt x="321" y="79"/>
                    <a:pt x="321" y="79"/>
                  </a:cubicBezTo>
                  <a:cubicBezTo>
                    <a:pt x="308" y="66"/>
                    <a:pt x="308" y="66"/>
                    <a:pt x="308" y="66"/>
                  </a:cubicBezTo>
                  <a:cubicBezTo>
                    <a:pt x="308" y="66"/>
                    <a:pt x="312" y="58"/>
                    <a:pt x="308" y="49"/>
                  </a:cubicBezTo>
                  <a:cubicBezTo>
                    <a:pt x="303" y="39"/>
                    <a:pt x="283" y="47"/>
                    <a:pt x="283" y="47"/>
                  </a:cubicBezTo>
                  <a:cubicBezTo>
                    <a:pt x="279" y="39"/>
                    <a:pt x="279" y="39"/>
                    <a:pt x="279" y="39"/>
                  </a:cubicBezTo>
                  <a:cubicBezTo>
                    <a:pt x="279" y="39"/>
                    <a:pt x="290" y="28"/>
                    <a:pt x="290" y="21"/>
                  </a:cubicBezTo>
                  <a:cubicBezTo>
                    <a:pt x="290" y="14"/>
                    <a:pt x="283" y="2"/>
                    <a:pt x="282" y="1"/>
                  </a:cubicBezTo>
                  <a:cubicBezTo>
                    <a:pt x="281" y="1"/>
                    <a:pt x="248" y="0"/>
                    <a:pt x="246" y="0"/>
                  </a:cubicBezTo>
                  <a:cubicBezTo>
                    <a:pt x="245" y="0"/>
                    <a:pt x="259" y="11"/>
                    <a:pt x="256" y="22"/>
                  </a:cubicBezTo>
                  <a:cubicBezTo>
                    <a:pt x="253" y="33"/>
                    <a:pt x="235" y="34"/>
                    <a:pt x="235" y="34"/>
                  </a:cubicBezTo>
                  <a:cubicBezTo>
                    <a:pt x="235" y="34"/>
                    <a:pt x="236" y="46"/>
                    <a:pt x="227" y="47"/>
                  </a:cubicBezTo>
                  <a:cubicBezTo>
                    <a:pt x="217" y="48"/>
                    <a:pt x="216" y="39"/>
                    <a:pt x="216" y="39"/>
                  </a:cubicBezTo>
                  <a:cubicBezTo>
                    <a:pt x="205" y="50"/>
                    <a:pt x="205" y="50"/>
                    <a:pt x="205" y="50"/>
                  </a:cubicBezTo>
                  <a:cubicBezTo>
                    <a:pt x="205" y="50"/>
                    <a:pt x="197" y="62"/>
                    <a:pt x="197" y="63"/>
                  </a:cubicBezTo>
                  <a:cubicBezTo>
                    <a:pt x="197" y="63"/>
                    <a:pt x="186" y="61"/>
                    <a:pt x="186" y="61"/>
                  </a:cubicBezTo>
                  <a:cubicBezTo>
                    <a:pt x="178" y="71"/>
                    <a:pt x="178" y="71"/>
                    <a:pt x="178" y="71"/>
                  </a:cubicBezTo>
                  <a:cubicBezTo>
                    <a:pt x="168" y="66"/>
                    <a:pt x="168" y="66"/>
                    <a:pt x="168" y="66"/>
                  </a:cubicBezTo>
                  <a:cubicBezTo>
                    <a:pt x="168" y="66"/>
                    <a:pt x="164" y="72"/>
                    <a:pt x="160" y="72"/>
                  </a:cubicBezTo>
                  <a:cubicBezTo>
                    <a:pt x="156" y="72"/>
                    <a:pt x="149" y="66"/>
                    <a:pt x="149" y="66"/>
                  </a:cubicBezTo>
                  <a:cubicBezTo>
                    <a:pt x="149" y="66"/>
                    <a:pt x="144" y="69"/>
                    <a:pt x="142" y="73"/>
                  </a:cubicBezTo>
                  <a:cubicBezTo>
                    <a:pt x="140" y="77"/>
                    <a:pt x="124" y="74"/>
                    <a:pt x="125" y="78"/>
                  </a:cubicBezTo>
                  <a:cubicBezTo>
                    <a:pt x="125" y="82"/>
                    <a:pt x="119" y="99"/>
                    <a:pt x="113" y="99"/>
                  </a:cubicBezTo>
                  <a:cubicBezTo>
                    <a:pt x="107" y="99"/>
                    <a:pt x="107" y="90"/>
                    <a:pt x="107" y="90"/>
                  </a:cubicBezTo>
                  <a:cubicBezTo>
                    <a:pt x="91" y="78"/>
                    <a:pt x="91" y="78"/>
                    <a:pt x="91" y="78"/>
                  </a:cubicBezTo>
                  <a:cubicBezTo>
                    <a:pt x="81" y="87"/>
                    <a:pt x="81" y="87"/>
                    <a:pt x="81" y="87"/>
                  </a:cubicBezTo>
                  <a:cubicBezTo>
                    <a:pt x="69" y="79"/>
                    <a:pt x="69" y="79"/>
                    <a:pt x="69" y="79"/>
                  </a:cubicBezTo>
                  <a:cubicBezTo>
                    <a:pt x="53" y="84"/>
                    <a:pt x="53" y="84"/>
                    <a:pt x="53" y="84"/>
                  </a:cubicBezTo>
                  <a:cubicBezTo>
                    <a:pt x="53" y="84"/>
                    <a:pt x="34" y="68"/>
                    <a:pt x="32" y="69"/>
                  </a:cubicBezTo>
                  <a:cubicBezTo>
                    <a:pt x="29" y="70"/>
                    <a:pt x="25" y="66"/>
                    <a:pt x="25" y="66"/>
                  </a:cubicBezTo>
                  <a:cubicBezTo>
                    <a:pt x="21" y="73"/>
                    <a:pt x="21" y="73"/>
                    <a:pt x="21" y="73"/>
                  </a:cubicBezTo>
                  <a:cubicBezTo>
                    <a:pt x="0" y="60"/>
                    <a:pt x="0" y="60"/>
                    <a:pt x="0" y="60"/>
                  </a:cubicBezTo>
                  <a:cubicBezTo>
                    <a:pt x="0" y="60"/>
                    <a:pt x="16" y="89"/>
                    <a:pt x="26" y="91"/>
                  </a:cubicBezTo>
                  <a:cubicBezTo>
                    <a:pt x="35" y="93"/>
                    <a:pt x="41" y="101"/>
                    <a:pt x="41" y="101"/>
                  </a:cubicBezTo>
                  <a:cubicBezTo>
                    <a:pt x="35" y="112"/>
                    <a:pt x="35" y="112"/>
                    <a:pt x="35" y="112"/>
                  </a:cubicBezTo>
                  <a:cubicBezTo>
                    <a:pt x="35" y="112"/>
                    <a:pt x="38" y="129"/>
                    <a:pt x="38" y="130"/>
                  </a:cubicBezTo>
                  <a:cubicBezTo>
                    <a:pt x="38" y="131"/>
                    <a:pt x="45" y="142"/>
                    <a:pt x="50" y="148"/>
                  </a:cubicBezTo>
                  <a:cubicBezTo>
                    <a:pt x="56" y="154"/>
                    <a:pt x="49" y="157"/>
                    <a:pt x="49" y="163"/>
                  </a:cubicBezTo>
                  <a:cubicBezTo>
                    <a:pt x="50" y="170"/>
                    <a:pt x="64" y="173"/>
                    <a:pt x="64" y="173"/>
                  </a:cubicBezTo>
                  <a:cubicBezTo>
                    <a:pt x="85" y="172"/>
                    <a:pt x="85" y="172"/>
                    <a:pt x="85" y="172"/>
                  </a:cubicBezTo>
                  <a:cubicBezTo>
                    <a:pt x="88" y="185"/>
                    <a:pt x="88" y="185"/>
                    <a:pt x="88" y="185"/>
                  </a:cubicBezTo>
                  <a:cubicBezTo>
                    <a:pt x="87" y="185"/>
                    <a:pt x="87" y="185"/>
                    <a:pt x="87" y="185"/>
                  </a:cubicBezTo>
                  <a:cubicBezTo>
                    <a:pt x="108" y="194"/>
                    <a:pt x="108" y="194"/>
                    <a:pt x="108" y="194"/>
                  </a:cubicBezTo>
                  <a:cubicBezTo>
                    <a:pt x="131" y="199"/>
                    <a:pt x="131" y="199"/>
                    <a:pt x="131" y="199"/>
                  </a:cubicBezTo>
                  <a:cubicBezTo>
                    <a:pt x="123" y="222"/>
                    <a:pt x="123" y="222"/>
                    <a:pt x="123" y="222"/>
                  </a:cubicBezTo>
                  <a:cubicBezTo>
                    <a:pt x="134" y="235"/>
                    <a:pt x="134" y="235"/>
                    <a:pt x="134" y="235"/>
                  </a:cubicBezTo>
                  <a:cubicBezTo>
                    <a:pt x="141" y="253"/>
                    <a:pt x="141" y="253"/>
                    <a:pt x="141" y="253"/>
                  </a:cubicBezTo>
                  <a:cubicBezTo>
                    <a:pt x="145" y="268"/>
                    <a:pt x="145" y="268"/>
                    <a:pt x="145" y="268"/>
                  </a:cubicBezTo>
                  <a:cubicBezTo>
                    <a:pt x="145" y="268"/>
                    <a:pt x="137" y="265"/>
                    <a:pt x="139" y="281"/>
                  </a:cubicBezTo>
                  <a:cubicBezTo>
                    <a:pt x="140" y="297"/>
                    <a:pt x="150" y="319"/>
                    <a:pt x="150" y="319"/>
                  </a:cubicBezTo>
                  <a:cubicBezTo>
                    <a:pt x="159" y="337"/>
                    <a:pt x="159" y="337"/>
                    <a:pt x="159" y="337"/>
                  </a:cubicBezTo>
                  <a:cubicBezTo>
                    <a:pt x="150" y="350"/>
                    <a:pt x="150" y="350"/>
                    <a:pt x="150" y="350"/>
                  </a:cubicBezTo>
                  <a:cubicBezTo>
                    <a:pt x="150" y="350"/>
                    <a:pt x="157" y="358"/>
                    <a:pt x="154" y="360"/>
                  </a:cubicBezTo>
                  <a:cubicBezTo>
                    <a:pt x="151" y="361"/>
                    <a:pt x="140" y="360"/>
                    <a:pt x="140" y="360"/>
                  </a:cubicBezTo>
                  <a:cubicBezTo>
                    <a:pt x="140" y="360"/>
                    <a:pt x="153" y="368"/>
                    <a:pt x="162" y="381"/>
                  </a:cubicBezTo>
                  <a:cubicBezTo>
                    <a:pt x="171" y="394"/>
                    <a:pt x="179" y="404"/>
                    <a:pt x="179" y="404"/>
                  </a:cubicBezTo>
                  <a:cubicBezTo>
                    <a:pt x="198" y="412"/>
                    <a:pt x="198" y="412"/>
                    <a:pt x="198" y="412"/>
                  </a:cubicBezTo>
                  <a:cubicBezTo>
                    <a:pt x="206" y="412"/>
                    <a:pt x="206" y="412"/>
                    <a:pt x="206" y="412"/>
                  </a:cubicBezTo>
                  <a:cubicBezTo>
                    <a:pt x="206" y="412"/>
                    <a:pt x="195" y="403"/>
                    <a:pt x="195" y="399"/>
                  </a:cubicBezTo>
                  <a:cubicBezTo>
                    <a:pt x="195" y="394"/>
                    <a:pt x="196" y="383"/>
                    <a:pt x="196" y="383"/>
                  </a:cubicBezTo>
                  <a:cubicBezTo>
                    <a:pt x="194" y="372"/>
                    <a:pt x="194" y="372"/>
                    <a:pt x="194" y="372"/>
                  </a:cubicBezTo>
                  <a:cubicBezTo>
                    <a:pt x="202" y="360"/>
                    <a:pt x="202" y="360"/>
                    <a:pt x="202" y="360"/>
                  </a:cubicBezTo>
                  <a:cubicBezTo>
                    <a:pt x="219" y="346"/>
                    <a:pt x="219" y="346"/>
                    <a:pt x="219" y="346"/>
                  </a:cubicBezTo>
                  <a:cubicBezTo>
                    <a:pt x="254" y="372"/>
                    <a:pt x="254" y="372"/>
                    <a:pt x="254" y="372"/>
                  </a:cubicBezTo>
                  <a:cubicBezTo>
                    <a:pt x="261" y="364"/>
                    <a:pt x="261" y="364"/>
                    <a:pt x="261" y="364"/>
                  </a:cubicBezTo>
                  <a:cubicBezTo>
                    <a:pt x="261" y="364"/>
                    <a:pt x="278" y="367"/>
                    <a:pt x="277" y="361"/>
                  </a:cubicBezTo>
                  <a:cubicBezTo>
                    <a:pt x="277" y="355"/>
                    <a:pt x="268" y="353"/>
                    <a:pt x="268" y="353"/>
                  </a:cubicBezTo>
                  <a:cubicBezTo>
                    <a:pt x="268" y="353"/>
                    <a:pt x="267" y="343"/>
                    <a:pt x="268" y="342"/>
                  </a:cubicBezTo>
                  <a:cubicBezTo>
                    <a:pt x="268" y="340"/>
                    <a:pt x="275" y="337"/>
                    <a:pt x="275" y="337"/>
                  </a:cubicBezTo>
                  <a:cubicBezTo>
                    <a:pt x="275" y="337"/>
                    <a:pt x="272" y="326"/>
                    <a:pt x="275" y="323"/>
                  </a:cubicBezTo>
                  <a:cubicBezTo>
                    <a:pt x="279" y="321"/>
                    <a:pt x="287" y="304"/>
                    <a:pt x="287" y="304"/>
                  </a:cubicBezTo>
                  <a:cubicBezTo>
                    <a:pt x="357" y="303"/>
                    <a:pt x="357" y="303"/>
                    <a:pt x="357" y="303"/>
                  </a:cubicBezTo>
                  <a:cubicBezTo>
                    <a:pt x="358" y="296"/>
                    <a:pt x="359" y="284"/>
                    <a:pt x="359" y="265"/>
                  </a:cubicBezTo>
                  <a:cubicBezTo>
                    <a:pt x="359" y="258"/>
                    <a:pt x="359" y="251"/>
                    <a:pt x="359" y="24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8" name="Freeform 322">
              <a:extLst>
                <a:ext uri="{FF2B5EF4-FFF2-40B4-BE49-F238E27FC236}">
                  <a16:creationId xmlns:a16="http://schemas.microsoft.com/office/drawing/2014/main" id="{0BD510DB-2412-4E8E-80FE-483F99FCDB74}"/>
                </a:ext>
              </a:extLst>
            </p:cNvPr>
            <p:cNvSpPr>
              <a:spLocks noChangeAspect="1"/>
            </p:cNvSpPr>
            <p:nvPr/>
          </p:nvSpPr>
          <p:spPr bwMode="auto">
            <a:xfrm>
              <a:off x="12414" y="297"/>
              <a:ext cx="610" cy="687"/>
            </a:xfrm>
            <a:custGeom>
              <a:avLst/>
              <a:gdLst/>
              <a:ahLst/>
              <a:cxnLst>
                <a:cxn ang="0">
                  <a:pos x="3" y="146"/>
                </a:cxn>
                <a:cxn ang="0">
                  <a:pos x="4" y="148"/>
                </a:cxn>
                <a:cxn ang="0">
                  <a:pos x="5" y="163"/>
                </a:cxn>
                <a:cxn ang="0">
                  <a:pos x="35" y="162"/>
                </a:cxn>
                <a:cxn ang="0">
                  <a:pos x="62" y="186"/>
                </a:cxn>
                <a:cxn ang="0">
                  <a:pos x="74" y="185"/>
                </a:cxn>
                <a:cxn ang="0">
                  <a:pos x="91" y="197"/>
                </a:cxn>
                <a:cxn ang="0">
                  <a:pos x="85" y="206"/>
                </a:cxn>
                <a:cxn ang="0">
                  <a:pos x="108" y="233"/>
                </a:cxn>
                <a:cxn ang="0">
                  <a:pos x="101" y="242"/>
                </a:cxn>
                <a:cxn ang="0">
                  <a:pos x="106" y="249"/>
                </a:cxn>
                <a:cxn ang="0">
                  <a:pos x="106" y="257"/>
                </a:cxn>
                <a:cxn ang="0">
                  <a:pos x="114" y="263"/>
                </a:cxn>
                <a:cxn ang="0">
                  <a:pos x="115" y="281"/>
                </a:cxn>
                <a:cxn ang="0">
                  <a:pos x="127" y="284"/>
                </a:cxn>
                <a:cxn ang="0">
                  <a:pos x="133" y="301"/>
                </a:cxn>
                <a:cxn ang="0">
                  <a:pos x="144" y="306"/>
                </a:cxn>
                <a:cxn ang="0">
                  <a:pos x="143" y="318"/>
                </a:cxn>
                <a:cxn ang="0">
                  <a:pos x="147" y="320"/>
                </a:cxn>
                <a:cxn ang="0">
                  <a:pos x="147" y="336"/>
                </a:cxn>
                <a:cxn ang="0">
                  <a:pos x="171" y="343"/>
                </a:cxn>
                <a:cxn ang="0">
                  <a:pos x="175" y="337"/>
                </a:cxn>
                <a:cxn ang="0">
                  <a:pos x="192" y="336"/>
                </a:cxn>
                <a:cxn ang="0">
                  <a:pos x="190" y="317"/>
                </a:cxn>
                <a:cxn ang="0">
                  <a:pos x="198" y="309"/>
                </a:cxn>
                <a:cxn ang="0">
                  <a:pos x="199" y="300"/>
                </a:cxn>
                <a:cxn ang="0">
                  <a:pos x="208" y="302"/>
                </a:cxn>
                <a:cxn ang="0">
                  <a:pos x="219" y="283"/>
                </a:cxn>
                <a:cxn ang="0">
                  <a:pos x="219" y="275"/>
                </a:cxn>
                <a:cxn ang="0">
                  <a:pos x="232" y="273"/>
                </a:cxn>
                <a:cxn ang="0">
                  <a:pos x="248" y="261"/>
                </a:cxn>
                <a:cxn ang="0">
                  <a:pos x="259" y="256"/>
                </a:cxn>
                <a:cxn ang="0">
                  <a:pos x="265" y="242"/>
                </a:cxn>
                <a:cxn ang="0">
                  <a:pos x="271" y="224"/>
                </a:cxn>
                <a:cxn ang="0">
                  <a:pos x="286" y="224"/>
                </a:cxn>
                <a:cxn ang="0">
                  <a:pos x="304" y="197"/>
                </a:cxn>
                <a:cxn ang="0">
                  <a:pos x="300" y="170"/>
                </a:cxn>
                <a:cxn ang="0">
                  <a:pos x="279" y="156"/>
                </a:cxn>
                <a:cxn ang="0">
                  <a:pos x="269" y="136"/>
                </a:cxn>
                <a:cxn ang="0">
                  <a:pos x="253" y="139"/>
                </a:cxn>
                <a:cxn ang="0">
                  <a:pos x="234" y="90"/>
                </a:cxn>
                <a:cxn ang="0">
                  <a:pos x="230" y="32"/>
                </a:cxn>
                <a:cxn ang="0">
                  <a:pos x="221" y="30"/>
                </a:cxn>
                <a:cxn ang="0">
                  <a:pos x="221" y="19"/>
                </a:cxn>
                <a:cxn ang="0">
                  <a:pos x="203" y="0"/>
                </a:cxn>
                <a:cxn ang="0">
                  <a:pos x="198" y="20"/>
                </a:cxn>
                <a:cxn ang="0">
                  <a:pos x="152" y="77"/>
                </a:cxn>
                <a:cxn ang="0">
                  <a:pos x="142" y="113"/>
                </a:cxn>
                <a:cxn ang="0">
                  <a:pos x="116" y="137"/>
                </a:cxn>
                <a:cxn ang="0">
                  <a:pos x="94" y="127"/>
                </a:cxn>
                <a:cxn ang="0">
                  <a:pos x="86" y="133"/>
                </a:cxn>
                <a:cxn ang="0">
                  <a:pos x="66" y="123"/>
                </a:cxn>
                <a:cxn ang="0">
                  <a:pos x="40" y="138"/>
                </a:cxn>
                <a:cxn ang="0">
                  <a:pos x="12" y="122"/>
                </a:cxn>
                <a:cxn ang="0">
                  <a:pos x="0" y="117"/>
                </a:cxn>
                <a:cxn ang="0">
                  <a:pos x="7" y="135"/>
                </a:cxn>
                <a:cxn ang="0">
                  <a:pos x="3" y="146"/>
                </a:cxn>
              </a:cxnLst>
              <a:rect l="0" t="0" r="r" b="b"/>
              <a:pathLst>
                <a:path w="304" h="343">
                  <a:moveTo>
                    <a:pt x="3" y="146"/>
                  </a:moveTo>
                  <a:cubicBezTo>
                    <a:pt x="4" y="148"/>
                    <a:pt x="4" y="148"/>
                    <a:pt x="4" y="148"/>
                  </a:cubicBezTo>
                  <a:cubicBezTo>
                    <a:pt x="5" y="163"/>
                    <a:pt x="5" y="163"/>
                    <a:pt x="5" y="163"/>
                  </a:cubicBezTo>
                  <a:cubicBezTo>
                    <a:pt x="35" y="162"/>
                    <a:pt x="35" y="162"/>
                    <a:pt x="35" y="162"/>
                  </a:cubicBezTo>
                  <a:cubicBezTo>
                    <a:pt x="62" y="186"/>
                    <a:pt x="62" y="186"/>
                    <a:pt x="62" y="186"/>
                  </a:cubicBezTo>
                  <a:cubicBezTo>
                    <a:pt x="74" y="185"/>
                    <a:pt x="74" y="185"/>
                    <a:pt x="74" y="185"/>
                  </a:cubicBezTo>
                  <a:cubicBezTo>
                    <a:pt x="91" y="197"/>
                    <a:pt x="91" y="197"/>
                    <a:pt x="91" y="197"/>
                  </a:cubicBezTo>
                  <a:cubicBezTo>
                    <a:pt x="85" y="206"/>
                    <a:pt x="85" y="206"/>
                    <a:pt x="85" y="206"/>
                  </a:cubicBezTo>
                  <a:cubicBezTo>
                    <a:pt x="108" y="233"/>
                    <a:pt x="108" y="233"/>
                    <a:pt x="108" y="233"/>
                  </a:cubicBezTo>
                  <a:cubicBezTo>
                    <a:pt x="101" y="242"/>
                    <a:pt x="101" y="242"/>
                    <a:pt x="101" y="242"/>
                  </a:cubicBezTo>
                  <a:cubicBezTo>
                    <a:pt x="106" y="249"/>
                    <a:pt x="106" y="249"/>
                    <a:pt x="106" y="249"/>
                  </a:cubicBezTo>
                  <a:cubicBezTo>
                    <a:pt x="106" y="257"/>
                    <a:pt x="106" y="257"/>
                    <a:pt x="106" y="257"/>
                  </a:cubicBezTo>
                  <a:cubicBezTo>
                    <a:pt x="114" y="263"/>
                    <a:pt x="114" y="263"/>
                    <a:pt x="114" y="263"/>
                  </a:cubicBezTo>
                  <a:cubicBezTo>
                    <a:pt x="115" y="281"/>
                    <a:pt x="115" y="281"/>
                    <a:pt x="115" y="281"/>
                  </a:cubicBezTo>
                  <a:cubicBezTo>
                    <a:pt x="115" y="281"/>
                    <a:pt x="121" y="276"/>
                    <a:pt x="127" y="284"/>
                  </a:cubicBezTo>
                  <a:cubicBezTo>
                    <a:pt x="132" y="292"/>
                    <a:pt x="127" y="297"/>
                    <a:pt x="133" y="301"/>
                  </a:cubicBezTo>
                  <a:cubicBezTo>
                    <a:pt x="139" y="305"/>
                    <a:pt x="144" y="306"/>
                    <a:pt x="144" y="306"/>
                  </a:cubicBezTo>
                  <a:cubicBezTo>
                    <a:pt x="143" y="318"/>
                    <a:pt x="143" y="318"/>
                    <a:pt x="143" y="318"/>
                  </a:cubicBezTo>
                  <a:cubicBezTo>
                    <a:pt x="147" y="320"/>
                    <a:pt x="147" y="320"/>
                    <a:pt x="147" y="320"/>
                  </a:cubicBezTo>
                  <a:cubicBezTo>
                    <a:pt x="147" y="336"/>
                    <a:pt x="147" y="336"/>
                    <a:pt x="147" y="336"/>
                  </a:cubicBezTo>
                  <a:cubicBezTo>
                    <a:pt x="171" y="343"/>
                    <a:pt x="171" y="343"/>
                    <a:pt x="171" y="343"/>
                  </a:cubicBezTo>
                  <a:cubicBezTo>
                    <a:pt x="171" y="343"/>
                    <a:pt x="173" y="337"/>
                    <a:pt x="175" y="337"/>
                  </a:cubicBezTo>
                  <a:cubicBezTo>
                    <a:pt x="177" y="337"/>
                    <a:pt x="192" y="336"/>
                    <a:pt x="192" y="336"/>
                  </a:cubicBezTo>
                  <a:cubicBezTo>
                    <a:pt x="190" y="317"/>
                    <a:pt x="190" y="317"/>
                    <a:pt x="190" y="317"/>
                  </a:cubicBezTo>
                  <a:cubicBezTo>
                    <a:pt x="190" y="317"/>
                    <a:pt x="198" y="316"/>
                    <a:pt x="198" y="309"/>
                  </a:cubicBezTo>
                  <a:cubicBezTo>
                    <a:pt x="199" y="302"/>
                    <a:pt x="199" y="300"/>
                    <a:pt x="199" y="300"/>
                  </a:cubicBezTo>
                  <a:cubicBezTo>
                    <a:pt x="208" y="302"/>
                    <a:pt x="208" y="302"/>
                    <a:pt x="208" y="302"/>
                  </a:cubicBezTo>
                  <a:cubicBezTo>
                    <a:pt x="219" y="283"/>
                    <a:pt x="219" y="283"/>
                    <a:pt x="219" y="283"/>
                  </a:cubicBezTo>
                  <a:cubicBezTo>
                    <a:pt x="219" y="275"/>
                    <a:pt x="219" y="275"/>
                    <a:pt x="219" y="275"/>
                  </a:cubicBezTo>
                  <a:cubicBezTo>
                    <a:pt x="232" y="273"/>
                    <a:pt x="232" y="273"/>
                    <a:pt x="232" y="273"/>
                  </a:cubicBezTo>
                  <a:cubicBezTo>
                    <a:pt x="232" y="273"/>
                    <a:pt x="239" y="262"/>
                    <a:pt x="248" y="261"/>
                  </a:cubicBezTo>
                  <a:cubicBezTo>
                    <a:pt x="256" y="260"/>
                    <a:pt x="259" y="256"/>
                    <a:pt x="259" y="256"/>
                  </a:cubicBezTo>
                  <a:cubicBezTo>
                    <a:pt x="265" y="242"/>
                    <a:pt x="265" y="242"/>
                    <a:pt x="265" y="242"/>
                  </a:cubicBezTo>
                  <a:cubicBezTo>
                    <a:pt x="265" y="242"/>
                    <a:pt x="257" y="224"/>
                    <a:pt x="271" y="224"/>
                  </a:cubicBezTo>
                  <a:cubicBezTo>
                    <a:pt x="276" y="224"/>
                    <a:pt x="281" y="224"/>
                    <a:pt x="286" y="224"/>
                  </a:cubicBezTo>
                  <a:cubicBezTo>
                    <a:pt x="304" y="197"/>
                    <a:pt x="304" y="197"/>
                    <a:pt x="304" y="197"/>
                  </a:cubicBezTo>
                  <a:cubicBezTo>
                    <a:pt x="304" y="197"/>
                    <a:pt x="302" y="179"/>
                    <a:pt x="300" y="170"/>
                  </a:cubicBezTo>
                  <a:cubicBezTo>
                    <a:pt x="298" y="161"/>
                    <a:pt x="285" y="159"/>
                    <a:pt x="279" y="156"/>
                  </a:cubicBezTo>
                  <a:cubicBezTo>
                    <a:pt x="273" y="154"/>
                    <a:pt x="276" y="143"/>
                    <a:pt x="269" y="136"/>
                  </a:cubicBezTo>
                  <a:cubicBezTo>
                    <a:pt x="263" y="129"/>
                    <a:pt x="259" y="140"/>
                    <a:pt x="253" y="139"/>
                  </a:cubicBezTo>
                  <a:cubicBezTo>
                    <a:pt x="248" y="138"/>
                    <a:pt x="235" y="96"/>
                    <a:pt x="234" y="90"/>
                  </a:cubicBezTo>
                  <a:cubicBezTo>
                    <a:pt x="234" y="84"/>
                    <a:pt x="230" y="32"/>
                    <a:pt x="230" y="32"/>
                  </a:cubicBezTo>
                  <a:cubicBezTo>
                    <a:pt x="221" y="30"/>
                    <a:pt x="221" y="30"/>
                    <a:pt x="221" y="30"/>
                  </a:cubicBezTo>
                  <a:cubicBezTo>
                    <a:pt x="221" y="19"/>
                    <a:pt x="221" y="19"/>
                    <a:pt x="221" y="19"/>
                  </a:cubicBezTo>
                  <a:cubicBezTo>
                    <a:pt x="203" y="0"/>
                    <a:pt x="203" y="0"/>
                    <a:pt x="203" y="0"/>
                  </a:cubicBezTo>
                  <a:cubicBezTo>
                    <a:pt x="203" y="0"/>
                    <a:pt x="198" y="18"/>
                    <a:pt x="198" y="20"/>
                  </a:cubicBezTo>
                  <a:cubicBezTo>
                    <a:pt x="198" y="22"/>
                    <a:pt x="152" y="77"/>
                    <a:pt x="152" y="77"/>
                  </a:cubicBezTo>
                  <a:cubicBezTo>
                    <a:pt x="152" y="77"/>
                    <a:pt x="150" y="100"/>
                    <a:pt x="142" y="113"/>
                  </a:cubicBezTo>
                  <a:cubicBezTo>
                    <a:pt x="134" y="126"/>
                    <a:pt x="122" y="132"/>
                    <a:pt x="116" y="137"/>
                  </a:cubicBezTo>
                  <a:cubicBezTo>
                    <a:pt x="109" y="143"/>
                    <a:pt x="94" y="127"/>
                    <a:pt x="94" y="127"/>
                  </a:cubicBezTo>
                  <a:cubicBezTo>
                    <a:pt x="86" y="133"/>
                    <a:pt x="86" y="133"/>
                    <a:pt x="86" y="133"/>
                  </a:cubicBezTo>
                  <a:cubicBezTo>
                    <a:pt x="66" y="123"/>
                    <a:pt x="66" y="123"/>
                    <a:pt x="66" y="123"/>
                  </a:cubicBezTo>
                  <a:cubicBezTo>
                    <a:pt x="66" y="123"/>
                    <a:pt x="57" y="137"/>
                    <a:pt x="40" y="138"/>
                  </a:cubicBezTo>
                  <a:cubicBezTo>
                    <a:pt x="23" y="139"/>
                    <a:pt x="12" y="122"/>
                    <a:pt x="12" y="122"/>
                  </a:cubicBezTo>
                  <a:cubicBezTo>
                    <a:pt x="12" y="122"/>
                    <a:pt x="6" y="119"/>
                    <a:pt x="0" y="117"/>
                  </a:cubicBezTo>
                  <a:cubicBezTo>
                    <a:pt x="7" y="135"/>
                    <a:pt x="7" y="135"/>
                    <a:pt x="7" y="135"/>
                  </a:cubicBezTo>
                  <a:lnTo>
                    <a:pt x="3" y="14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9" name="Freeform 325">
              <a:extLst>
                <a:ext uri="{FF2B5EF4-FFF2-40B4-BE49-F238E27FC236}">
                  <a16:creationId xmlns:a16="http://schemas.microsoft.com/office/drawing/2014/main" id="{314BC0CF-55F2-4426-A5BA-64D6D6551D1B}"/>
                </a:ext>
              </a:extLst>
            </p:cNvPr>
            <p:cNvSpPr>
              <a:spLocks noChangeAspect="1"/>
            </p:cNvSpPr>
            <p:nvPr/>
          </p:nvSpPr>
          <p:spPr bwMode="auto">
            <a:xfrm>
              <a:off x="11600" y="1719"/>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0" name="Freeform 326">
              <a:extLst>
                <a:ext uri="{FF2B5EF4-FFF2-40B4-BE49-F238E27FC236}">
                  <a16:creationId xmlns:a16="http://schemas.microsoft.com/office/drawing/2014/main" id="{5961AD65-4ACB-43D3-BDCF-31AE2C24B12A}"/>
                </a:ext>
              </a:extLst>
            </p:cNvPr>
            <p:cNvSpPr>
              <a:spLocks noChangeAspect="1"/>
            </p:cNvSpPr>
            <p:nvPr/>
          </p:nvSpPr>
          <p:spPr bwMode="auto">
            <a:xfrm>
              <a:off x="12007" y="2911"/>
              <a:ext cx="890" cy="837"/>
            </a:xfrm>
            <a:custGeom>
              <a:avLst/>
              <a:gdLst/>
              <a:ahLst/>
              <a:cxnLst>
                <a:cxn ang="0">
                  <a:pos x="386" y="109"/>
                </a:cxn>
                <a:cxn ang="0">
                  <a:pos x="366" y="98"/>
                </a:cxn>
                <a:cxn ang="0">
                  <a:pos x="339" y="86"/>
                </a:cxn>
                <a:cxn ang="0">
                  <a:pos x="320" y="81"/>
                </a:cxn>
                <a:cxn ang="0">
                  <a:pos x="331" y="70"/>
                </a:cxn>
                <a:cxn ang="0">
                  <a:pos x="312" y="74"/>
                </a:cxn>
                <a:cxn ang="0">
                  <a:pos x="310" y="50"/>
                </a:cxn>
                <a:cxn ang="0">
                  <a:pos x="257" y="41"/>
                </a:cxn>
                <a:cxn ang="0">
                  <a:pos x="271" y="27"/>
                </a:cxn>
                <a:cxn ang="0">
                  <a:pos x="262" y="16"/>
                </a:cxn>
                <a:cxn ang="0">
                  <a:pos x="237" y="30"/>
                </a:cxn>
                <a:cxn ang="0">
                  <a:pos x="204" y="25"/>
                </a:cxn>
                <a:cxn ang="0">
                  <a:pos x="161" y="10"/>
                </a:cxn>
                <a:cxn ang="0">
                  <a:pos x="127" y="1"/>
                </a:cxn>
                <a:cxn ang="0">
                  <a:pos x="102" y="4"/>
                </a:cxn>
                <a:cxn ang="0">
                  <a:pos x="88" y="4"/>
                </a:cxn>
                <a:cxn ang="0">
                  <a:pos x="69" y="37"/>
                </a:cxn>
                <a:cxn ang="0">
                  <a:pos x="51" y="44"/>
                </a:cxn>
                <a:cxn ang="0">
                  <a:pos x="28" y="35"/>
                </a:cxn>
                <a:cxn ang="0">
                  <a:pos x="47" y="65"/>
                </a:cxn>
                <a:cxn ang="0">
                  <a:pos x="27" y="101"/>
                </a:cxn>
                <a:cxn ang="0">
                  <a:pos x="25" y="116"/>
                </a:cxn>
                <a:cxn ang="0">
                  <a:pos x="23" y="167"/>
                </a:cxn>
                <a:cxn ang="0">
                  <a:pos x="0" y="181"/>
                </a:cxn>
                <a:cxn ang="0">
                  <a:pos x="12" y="208"/>
                </a:cxn>
                <a:cxn ang="0">
                  <a:pos x="24" y="251"/>
                </a:cxn>
                <a:cxn ang="0">
                  <a:pos x="17" y="284"/>
                </a:cxn>
                <a:cxn ang="0">
                  <a:pos x="30" y="298"/>
                </a:cxn>
                <a:cxn ang="0">
                  <a:pos x="93" y="311"/>
                </a:cxn>
                <a:cxn ang="0">
                  <a:pos x="123" y="310"/>
                </a:cxn>
                <a:cxn ang="0">
                  <a:pos x="154" y="329"/>
                </a:cxn>
                <a:cxn ang="0">
                  <a:pos x="162" y="366"/>
                </a:cxn>
                <a:cxn ang="0">
                  <a:pos x="165" y="392"/>
                </a:cxn>
                <a:cxn ang="0">
                  <a:pos x="196" y="412"/>
                </a:cxn>
                <a:cxn ang="0">
                  <a:pos x="235" y="415"/>
                </a:cxn>
                <a:cxn ang="0">
                  <a:pos x="245" y="412"/>
                </a:cxn>
                <a:cxn ang="0">
                  <a:pos x="272" y="369"/>
                </a:cxn>
                <a:cxn ang="0">
                  <a:pos x="303" y="336"/>
                </a:cxn>
                <a:cxn ang="0">
                  <a:pos x="357" y="295"/>
                </a:cxn>
                <a:cxn ang="0">
                  <a:pos x="373" y="270"/>
                </a:cxn>
                <a:cxn ang="0">
                  <a:pos x="378" y="259"/>
                </a:cxn>
                <a:cxn ang="0">
                  <a:pos x="403" y="223"/>
                </a:cxn>
                <a:cxn ang="0">
                  <a:pos x="418" y="190"/>
                </a:cxn>
                <a:cxn ang="0">
                  <a:pos x="435" y="151"/>
                </a:cxn>
                <a:cxn ang="0">
                  <a:pos x="444" y="140"/>
                </a:cxn>
                <a:cxn ang="0">
                  <a:pos x="399" y="120"/>
                </a:cxn>
              </a:cxnLst>
              <a:rect l="0" t="0" r="r" b="b"/>
              <a:pathLst>
                <a:path w="444" h="418">
                  <a:moveTo>
                    <a:pt x="399" y="120"/>
                  </a:moveTo>
                  <a:cubicBezTo>
                    <a:pt x="385" y="118"/>
                    <a:pt x="386" y="109"/>
                    <a:pt x="386" y="109"/>
                  </a:cubicBezTo>
                  <a:cubicBezTo>
                    <a:pt x="386" y="109"/>
                    <a:pt x="375" y="109"/>
                    <a:pt x="371" y="109"/>
                  </a:cubicBezTo>
                  <a:cubicBezTo>
                    <a:pt x="368" y="109"/>
                    <a:pt x="366" y="98"/>
                    <a:pt x="366" y="98"/>
                  </a:cubicBezTo>
                  <a:cubicBezTo>
                    <a:pt x="353" y="98"/>
                    <a:pt x="353" y="98"/>
                    <a:pt x="353" y="98"/>
                  </a:cubicBezTo>
                  <a:cubicBezTo>
                    <a:pt x="339" y="86"/>
                    <a:pt x="339" y="86"/>
                    <a:pt x="339" y="86"/>
                  </a:cubicBezTo>
                  <a:cubicBezTo>
                    <a:pt x="339" y="86"/>
                    <a:pt x="333" y="94"/>
                    <a:pt x="331" y="94"/>
                  </a:cubicBezTo>
                  <a:cubicBezTo>
                    <a:pt x="330" y="94"/>
                    <a:pt x="325" y="89"/>
                    <a:pt x="320" y="81"/>
                  </a:cubicBezTo>
                  <a:cubicBezTo>
                    <a:pt x="315" y="73"/>
                    <a:pt x="330" y="75"/>
                    <a:pt x="330" y="75"/>
                  </a:cubicBezTo>
                  <a:cubicBezTo>
                    <a:pt x="331" y="70"/>
                    <a:pt x="331" y="70"/>
                    <a:pt x="331" y="70"/>
                  </a:cubicBezTo>
                  <a:cubicBezTo>
                    <a:pt x="316" y="69"/>
                    <a:pt x="316" y="69"/>
                    <a:pt x="316" y="69"/>
                  </a:cubicBezTo>
                  <a:cubicBezTo>
                    <a:pt x="316" y="69"/>
                    <a:pt x="315" y="74"/>
                    <a:pt x="312" y="74"/>
                  </a:cubicBezTo>
                  <a:cubicBezTo>
                    <a:pt x="310" y="74"/>
                    <a:pt x="308" y="57"/>
                    <a:pt x="308" y="57"/>
                  </a:cubicBezTo>
                  <a:cubicBezTo>
                    <a:pt x="310" y="50"/>
                    <a:pt x="310" y="50"/>
                    <a:pt x="310" y="50"/>
                  </a:cubicBezTo>
                  <a:cubicBezTo>
                    <a:pt x="267" y="48"/>
                    <a:pt x="267" y="48"/>
                    <a:pt x="267" y="48"/>
                  </a:cubicBezTo>
                  <a:cubicBezTo>
                    <a:pt x="257" y="41"/>
                    <a:pt x="257" y="41"/>
                    <a:pt x="257" y="41"/>
                  </a:cubicBezTo>
                  <a:cubicBezTo>
                    <a:pt x="262" y="31"/>
                    <a:pt x="262" y="31"/>
                    <a:pt x="262" y="31"/>
                  </a:cubicBezTo>
                  <a:cubicBezTo>
                    <a:pt x="271" y="27"/>
                    <a:pt x="271" y="27"/>
                    <a:pt x="271" y="27"/>
                  </a:cubicBezTo>
                  <a:cubicBezTo>
                    <a:pt x="272" y="2"/>
                    <a:pt x="272" y="2"/>
                    <a:pt x="272" y="2"/>
                  </a:cubicBezTo>
                  <a:cubicBezTo>
                    <a:pt x="262" y="16"/>
                    <a:pt x="262" y="16"/>
                    <a:pt x="262" y="16"/>
                  </a:cubicBezTo>
                  <a:cubicBezTo>
                    <a:pt x="262" y="16"/>
                    <a:pt x="254" y="16"/>
                    <a:pt x="251" y="21"/>
                  </a:cubicBezTo>
                  <a:cubicBezTo>
                    <a:pt x="248" y="26"/>
                    <a:pt x="237" y="30"/>
                    <a:pt x="237" y="30"/>
                  </a:cubicBezTo>
                  <a:cubicBezTo>
                    <a:pt x="221" y="17"/>
                    <a:pt x="221" y="17"/>
                    <a:pt x="221" y="17"/>
                  </a:cubicBezTo>
                  <a:cubicBezTo>
                    <a:pt x="204" y="25"/>
                    <a:pt x="204" y="25"/>
                    <a:pt x="204" y="25"/>
                  </a:cubicBezTo>
                  <a:cubicBezTo>
                    <a:pt x="204" y="25"/>
                    <a:pt x="175" y="23"/>
                    <a:pt x="173" y="23"/>
                  </a:cubicBezTo>
                  <a:cubicBezTo>
                    <a:pt x="170" y="23"/>
                    <a:pt x="161" y="10"/>
                    <a:pt x="161" y="10"/>
                  </a:cubicBezTo>
                  <a:cubicBezTo>
                    <a:pt x="161" y="10"/>
                    <a:pt x="154" y="8"/>
                    <a:pt x="145" y="7"/>
                  </a:cubicBezTo>
                  <a:cubicBezTo>
                    <a:pt x="135" y="5"/>
                    <a:pt x="139" y="1"/>
                    <a:pt x="127" y="1"/>
                  </a:cubicBezTo>
                  <a:cubicBezTo>
                    <a:pt x="114" y="0"/>
                    <a:pt x="106" y="11"/>
                    <a:pt x="106" y="11"/>
                  </a:cubicBezTo>
                  <a:cubicBezTo>
                    <a:pt x="102" y="4"/>
                    <a:pt x="102" y="4"/>
                    <a:pt x="102" y="4"/>
                  </a:cubicBezTo>
                  <a:cubicBezTo>
                    <a:pt x="96" y="13"/>
                    <a:pt x="96" y="13"/>
                    <a:pt x="96" y="13"/>
                  </a:cubicBezTo>
                  <a:cubicBezTo>
                    <a:pt x="88" y="4"/>
                    <a:pt x="88" y="4"/>
                    <a:pt x="88" y="4"/>
                  </a:cubicBezTo>
                  <a:cubicBezTo>
                    <a:pt x="88" y="4"/>
                    <a:pt x="78" y="18"/>
                    <a:pt x="77" y="24"/>
                  </a:cubicBezTo>
                  <a:cubicBezTo>
                    <a:pt x="76" y="29"/>
                    <a:pt x="70" y="35"/>
                    <a:pt x="69" y="37"/>
                  </a:cubicBezTo>
                  <a:cubicBezTo>
                    <a:pt x="69" y="39"/>
                    <a:pt x="55" y="34"/>
                    <a:pt x="55" y="34"/>
                  </a:cubicBezTo>
                  <a:cubicBezTo>
                    <a:pt x="51" y="44"/>
                    <a:pt x="51" y="44"/>
                    <a:pt x="51" y="44"/>
                  </a:cubicBezTo>
                  <a:cubicBezTo>
                    <a:pt x="37" y="36"/>
                    <a:pt x="37" y="36"/>
                    <a:pt x="37" y="36"/>
                  </a:cubicBezTo>
                  <a:cubicBezTo>
                    <a:pt x="28" y="35"/>
                    <a:pt x="28" y="35"/>
                    <a:pt x="28" y="35"/>
                  </a:cubicBezTo>
                  <a:cubicBezTo>
                    <a:pt x="28" y="36"/>
                    <a:pt x="29" y="38"/>
                    <a:pt x="30" y="41"/>
                  </a:cubicBezTo>
                  <a:cubicBezTo>
                    <a:pt x="35" y="55"/>
                    <a:pt x="47" y="65"/>
                    <a:pt x="47" y="65"/>
                  </a:cubicBezTo>
                  <a:cubicBezTo>
                    <a:pt x="47" y="65"/>
                    <a:pt x="39" y="67"/>
                    <a:pt x="39" y="68"/>
                  </a:cubicBezTo>
                  <a:cubicBezTo>
                    <a:pt x="39" y="68"/>
                    <a:pt x="27" y="94"/>
                    <a:pt x="27" y="101"/>
                  </a:cubicBezTo>
                  <a:cubicBezTo>
                    <a:pt x="27" y="107"/>
                    <a:pt x="36" y="110"/>
                    <a:pt x="36" y="110"/>
                  </a:cubicBezTo>
                  <a:cubicBezTo>
                    <a:pt x="36" y="110"/>
                    <a:pt x="27" y="113"/>
                    <a:pt x="25" y="116"/>
                  </a:cubicBezTo>
                  <a:cubicBezTo>
                    <a:pt x="22" y="119"/>
                    <a:pt x="5" y="155"/>
                    <a:pt x="5" y="155"/>
                  </a:cubicBezTo>
                  <a:cubicBezTo>
                    <a:pt x="23" y="167"/>
                    <a:pt x="23" y="167"/>
                    <a:pt x="23" y="167"/>
                  </a:cubicBezTo>
                  <a:cubicBezTo>
                    <a:pt x="9" y="174"/>
                    <a:pt x="9" y="174"/>
                    <a:pt x="9" y="174"/>
                  </a:cubicBezTo>
                  <a:cubicBezTo>
                    <a:pt x="0" y="181"/>
                    <a:pt x="0" y="181"/>
                    <a:pt x="0" y="181"/>
                  </a:cubicBezTo>
                  <a:cubicBezTo>
                    <a:pt x="0" y="181"/>
                    <a:pt x="9" y="193"/>
                    <a:pt x="10" y="194"/>
                  </a:cubicBezTo>
                  <a:cubicBezTo>
                    <a:pt x="10" y="195"/>
                    <a:pt x="12" y="206"/>
                    <a:pt x="12" y="208"/>
                  </a:cubicBezTo>
                  <a:cubicBezTo>
                    <a:pt x="12" y="210"/>
                    <a:pt x="17" y="212"/>
                    <a:pt x="23" y="221"/>
                  </a:cubicBezTo>
                  <a:cubicBezTo>
                    <a:pt x="29" y="230"/>
                    <a:pt x="24" y="251"/>
                    <a:pt x="24" y="251"/>
                  </a:cubicBezTo>
                  <a:cubicBezTo>
                    <a:pt x="24" y="251"/>
                    <a:pt x="19" y="262"/>
                    <a:pt x="17" y="264"/>
                  </a:cubicBezTo>
                  <a:cubicBezTo>
                    <a:pt x="16" y="266"/>
                    <a:pt x="19" y="275"/>
                    <a:pt x="17" y="284"/>
                  </a:cubicBezTo>
                  <a:cubicBezTo>
                    <a:pt x="16" y="293"/>
                    <a:pt x="16" y="297"/>
                    <a:pt x="21" y="300"/>
                  </a:cubicBezTo>
                  <a:cubicBezTo>
                    <a:pt x="26" y="304"/>
                    <a:pt x="30" y="298"/>
                    <a:pt x="30" y="298"/>
                  </a:cubicBezTo>
                  <a:cubicBezTo>
                    <a:pt x="48" y="304"/>
                    <a:pt x="48" y="304"/>
                    <a:pt x="48" y="304"/>
                  </a:cubicBezTo>
                  <a:cubicBezTo>
                    <a:pt x="93" y="311"/>
                    <a:pt x="93" y="311"/>
                    <a:pt x="93" y="311"/>
                  </a:cubicBezTo>
                  <a:cubicBezTo>
                    <a:pt x="105" y="295"/>
                    <a:pt x="105" y="295"/>
                    <a:pt x="105" y="295"/>
                  </a:cubicBezTo>
                  <a:cubicBezTo>
                    <a:pt x="123" y="310"/>
                    <a:pt x="123" y="310"/>
                    <a:pt x="123" y="310"/>
                  </a:cubicBezTo>
                  <a:cubicBezTo>
                    <a:pt x="123" y="310"/>
                    <a:pt x="130" y="310"/>
                    <a:pt x="143" y="310"/>
                  </a:cubicBezTo>
                  <a:cubicBezTo>
                    <a:pt x="155" y="311"/>
                    <a:pt x="154" y="329"/>
                    <a:pt x="154" y="329"/>
                  </a:cubicBezTo>
                  <a:cubicBezTo>
                    <a:pt x="154" y="329"/>
                    <a:pt x="157" y="357"/>
                    <a:pt x="158" y="358"/>
                  </a:cubicBezTo>
                  <a:cubicBezTo>
                    <a:pt x="158" y="360"/>
                    <a:pt x="162" y="366"/>
                    <a:pt x="162" y="366"/>
                  </a:cubicBezTo>
                  <a:cubicBezTo>
                    <a:pt x="162" y="366"/>
                    <a:pt x="160" y="374"/>
                    <a:pt x="160" y="381"/>
                  </a:cubicBezTo>
                  <a:cubicBezTo>
                    <a:pt x="160" y="388"/>
                    <a:pt x="165" y="392"/>
                    <a:pt x="165" y="392"/>
                  </a:cubicBezTo>
                  <a:cubicBezTo>
                    <a:pt x="165" y="392"/>
                    <a:pt x="165" y="402"/>
                    <a:pt x="167" y="410"/>
                  </a:cubicBezTo>
                  <a:cubicBezTo>
                    <a:pt x="169" y="418"/>
                    <a:pt x="195" y="412"/>
                    <a:pt x="196" y="412"/>
                  </a:cubicBezTo>
                  <a:cubicBezTo>
                    <a:pt x="196" y="412"/>
                    <a:pt x="203" y="406"/>
                    <a:pt x="216" y="402"/>
                  </a:cubicBezTo>
                  <a:cubicBezTo>
                    <a:pt x="230" y="398"/>
                    <a:pt x="235" y="415"/>
                    <a:pt x="235" y="415"/>
                  </a:cubicBezTo>
                  <a:cubicBezTo>
                    <a:pt x="236" y="418"/>
                    <a:pt x="236" y="418"/>
                    <a:pt x="236" y="418"/>
                  </a:cubicBezTo>
                  <a:cubicBezTo>
                    <a:pt x="240" y="415"/>
                    <a:pt x="245" y="412"/>
                    <a:pt x="245" y="412"/>
                  </a:cubicBezTo>
                  <a:cubicBezTo>
                    <a:pt x="254" y="379"/>
                    <a:pt x="254" y="379"/>
                    <a:pt x="254" y="379"/>
                  </a:cubicBezTo>
                  <a:cubicBezTo>
                    <a:pt x="254" y="379"/>
                    <a:pt x="270" y="373"/>
                    <a:pt x="272" y="369"/>
                  </a:cubicBezTo>
                  <a:cubicBezTo>
                    <a:pt x="273" y="366"/>
                    <a:pt x="276" y="347"/>
                    <a:pt x="276" y="347"/>
                  </a:cubicBezTo>
                  <a:cubicBezTo>
                    <a:pt x="303" y="336"/>
                    <a:pt x="303" y="336"/>
                    <a:pt x="303" y="336"/>
                  </a:cubicBezTo>
                  <a:cubicBezTo>
                    <a:pt x="310" y="326"/>
                    <a:pt x="310" y="326"/>
                    <a:pt x="310" y="326"/>
                  </a:cubicBezTo>
                  <a:cubicBezTo>
                    <a:pt x="310" y="326"/>
                    <a:pt x="357" y="300"/>
                    <a:pt x="357" y="295"/>
                  </a:cubicBezTo>
                  <a:cubicBezTo>
                    <a:pt x="357" y="290"/>
                    <a:pt x="356" y="285"/>
                    <a:pt x="357" y="283"/>
                  </a:cubicBezTo>
                  <a:cubicBezTo>
                    <a:pt x="358" y="282"/>
                    <a:pt x="373" y="270"/>
                    <a:pt x="373" y="270"/>
                  </a:cubicBezTo>
                  <a:cubicBezTo>
                    <a:pt x="368" y="261"/>
                    <a:pt x="368" y="261"/>
                    <a:pt x="368" y="261"/>
                  </a:cubicBezTo>
                  <a:cubicBezTo>
                    <a:pt x="378" y="259"/>
                    <a:pt x="378" y="259"/>
                    <a:pt x="378" y="259"/>
                  </a:cubicBezTo>
                  <a:cubicBezTo>
                    <a:pt x="378" y="259"/>
                    <a:pt x="383" y="239"/>
                    <a:pt x="384" y="238"/>
                  </a:cubicBezTo>
                  <a:cubicBezTo>
                    <a:pt x="385" y="237"/>
                    <a:pt x="403" y="223"/>
                    <a:pt x="403" y="223"/>
                  </a:cubicBezTo>
                  <a:cubicBezTo>
                    <a:pt x="396" y="212"/>
                    <a:pt x="396" y="212"/>
                    <a:pt x="396" y="212"/>
                  </a:cubicBezTo>
                  <a:cubicBezTo>
                    <a:pt x="418" y="190"/>
                    <a:pt x="418" y="190"/>
                    <a:pt x="418" y="190"/>
                  </a:cubicBezTo>
                  <a:cubicBezTo>
                    <a:pt x="433" y="189"/>
                    <a:pt x="433" y="189"/>
                    <a:pt x="433" y="189"/>
                  </a:cubicBezTo>
                  <a:cubicBezTo>
                    <a:pt x="435" y="151"/>
                    <a:pt x="435" y="151"/>
                    <a:pt x="435" y="151"/>
                  </a:cubicBezTo>
                  <a:cubicBezTo>
                    <a:pt x="435" y="151"/>
                    <a:pt x="443" y="147"/>
                    <a:pt x="443" y="146"/>
                  </a:cubicBezTo>
                  <a:cubicBezTo>
                    <a:pt x="443" y="145"/>
                    <a:pt x="443" y="143"/>
                    <a:pt x="444" y="140"/>
                  </a:cubicBezTo>
                  <a:cubicBezTo>
                    <a:pt x="432" y="127"/>
                    <a:pt x="432" y="127"/>
                    <a:pt x="432" y="127"/>
                  </a:cubicBezTo>
                  <a:cubicBezTo>
                    <a:pt x="432" y="127"/>
                    <a:pt x="414" y="122"/>
                    <a:pt x="399" y="120"/>
                  </a:cubicBez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 name="Freeform 327">
              <a:extLst>
                <a:ext uri="{FF2B5EF4-FFF2-40B4-BE49-F238E27FC236}">
                  <a16:creationId xmlns:a16="http://schemas.microsoft.com/office/drawing/2014/main" id="{225051ED-633E-4AAA-88EB-930DA0A6415C}"/>
                </a:ext>
              </a:extLst>
            </p:cNvPr>
            <p:cNvSpPr>
              <a:spLocks noChangeAspect="1" noEditPoints="1"/>
            </p:cNvSpPr>
            <p:nvPr/>
          </p:nvSpPr>
          <p:spPr bwMode="auto">
            <a:xfrm>
              <a:off x="12607" y="2332"/>
              <a:ext cx="893" cy="860"/>
            </a:xfrm>
            <a:custGeom>
              <a:avLst/>
              <a:gdLst/>
              <a:ahLst/>
              <a:cxnLst>
                <a:cxn ang="0">
                  <a:pos x="426" y="83"/>
                </a:cxn>
                <a:cxn ang="0">
                  <a:pos x="419" y="42"/>
                </a:cxn>
                <a:cxn ang="0">
                  <a:pos x="417" y="31"/>
                </a:cxn>
                <a:cxn ang="0">
                  <a:pos x="375" y="48"/>
                </a:cxn>
                <a:cxn ang="0">
                  <a:pos x="356" y="52"/>
                </a:cxn>
                <a:cxn ang="0">
                  <a:pos x="344" y="60"/>
                </a:cxn>
                <a:cxn ang="0">
                  <a:pos x="323" y="55"/>
                </a:cxn>
                <a:cxn ang="0">
                  <a:pos x="303" y="49"/>
                </a:cxn>
                <a:cxn ang="0">
                  <a:pos x="291" y="51"/>
                </a:cxn>
                <a:cxn ang="0">
                  <a:pos x="284" y="44"/>
                </a:cxn>
                <a:cxn ang="0">
                  <a:pos x="259" y="35"/>
                </a:cxn>
                <a:cxn ang="0">
                  <a:pos x="236" y="55"/>
                </a:cxn>
                <a:cxn ang="0">
                  <a:pos x="178" y="31"/>
                </a:cxn>
                <a:cxn ang="0">
                  <a:pos x="165" y="23"/>
                </a:cxn>
                <a:cxn ang="0">
                  <a:pos x="146" y="80"/>
                </a:cxn>
                <a:cxn ang="0">
                  <a:pos x="138" y="109"/>
                </a:cxn>
                <a:cxn ang="0">
                  <a:pos x="116" y="156"/>
                </a:cxn>
                <a:cxn ang="0">
                  <a:pos x="87" y="202"/>
                </a:cxn>
                <a:cxn ang="0">
                  <a:pos x="37" y="235"/>
                </a:cxn>
                <a:cxn ang="0">
                  <a:pos x="13" y="271"/>
                </a:cxn>
                <a:cxn ang="0">
                  <a:pos x="0" y="293"/>
                </a:cxn>
                <a:cxn ang="0">
                  <a:pos x="11" y="339"/>
                </a:cxn>
                <a:cxn ang="0">
                  <a:pos x="13" y="363"/>
                </a:cxn>
                <a:cxn ang="0">
                  <a:pos x="32" y="359"/>
                </a:cxn>
                <a:cxn ang="0">
                  <a:pos x="21" y="370"/>
                </a:cxn>
                <a:cxn ang="0">
                  <a:pos x="40" y="375"/>
                </a:cxn>
                <a:cxn ang="0">
                  <a:pos x="67" y="387"/>
                </a:cxn>
                <a:cxn ang="0">
                  <a:pos x="87" y="398"/>
                </a:cxn>
                <a:cxn ang="0">
                  <a:pos x="133" y="416"/>
                </a:cxn>
                <a:cxn ang="0">
                  <a:pos x="152" y="410"/>
                </a:cxn>
                <a:cxn ang="0">
                  <a:pos x="179" y="381"/>
                </a:cxn>
                <a:cxn ang="0">
                  <a:pos x="226" y="367"/>
                </a:cxn>
                <a:cxn ang="0">
                  <a:pos x="254" y="359"/>
                </a:cxn>
                <a:cxn ang="0">
                  <a:pos x="281" y="356"/>
                </a:cxn>
                <a:cxn ang="0">
                  <a:pos x="301" y="356"/>
                </a:cxn>
                <a:cxn ang="0">
                  <a:pos x="362" y="340"/>
                </a:cxn>
                <a:cxn ang="0">
                  <a:pos x="363" y="315"/>
                </a:cxn>
                <a:cxn ang="0">
                  <a:pos x="368" y="279"/>
                </a:cxn>
                <a:cxn ang="0">
                  <a:pos x="353" y="243"/>
                </a:cxn>
                <a:cxn ang="0">
                  <a:pos x="360" y="220"/>
                </a:cxn>
                <a:cxn ang="0">
                  <a:pos x="393" y="212"/>
                </a:cxn>
                <a:cxn ang="0">
                  <a:pos x="389" y="182"/>
                </a:cxn>
                <a:cxn ang="0">
                  <a:pos x="407" y="164"/>
                </a:cxn>
                <a:cxn ang="0">
                  <a:pos x="424" y="153"/>
                </a:cxn>
                <a:cxn ang="0">
                  <a:pos x="437" y="127"/>
                </a:cxn>
                <a:cxn ang="0">
                  <a:pos x="421" y="96"/>
                </a:cxn>
                <a:cxn ang="0">
                  <a:pos x="355" y="215"/>
                </a:cxn>
                <a:cxn ang="0">
                  <a:pos x="306" y="219"/>
                </a:cxn>
                <a:cxn ang="0">
                  <a:pos x="306" y="205"/>
                </a:cxn>
                <a:cxn ang="0">
                  <a:pos x="309" y="190"/>
                </a:cxn>
                <a:cxn ang="0">
                  <a:pos x="358" y="197"/>
                </a:cxn>
              </a:cxnLst>
              <a:rect l="0" t="0" r="r" b="b"/>
              <a:pathLst>
                <a:path w="446" h="429">
                  <a:moveTo>
                    <a:pt x="421" y="96"/>
                  </a:moveTo>
                  <a:cubicBezTo>
                    <a:pt x="421" y="96"/>
                    <a:pt x="423" y="93"/>
                    <a:pt x="426" y="83"/>
                  </a:cubicBezTo>
                  <a:cubicBezTo>
                    <a:pt x="429" y="73"/>
                    <a:pt x="437" y="57"/>
                    <a:pt x="437" y="57"/>
                  </a:cubicBezTo>
                  <a:cubicBezTo>
                    <a:pt x="419" y="42"/>
                    <a:pt x="419" y="42"/>
                    <a:pt x="419" y="42"/>
                  </a:cubicBezTo>
                  <a:cubicBezTo>
                    <a:pt x="431" y="34"/>
                    <a:pt x="431" y="34"/>
                    <a:pt x="431" y="34"/>
                  </a:cubicBezTo>
                  <a:cubicBezTo>
                    <a:pt x="431" y="34"/>
                    <a:pt x="421" y="32"/>
                    <a:pt x="417" y="31"/>
                  </a:cubicBezTo>
                  <a:cubicBezTo>
                    <a:pt x="388" y="36"/>
                    <a:pt x="388" y="36"/>
                    <a:pt x="388" y="36"/>
                  </a:cubicBezTo>
                  <a:cubicBezTo>
                    <a:pt x="375" y="48"/>
                    <a:pt x="375" y="48"/>
                    <a:pt x="375" y="48"/>
                  </a:cubicBezTo>
                  <a:cubicBezTo>
                    <a:pt x="363" y="46"/>
                    <a:pt x="363" y="46"/>
                    <a:pt x="363" y="46"/>
                  </a:cubicBezTo>
                  <a:cubicBezTo>
                    <a:pt x="356" y="52"/>
                    <a:pt x="356" y="52"/>
                    <a:pt x="356" y="52"/>
                  </a:cubicBezTo>
                  <a:cubicBezTo>
                    <a:pt x="340" y="43"/>
                    <a:pt x="340" y="43"/>
                    <a:pt x="340" y="43"/>
                  </a:cubicBezTo>
                  <a:cubicBezTo>
                    <a:pt x="344" y="60"/>
                    <a:pt x="344" y="60"/>
                    <a:pt x="344" y="60"/>
                  </a:cubicBezTo>
                  <a:cubicBezTo>
                    <a:pt x="338" y="67"/>
                    <a:pt x="338" y="67"/>
                    <a:pt x="338" y="67"/>
                  </a:cubicBezTo>
                  <a:cubicBezTo>
                    <a:pt x="323" y="55"/>
                    <a:pt x="323" y="55"/>
                    <a:pt x="323" y="55"/>
                  </a:cubicBezTo>
                  <a:cubicBezTo>
                    <a:pt x="311" y="56"/>
                    <a:pt x="311" y="56"/>
                    <a:pt x="311" y="56"/>
                  </a:cubicBezTo>
                  <a:cubicBezTo>
                    <a:pt x="303" y="49"/>
                    <a:pt x="303" y="49"/>
                    <a:pt x="303" y="49"/>
                  </a:cubicBezTo>
                  <a:cubicBezTo>
                    <a:pt x="292" y="58"/>
                    <a:pt x="292" y="58"/>
                    <a:pt x="292" y="58"/>
                  </a:cubicBezTo>
                  <a:cubicBezTo>
                    <a:pt x="291" y="51"/>
                    <a:pt x="291" y="51"/>
                    <a:pt x="291" y="51"/>
                  </a:cubicBezTo>
                  <a:cubicBezTo>
                    <a:pt x="280" y="54"/>
                    <a:pt x="280" y="54"/>
                    <a:pt x="280" y="54"/>
                  </a:cubicBezTo>
                  <a:cubicBezTo>
                    <a:pt x="284" y="44"/>
                    <a:pt x="284" y="44"/>
                    <a:pt x="284" y="44"/>
                  </a:cubicBezTo>
                  <a:cubicBezTo>
                    <a:pt x="269" y="28"/>
                    <a:pt x="269" y="28"/>
                    <a:pt x="269" y="28"/>
                  </a:cubicBezTo>
                  <a:cubicBezTo>
                    <a:pt x="259" y="35"/>
                    <a:pt x="259" y="35"/>
                    <a:pt x="259" y="35"/>
                  </a:cubicBezTo>
                  <a:cubicBezTo>
                    <a:pt x="251" y="24"/>
                    <a:pt x="251" y="24"/>
                    <a:pt x="251" y="24"/>
                  </a:cubicBezTo>
                  <a:cubicBezTo>
                    <a:pt x="236" y="55"/>
                    <a:pt x="236" y="55"/>
                    <a:pt x="236" y="55"/>
                  </a:cubicBezTo>
                  <a:cubicBezTo>
                    <a:pt x="203" y="36"/>
                    <a:pt x="203" y="36"/>
                    <a:pt x="203" y="36"/>
                  </a:cubicBezTo>
                  <a:cubicBezTo>
                    <a:pt x="178" y="31"/>
                    <a:pt x="178" y="31"/>
                    <a:pt x="178" y="31"/>
                  </a:cubicBezTo>
                  <a:cubicBezTo>
                    <a:pt x="190" y="0"/>
                    <a:pt x="190" y="0"/>
                    <a:pt x="190" y="0"/>
                  </a:cubicBezTo>
                  <a:cubicBezTo>
                    <a:pt x="165" y="23"/>
                    <a:pt x="165" y="23"/>
                    <a:pt x="165" y="23"/>
                  </a:cubicBezTo>
                  <a:cubicBezTo>
                    <a:pt x="163" y="34"/>
                    <a:pt x="162" y="47"/>
                    <a:pt x="161" y="56"/>
                  </a:cubicBezTo>
                  <a:cubicBezTo>
                    <a:pt x="160" y="74"/>
                    <a:pt x="146" y="80"/>
                    <a:pt x="146" y="80"/>
                  </a:cubicBezTo>
                  <a:cubicBezTo>
                    <a:pt x="146" y="80"/>
                    <a:pt x="145" y="102"/>
                    <a:pt x="145" y="104"/>
                  </a:cubicBezTo>
                  <a:cubicBezTo>
                    <a:pt x="145" y="105"/>
                    <a:pt x="138" y="107"/>
                    <a:pt x="138" y="109"/>
                  </a:cubicBezTo>
                  <a:cubicBezTo>
                    <a:pt x="138" y="111"/>
                    <a:pt x="137" y="150"/>
                    <a:pt x="130" y="157"/>
                  </a:cubicBezTo>
                  <a:cubicBezTo>
                    <a:pt x="123" y="164"/>
                    <a:pt x="116" y="158"/>
                    <a:pt x="116" y="156"/>
                  </a:cubicBezTo>
                  <a:cubicBezTo>
                    <a:pt x="116" y="155"/>
                    <a:pt x="96" y="175"/>
                    <a:pt x="94" y="178"/>
                  </a:cubicBezTo>
                  <a:cubicBezTo>
                    <a:pt x="92" y="180"/>
                    <a:pt x="93" y="195"/>
                    <a:pt x="87" y="202"/>
                  </a:cubicBezTo>
                  <a:cubicBezTo>
                    <a:pt x="82" y="209"/>
                    <a:pt x="64" y="211"/>
                    <a:pt x="62" y="211"/>
                  </a:cubicBezTo>
                  <a:cubicBezTo>
                    <a:pt x="60" y="211"/>
                    <a:pt x="37" y="235"/>
                    <a:pt x="37" y="235"/>
                  </a:cubicBezTo>
                  <a:cubicBezTo>
                    <a:pt x="45" y="247"/>
                    <a:pt x="45" y="247"/>
                    <a:pt x="45" y="247"/>
                  </a:cubicBezTo>
                  <a:cubicBezTo>
                    <a:pt x="13" y="271"/>
                    <a:pt x="13" y="271"/>
                    <a:pt x="13" y="271"/>
                  </a:cubicBezTo>
                  <a:cubicBezTo>
                    <a:pt x="12" y="283"/>
                    <a:pt x="12" y="283"/>
                    <a:pt x="12" y="283"/>
                  </a:cubicBezTo>
                  <a:cubicBezTo>
                    <a:pt x="0" y="293"/>
                    <a:pt x="0" y="293"/>
                    <a:pt x="0" y="293"/>
                  </a:cubicBezTo>
                  <a:cubicBezTo>
                    <a:pt x="0" y="293"/>
                    <a:pt x="0" y="321"/>
                    <a:pt x="5" y="323"/>
                  </a:cubicBezTo>
                  <a:cubicBezTo>
                    <a:pt x="11" y="326"/>
                    <a:pt x="11" y="339"/>
                    <a:pt x="11" y="339"/>
                  </a:cubicBezTo>
                  <a:cubicBezTo>
                    <a:pt x="9" y="346"/>
                    <a:pt x="9" y="346"/>
                    <a:pt x="9" y="346"/>
                  </a:cubicBezTo>
                  <a:cubicBezTo>
                    <a:pt x="9" y="346"/>
                    <a:pt x="11" y="363"/>
                    <a:pt x="13" y="363"/>
                  </a:cubicBezTo>
                  <a:cubicBezTo>
                    <a:pt x="16" y="363"/>
                    <a:pt x="17" y="358"/>
                    <a:pt x="17" y="358"/>
                  </a:cubicBezTo>
                  <a:cubicBezTo>
                    <a:pt x="32" y="359"/>
                    <a:pt x="32" y="359"/>
                    <a:pt x="32" y="359"/>
                  </a:cubicBezTo>
                  <a:cubicBezTo>
                    <a:pt x="31" y="364"/>
                    <a:pt x="31" y="364"/>
                    <a:pt x="31" y="364"/>
                  </a:cubicBezTo>
                  <a:cubicBezTo>
                    <a:pt x="31" y="364"/>
                    <a:pt x="16" y="362"/>
                    <a:pt x="21" y="370"/>
                  </a:cubicBezTo>
                  <a:cubicBezTo>
                    <a:pt x="26" y="378"/>
                    <a:pt x="31" y="383"/>
                    <a:pt x="32" y="383"/>
                  </a:cubicBezTo>
                  <a:cubicBezTo>
                    <a:pt x="34" y="383"/>
                    <a:pt x="40" y="375"/>
                    <a:pt x="40" y="375"/>
                  </a:cubicBezTo>
                  <a:cubicBezTo>
                    <a:pt x="54" y="387"/>
                    <a:pt x="54" y="387"/>
                    <a:pt x="54" y="387"/>
                  </a:cubicBezTo>
                  <a:cubicBezTo>
                    <a:pt x="67" y="387"/>
                    <a:pt x="67" y="387"/>
                    <a:pt x="67" y="387"/>
                  </a:cubicBezTo>
                  <a:cubicBezTo>
                    <a:pt x="67" y="387"/>
                    <a:pt x="69" y="398"/>
                    <a:pt x="72" y="398"/>
                  </a:cubicBezTo>
                  <a:cubicBezTo>
                    <a:pt x="76" y="398"/>
                    <a:pt x="87" y="398"/>
                    <a:pt x="87" y="398"/>
                  </a:cubicBezTo>
                  <a:cubicBezTo>
                    <a:pt x="87" y="398"/>
                    <a:pt x="86" y="407"/>
                    <a:pt x="100" y="409"/>
                  </a:cubicBezTo>
                  <a:cubicBezTo>
                    <a:pt x="115" y="411"/>
                    <a:pt x="133" y="416"/>
                    <a:pt x="133" y="416"/>
                  </a:cubicBezTo>
                  <a:cubicBezTo>
                    <a:pt x="145" y="429"/>
                    <a:pt x="145" y="429"/>
                    <a:pt x="145" y="429"/>
                  </a:cubicBezTo>
                  <a:cubicBezTo>
                    <a:pt x="147" y="422"/>
                    <a:pt x="150" y="410"/>
                    <a:pt x="152" y="410"/>
                  </a:cubicBezTo>
                  <a:cubicBezTo>
                    <a:pt x="155" y="410"/>
                    <a:pt x="165" y="410"/>
                    <a:pt x="165" y="410"/>
                  </a:cubicBezTo>
                  <a:cubicBezTo>
                    <a:pt x="165" y="410"/>
                    <a:pt x="154" y="385"/>
                    <a:pt x="179" y="381"/>
                  </a:cubicBezTo>
                  <a:cubicBezTo>
                    <a:pt x="203" y="378"/>
                    <a:pt x="209" y="378"/>
                    <a:pt x="211" y="377"/>
                  </a:cubicBezTo>
                  <a:cubicBezTo>
                    <a:pt x="213" y="375"/>
                    <a:pt x="226" y="367"/>
                    <a:pt x="226" y="367"/>
                  </a:cubicBezTo>
                  <a:cubicBezTo>
                    <a:pt x="233" y="378"/>
                    <a:pt x="233" y="378"/>
                    <a:pt x="233" y="378"/>
                  </a:cubicBezTo>
                  <a:cubicBezTo>
                    <a:pt x="254" y="359"/>
                    <a:pt x="254" y="359"/>
                    <a:pt x="254" y="359"/>
                  </a:cubicBezTo>
                  <a:cubicBezTo>
                    <a:pt x="273" y="362"/>
                    <a:pt x="273" y="362"/>
                    <a:pt x="273" y="362"/>
                  </a:cubicBezTo>
                  <a:cubicBezTo>
                    <a:pt x="281" y="356"/>
                    <a:pt x="281" y="356"/>
                    <a:pt x="281" y="356"/>
                  </a:cubicBezTo>
                  <a:cubicBezTo>
                    <a:pt x="289" y="362"/>
                    <a:pt x="289" y="362"/>
                    <a:pt x="289" y="362"/>
                  </a:cubicBezTo>
                  <a:cubicBezTo>
                    <a:pt x="301" y="356"/>
                    <a:pt x="301" y="356"/>
                    <a:pt x="301" y="356"/>
                  </a:cubicBezTo>
                  <a:cubicBezTo>
                    <a:pt x="301" y="356"/>
                    <a:pt x="323" y="369"/>
                    <a:pt x="323" y="368"/>
                  </a:cubicBezTo>
                  <a:cubicBezTo>
                    <a:pt x="324" y="367"/>
                    <a:pt x="362" y="340"/>
                    <a:pt x="362" y="340"/>
                  </a:cubicBezTo>
                  <a:cubicBezTo>
                    <a:pt x="352" y="330"/>
                    <a:pt x="352" y="330"/>
                    <a:pt x="352" y="330"/>
                  </a:cubicBezTo>
                  <a:cubicBezTo>
                    <a:pt x="352" y="330"/>
                    <a:pt x="371" y="320"/>
                    <a:pt x="363" y="315"/>
                  </a:cubicBezTo>
                  <a:cubicBezTo>
                    <a:pt x="355" y="310"/>
                    <a:pt x="346" y="307"/>
                    <a:pt x="347" y="305"/>
                  </a:cubicBezTo>
                  <a:cubicBezTo>
                    <a:pt x="348" y="303"/>
                    <a:pt x="366" y="283"/>
                    <a:pt x="368" y="279"/>
                  </a:cubicBezTo>
                  <a:cubicBezTo>
                    <a:pt x="370" y="274"/>
                    <a:pt x="367" y="263"/>
                    <a:pt x="366" y="262"/>
                  </a:cubicBezTo>
                  <a:cubicBezTo>
                    <a:pt x="364" y="261"/>
                    <a:pt x="349" y="249"/>
                    <a:pt x="353" y="243"/>
                  </a:cubicBezTo>
                  <a:cubicBezTo>
                    <a:pt x="356" y="238"/>
                    <a:pt x="362" y="235"/>
                    <a:pt x="362" y="234"/>
                  </a:cubicBezTo>
                  <a:cubicBezTo>
                    <a:pt x="362" y="234"/>
                    <a:pt x="360" y="220"/>
                    <a:pt x="360" y="220"/>
                  </a:cubicBezTo>
                  <a:cubicBezTo>
                    <a:pt x="372" y="213"/>
                    <a:pt x="372" y="213"/>
                    <a:pt x="372" y="213"/>
                  </a:cubicBezTo>
                  <a:cubicBezTo>
                    <a:pt x="393" y="212"/>
                    <a:pt x="393" y="212"/>
                    <a:pt x="393" y="212"/>
                  </a:cubicBezTo>
                  <a:cubicBezTo>
                    <a:pt x="379" y="188"/>
                    <a:pt x="379" y="188"/>
                    <a:pt x="379" y="188"/>
                  </a:cubicBezTo>
                  <a:cubicBezTo>
                    <a:pt x="389" y="182"/>
                    <a:pt x="389" y="182"/>
                    <a:pt x="389" y="182"/>
                  </a:cubicBezTo>
                  <a:cubicBezTo>
                    <a:pt x="389" y="182"/>
                    <a:pt x="380" y="161"/>
                    <a:pt x="384" y="158"/>
                  </a:cubicBezTo>
                  <a:cubicBezTo>
                    <a:pt x="387" y="156"/>
                    <a:pt x="407" y="166"/>
                    <a:pt x="407" y="164"/>
                  </a:cubicBezTo>
                  <a:cubicBezTo>
                    <a:pt x="407" y="163"/>
                    <a:pt x="396" y="136"/>
                    <a:pt x="409" y="142"/>
                  </a:cubicBezTo>
                  <a:cubicBezTo>
                    <a:pt x="422" y="148"/>
                    <a:pt x="424" y="153"/>
                    <a:pt x="424" y="153"/>
                  </a:cubicBezTo>
                  <a:cubicBezTo>
                    <a:pt x="436" y="150"/>
                    <a:pt x="436" y="150"/>
                    <a:pt x="436" y="150"/>
                  </a:cubicBezTo>
                  <a:cubicBezTo>
                    <a:pt x="437" y="127"/>
                    <a:pt x="437" y="127"/>
                    <a:pt x="437" y="127"/>
                  </a:cubicBezTo>
                  <a:cubicBezTo>
                    <a:pt x="446" y="121"/>
                    <a:pt x="446" y="121"/>
                    <a:pt x="446" y="121"/>
                  </a:cubicBezTo>
                  <a:lnTo>
                    <a:pt x="421" y="96"/>
                  </a:lnTo>
                  <a:close/>
                  <a:moveTo>
                    <a:pt x="356" y="206"/>
                  </a:moveTo>
                  <a:cubicBezTo>
                    <a:pt x="355" y="215"/>
                    <a:pt x="355" y="215"/>
                    <a:pt x="355" y="215"/>
                  </a:cubicBezTo>
                  <a:cubicBezTo>
                    <a:pt x="351" y="220"/>
                    <a:pt x="351" y="220"/>
                    <a:pt x="351" y="220"/>
                  </a:cubicBezTo>
                  <a:cubicBezTo>
                    <a:pt x="306" y="219"/>
                    <a:pt x="306" y="219"/>
                    <a:pt x="306" y="219"/>
                  </a:cubicBezTo>
                  <a:cubicBezTo>
                    <a:pt x="306" y="219"/>
                    <a:pt x="301" y="215"/>
                    <a:pt x="301" y="211"/>
                  </a:cubicBezTo>
                  <a:cubicBezTo>
                    <a:pt x="301" y="206"/>
                    <a:pt x="306" y="205"/>
                    <a:pt x="306" y="205"/>
                  </a:cubicBezTo>
                  <a:cubicBezTo>
                    <a:pt x="305" y="194"/>
                    <a:pt x="305" y="194"/>
                    <a:pt x="305" y="194"/>
                  </a:cubicBezTo>
                  <a:cubicBezTo>
                    <a:pt x="309" y="190"/>
                    <a:pt x="309" y="190"/>
                    <a:pt x="309" y="190"/>
                  </a:cubicBezTo>
                  <a:cubicBezTo>
                    <a:pt x="352" y="189"/>
                    <a:pt x="352" y="189"/>
                    <a:pt x="352" y="189"/>
                  </a:cubicBezTo>
                  <a:cubicBezTo>
                    <a:pt x="358" y="197"/>
                    <a:pt x="358" y="197"/>
                    <a:pt x="358" y="197"/>
                  </a:cubicBezTo>
                  <a:lnTo>
                    <a:pt x="356" y="20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 name="Freeform 328">
              <a:extLst>
                <a:ext uri="{FF2B5EF4-FFF2-40B4-BE49-F238E27FC236}">
                  <a16:creationId xmlns:a16="http://schemas.microsoft.com/office/drawing/2014/main" id="{8B65DDF9-4387-4FC4-ADB4-F6EB690CC664}"/>
                </a:ext>
              </a:extLst>
            </p:cNvPr>
            <p:cNvSpPr>
              <a:spLocks noChangeAspect="1"/>
            </p:cNvSpPr>
            <p:nvPr/>
          </p:nvSpPr>
          <p:spPr bwMode="auto">
            <a:xfrm>
              <a:off x="13209" y="2711"/>
              <a:ext cx="114" cy="62"/>
            </a:xfrm>
            <a:custGeom>
              <a:avLst/>
              <a:gdLst>
                <a:gd name="T0" fmla="*/ 4096 w 57"/>
                <a:gd name="T1" fmla="*/ 512 h 31"/>
                <a:gd name="T2" fmla="*/ 2048 w 57"/>
                <a:gd name="T3" fmla="*/ 2560 h 31"/>
                <a:gd name="T4" fmla="*/ 2560 w 57"/>
                <a:gd name="T5" fmla="*/ 8192 h 31"/>
                <a:gd name="T6" fmla="*/ 0 w 57"/>
                <a:gd name="T7" fmla="*/ 11264 h 31"/>
                <a:gd name="T8" fmla="*/ 2560 w 57"/>
                <a:gd name="T9" fmla="*/ 15360 h 31"/>
                <a:gd name="T10" fmla="*/ 25600 w 57"/>
                <a:gd name="T11" fmla="*/ 15872 h 31"/>
                <a:gd name="T12" fmla="*/ 27648 w 57"/>
                <a:gd name="T13" fmla="*/ 13312 h 31"/>
                <a:gd name="T14" fmla="*/ 28160 w 57"/>
                <a:gd name="T15" fmla="*/ 8704 h 31"/>
                <a:gd name="T16" fmla="*/ 29184 w 57"/>
                <a:gd name="T17" fmla="*/ 4096 h 31"/>
                <a:gd name="T18" fmla="*/ 26112 w 57"/>
                <a:gd name="T19" fmla="*/ 0 h 31"/>
                <a:gd name="T20" fmla="*/ 4096 w 57"/>
                <a:gd name="T21" fmla="*/ 51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1"/>
                <a:gd name="T35" fmla="*/ 57 w 5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1">
                  <a:moveTo>
                    <a:pt x="8" y="1"/>
                  </a:moveTo>
                  <a:cubicBezTo>
                    <a:pt x="4" y="5"/>
                    <a:pt x="4" y="5"/>
                    <a:pt x="4" y="5"/>
                  </a:cubicBezTo>
                  <a:cubicBezTo>
                    <a:pt x="5" y="16"/>
                    <a:pt x="5" y="16"/>
                    <a:pt x="5" y="16"/>
                  </a:cubicBezTo>
                  <a:cubicBezTo>
                    <a:pt x="5" y="16"/>
                    <a:pt x="0" y="17"/>
                    <a:pt x="0" y="22"/>
                  </a:cubicBezTo>
                  <a:cubicBezTo>
                    <a:pt x="0" y="26"/>
                    <a:pt x="5" y="30"/>
                    <a:pt x="5" y="30"/>
                  </a:cubicBezTo>
                  <a:cubicBezTo>
                    <a:pt x="50" y="31"/>
                    <a:pt x="50" y="31"/>
                    <a:pt x="50" y="31"/>
                  </a:cubicBezTo>
                  <a:cubicBezTo>
                    <a:pt x="54" y="26"/>
                    <a:pt x="54" y="26"/>
                    <a:pt x="54" y="26"/>
                  </a:cubicBezTo>
                  <a:cubicBezTo>
                    <a:pt x="55" y="17"/>
                    <a:pt x="55" y="17"/>
                    <a:pt x="55" y="17"/>
                  </a:cubicBezTo>
                  <a:cubicBezTo>
                    <a:pt x="57" y="8"/>
                    <a:pt x="57" y="8"/>
                    <a:pt x="57" y="8"/>
                  </a:cubicBezTo>
                  <a:cubicBezTo>
                    <a:pt x="51" y="0"/>
                    <a:pt x="51" y="0"/>
                    <a:pt x="51" y="0"/>
                  </a:cubicBezTo>
                  <a:lnTo>
                    <a:pt x="8" y="1"/>
                  </a:lnTo>
                  <a:close/>
                </a:path>
              </a:pathLst>
            </a:custGeom>
            <a:grpFill/>
            <a:ln w="12700">
              <a:solidFill>
                <a:schemeClr val="bg1"/>
              </a:solidFill>
              <a:round/>
              <a:headEnd/>
              <a:tailEnd/>
            </a:ln>
          </p:spPr>
          <p:txBody>
            <a:bodyPr/>
            <a:lstStyle/>
            <a:p>
              <a:endParaRPr lang="en-US" sz="500" dirty="0">
                <a:solidFill>
                  <a:srgbClr val="000000"/>
                </a:solidFill>
              </a:endParaRPr>
            </a:p>
          </p:txBody>
        </p:sp>
        <p:sp>
          <p:nvSpPr>
            <p:cNvPr id="23" name="Freeform 330">
              <a:extLst>
                <a:ext uri="{FF2B5EF4-FFF2-40B4-BE49-F238E27FC236}">
                  <a16:creationId xmlns:a16="http://schemas.microsoft.com/office/drawing/2014/main" id="{E1DC85C1-0BDB-43E5-BF45-C66AEF2256DF}"/>
                </a:ext>
              </a:extLst>
            </p:cNvPr>
            <p:cNvSpPr>
              <a:spLocks noChangeAspect="1"/>
            </p:cNvSpPr>
            <p:nvPr/>
          </p:nvSpPr>
          <p:spPr bwMode="auto">
            <a:xfrm>
              <a:off x="12436" y="3555"/>
              <a:ext cx="812" cy="490"/>
            </a:xfrm>
            <a:custGeom>
              <a:avLst/>
              <a:gdLst/>
              <a:ahLst/>
              <a:cxnLst>
                <a:cxn ang="0">
                  <a:pos x="77" y="226"/>
                </a:cxn>
                <a:cxn ang="0">
                  <a:pos x="89" y="231"/>
                </a:cxn>
                <a:cxn ang="0">
                  <a:pos x="97" y="237"/>
                </a:cxn>
                <a:cxn ang="0">
                  <a:pos x="103" y="231"/>
                </a:cxn>
                <a:cxn ang="0">
                  <a:pos x="123" y="233"/>
                </a:cxn>
                <a:cxn ang="0">
                  <a:pos x="128" y="236"/>
                </a:cxn>
                <a:cxn ang="0">
                  <a:pos x="158" y="243"/>
                </a:cxn>
                <a:cxn ang="0">
                  <a:pos x="173" y="237"/>
                </a:cxn>
                <a:cxn ang="0">
                  <a:pos x="195" y="243"/>
                </a:cxn>
                <a:cxn ang="0">
                  <a:pos x="204" y="238"/>
                </a:cxn>
                <a:cxn ang="0">
                  <a:pos x="213" y="227"/>
                </a:cxn>
                <a:cxn ang="0">
                  <a:pos x="236" y="225"/>
                </a:cxn>
                <a:cxn ang="0">
                  <a:pos x="248" y="212"/>
                </a:cxn>
                <a:cxn ang="0">
                  <a:pos x="262" y="220"/>
                </a:cxn>
                <a:cxn ang="0">
                  <a:pos x="289" y="214"/>
                </a:cxn>
                <a:cxn ang="0">
                  <a:pos x="302" y="225"/>
                </a:cxn>
                <a:cxn ang="0">
                  <a:pos x="314" y="224"/>
                </a:cxn>
                <a:cxn ang="0">
                  <a:pos x="329" y="212"/>
                </a:cxn>
                <a:cxn ang="0">
                  <a:pos x="363" y="212"/>
                </a:cxn>
                <a:cxn ang="0">
                  <a:pos x="362" y="212"/>
                </a:cxn>
                <a:cxn ang="0">
                  <a:pos x="371" y="201"/>
                </a:cxn>
                <a:cxn ang="0">
                  <a:pos x="404" y="167"/>
                </a:cxn>
                <a:cxn ang="0">
                  <a:pos x="388" y="152"/>
                </a:cxn>
                <a:cxn ang="0">
                  <a:pos x="367" y="156"/>
                </a:cxn>
                <a:cxn ang="0">
                  <a:pos x="370" y="134"/>
                </a:cxn>
                <a:cxn ang="0">
                  <a:pos x="322" y="132"/>
                </a:cxn>
                <a:cxn ang="0">
                  <a:pos x="329" y="110"/>
                </a:cxn>
                <a:cxn ang="0">
                  <a:pos x="307" y="84"/>
                </a:cxn>
                <a:cxn ang="0">
                  <a:pos x="302" y="45"/>
                </a:cxn>
                <a:cxn ang="0">
                  <a:pos x="288" y="29"/>
                </a:cxn>
                <a:cxn ang="0">
                  <a:pos x="248" y="26"/>
                </a:cxn>
                <a:cxn ang="0">
                  <a:pos x="236" y="29"/>
                </a:cxn>
                <a:cxn ang="0">
                  <a:pos x="198" y="8"/>
                </a:cxn>
                <a:cxn ang="0">
                  <a:pos x="180" y="12"/>
                </a:cxn>
                <a:cxn ang="0">
                  <a:pos x="155" y="0"/>
                </a:cxn>
                <a:cxn ang="0">
                  <a:pos x="149" y="13"/>
                </a:cxn>
                <a:cxn ang="0">
                  <a:pos x="127" y="5"/>
                </a:cxn>
                <a:cxn ang="0">
                  <a:pos x="116" y="10"/>
                </a:cxn>
                <a:cxn ang="0">
                  <a:pos x="110" y="3"/>
                </a:cxn>
                <a:cxn ang="0">
                  <a:pos x="96" y="5"/>
                </a:cxn>
                <a:cxn ang="0">
                  <a:pos x="89" y="15"/>
                </a:cxn>
                <a:cxn ang="0">
                  <a:pos x="62" y="26"/>
                </a:cxn>
                <a:cxn ang="0">
                  <a:pos x="58" y="48"/>
                </a:cxn>
                <a:cxn ang="0">
                  <a:pos x="40" y="58"/>
                </a:cxn>
                <a:cxn ang="0">
                  <a:pos x="31" y="91"/>
                </a:cxn>
                <a:cxn ang="0">
                  <a:pos x="22" y="97"/>
                </a:cxn>
                <a:cxn ang="0">
                  <a:pos x="23" y="103"/>
                </a:cxn>
                <a:cxn ang="0">
                  <a:pos x="29" y="109"/>
                </a:cxn>
                <a:cxn ang="0">
                  <a:pos x="23" y="117"/>
                </a:cxn>
                <a:cxn ang="0">
                  <a:pos x="21" y="134"/>
                </a:cxn>
                <a:cxn ang="0">
                  <a:pos x="12" y="156"/>
                </a:cxn>
                <a:cxn ang="0">
                  <a:pos x="16" y="163"/>
                </a:cxn>
                <a:cxn ang="0">
                  <a:pos x="3" y="177"/>
                </a:cxn>
                <a:cxn ang="0">
                  <a:pos x="14" y="191"/>
                </a:cxn>
                <a:cxn ang="0">
                  <a:pos x="33" y="183"/>
                </a:cxn>
                <a:cxn ang="0">
                  <a:pos x="48" y="192"/>
                </a:cxn>
                <a:cxn ang="0">
                  <a:pos x="53" y="211"/>
                </a:cxn>
                <a:cxn ang="0">
                  <a:pos x="62" y="222"/>
                </a:cxn>
                <a:cxn ang="0">
                  <a:pos x="64" y="228"/>
                </a:cxn>
                <a:cxn ang="0">
                  <a:pos x="71" y="231"/>
                </a:cxn>
                <a:cxn ang="0">
                  <a:pos x="77" y="226"/>
                </a:cxn>
              </a:cxnLst>
              <a:rect l="0" t="0" r="r" b="b"/>
              <a:pathLst>
                <a:path w="404" h="245">
                  <a:moveTo>
                    <a:pt x="77" y="226"/>
                  </a:moveTo>
                  <a:cubicBezTo>
                    <a:pt x="77" y="226"/>
                    <a:pt x="86" y="228"/>
                    <a:pt x="89" y="231"/>
                  </a:cubicBezTo>
                  <a:cubicBezTo>
                    <a:pt x="91" y="233"/>
                    <a:pt x="96" y="237"/>
                    <a:pt x="97" y="237"/>
                  </a:cubicBezTo>
                  <a:cubicBezTo>
                    <a:pt x="98" y="236"/>
                    <a:pt x="103" y="231"/>
                    <a:pt x="103" y="231"/>
                  </a:cubicBezTo>
                  <a:cubicBezTo>
                    <a:pt x="104" y="231"/>
                    <a:pt x="123" y="233"/>
                    <a:pt x="123" y="233"/>
                  </a:cubicBezTo>
                  <a:cubicBezTo>
                    <a:pt x="123" y="233"/>
                    <a:pt x="126" y="236"/>
                    <a:pt x="128" y="236"/>
                  </a:cubicBezTo>
                  <a:cubicBezTo>
                    <a:pt x="129" y="236"/>
                    <a:pt x="153" y="243"/>
                    <a:pt x="158" y="243"/>
                  </a:cubicBezTo>
                  <a:cubicBezTo>
                    <a:pt x="163" y="242"/>
                    <a:pt x="173" y="237"/>
                    <a:pt x="173" y="237"/>
                  </a:cubicBezTo>
                  <a:cubicBezTo>
                    <a:pt x="173" y="237"/>
                    <a:pt x="193" y="245"/>
                    <a:pt x="195" y="243"/>
                  </a:cubicBezTo>
                  <a:cubicBezTo>
                    <a:pt x="197" y="242"/>
                    <a:pt x="204" y="238"/>
                    <a:pt x="204" y="238"/>
                  </a:cubicBezTo>
                  <a:cubicBezTo>
                    <a:pt x="204" y="237"/>
                    <a:pt x="211" y="227"/>
                    <a:pt x="213" y="227"/>
                  </a:cubicBezTo>
                  <a:cubicBezTo>
                    <a:pt x="215" y="226"/>
                    <a:pt x="235" y="225"/>
                    <a:pt x="236" y="225"/>
                  </a:cubicBezTo>
                  <a:cubicBezTo>
                    <a:pt x="237" y="225"/>
                    <a:pt x="240" y="209"/>
                    <a:pt x="248" y="212"/>
                  </a:cubicBezTo>
                  <a:cubicBezTo>
                    <a:pt x="256" y="214"/>
                    <a:pt x="261" y="220"/>
                    <a:pt x="262" y="220"/>
                  </a:cubicBezTo>
                  <a:cubicBezTo>
                    <a:pt x="263" y="219"/>
                    <a:pt x="280" y="207"/>
                    <a:pt x="289" y="214"/>
                  </a:cubicBezTo>
                  <a:cubicBezTo>
                    <a:pt x="299" y="220"/>
                    <a:pt x="302" y="225"/>
                    <a:pt x="302" y="225"/>
                  </a:cubicBezTo>
                  <a:cubicBezTo>
                    <a:pt x="302" y="225"/>
                    <a:pt x="314" y="225"/>
                    <a:pt x="314" y="224"/>
                  </a:cubicBezTo>
                  <a:cubicBezTo>
                    <a:pt x="314" y="223"/>
                    <a:pt x="328" y="212"/>
                    <a:pt x="329" y="212"/>
                  </a:cubicBezTo>
                  <a:cubicBezTo>
                    <a:pt x="330" y="212"/>
                    <a:pt x="350" y="212"/>
                    <a:pt x="363" y="212"/>
                  </a:cubicBezTo>
                  <a:cubicBezTo>
                    <a:pt x="363" y="212"/>
                    <a:pt x="362" y="212"/>
                    <a:pt x="362" y="212"/>
                  </a:cubicBezTo>
                  <a:cubicBezTo>
                    <a:pt x="362" y="204"/>
                    <a:pt x="371" y="201"/>
                    <a:pt x="371" y="201"/>
                  </a:cubicBezTo>
                  <a:cubicBezTo>
                    <a:pt x="404" y="167"/>
                    <a:pt x="404" y="167"/>
                    <a:pt x="404" y="167"/>
                  </a:cubicBezTo>
                  <a:cubicBezTo>
                    <a:pt x="388" y="152"/>
                    <a:pt x="388" y="152"/>
                    <a:pt x="388" y="152"/>
                  </a:cubicBezTo>
                  <a:cubicBezTo>
                    <a:pt x="367" y="156"/>
                    <a:pt x="367" y="156"/>
                    <a:pt x="367" y="156"/>
                  </a:cubicBezTo>
                  <a:cubicBezTo>
                    <a:pt x="370" y="134"/>
                    <a:pt x="370" y="134"/>
                    <a:pt x="370" y="134"/>
                  </a:cubicBezTo>
                  <a:cubicBezTo>
                    <a:pt x="322" y="132"/>
                    <a:pt x="322" y="132"/>
                    <a:pt x="322" y="132"/>
                  </a:cubicBezTo>
                  <a:cubicBezTo>
                    <a:pt x="329" y="110"/>
                    <a:pt x="329" y="110"/>
                    <a:pt x="329" y="110"/>
                  </a:cubicBezTo>
                  <a:cubicBezTo>
                    <a:pt x="307" y="84"/>
                    <a:pt x="307" y="84"/>
                    <a:pt x="307" y="84"/>
                  </a:cubicBezTo>
                  <a:cubicBezTo>
                    <a:pt x="307" y="84"/>
                    <a:pt x="310" y="57"/>
                    <a:pt x="302" y="45"/>
                  </a:cubicBezTo>
                  <a:cubicBezTo>
                    <a:pt x="295" y="33"/>
                    <a:pt x="288" y="29"/>
                    <a:pt x="288" y="29"/>
                  </a:cubicBezTo>
                  <a:cubicBezTo>
                    <a:pt x="248" y="26"/>
                    <a:pt x="248" y="26"/>
                    <a:pt x="248" y="26"/>
                  </a:cubicBezTo>
                  <a:cubicBezTo>
                    <a:pt x="236" y="29"/>
                    <a:pt x="236" y="29"/>
                    <a:pt x="236" y="29"/>
                  </a:cubicBezTo>
                  <a:cubicBezTo>
                    <a:pt x="236" y="29"/>
                    <a:pt x="198" y="9"/>
                    <a:pt x="198" y="8"/>
                  </a:cubicBezTo>
                  <a:cubicBezTo>
                    <a:pt x="197" y="8"/>
                    <a:pt x="180" y="12"/>
                    <a:pt x="180" y="12"/>
                  </a:cubicBezTo>
                  <a:cubicBezTo>
                    <a:pt x="155" y="0"/>
                    <a:pt x="155" y="0"/>
                    <a:pt x="155" y="0"/>
                  </a:cubicBezTo>
                  <a:cubicBezTo>
                    <a:pt x="155" y="0"/>
                    <a:pt x="150" y="12"/>
                    <a:pt x="149" y="13"/>
                  </a:cubicBezTo>
                  <a:cubicBezTo>
                    <a:pt x="149" y="14"/>
                    <a:pt x="127" y="5"/>
                    <a:pt x="127" y="5"/>
                  </a:cubicBezTo>
                  <a:cubicBezTo>
                    <a:pt x="127" y="5"/>
                    <a:pt x="117" y="10"/>
                    <a:pt x="116" y="10"/>
                  </a:cubicBezTo>
                  <a:cubicBezTo>
                    <a:pt x="115" y="10"/>
                    <a:pt x="110" y="3"/>
                    <a:pt x="110" y="3"/>
                  </a:cubicBezTo>
                  <a:cubicBezTo>
                    <a:pt x="96" y="5"/>
                    <a:pt x="96" y="5"/>
                    <a:pt x="96" y="5"/>
                  </a:cubicBezTo>
                  <a:cubicBezTo>
                    <a:pt x="89" y="15"/>
                    <a:pt x="89" y="15"/>
                    <a:pt x="89" y="15"/>
                  </a:cubicBezTo>
                  <a:cubicBezTo>
                    <a:pt x="62" y="26"/>
                    <a:pt x="62" y="26"/>
                    <a:pt x="62" y="26"/>
                  </a:cubicBezTo>
                  <a:cubicBezTo>
                    <a:pt x="62" y="26"/>
                    <a:pt x="59" y="45"/>
                    <a:pt x="58" y="48"/>
                  </a:cubicBezTo>
                  <a:cubicBezTo>
                    <a:pt x="56" y="52"/>
                    <a:pt x="40" y="58"/>
                    <a:pt x="40" y="58"/>
                  </a:cubicBezTo>
                  <a:cubicBezTo>
                    <a:pt x="31" y="91"/>
                    <a:pt x="31" y="91"/>
                    <a:pt x="31" y="91"/>
                  </a:cubicBezTo>
                  <a:cubicBezTo>
                    <a:pt x="31" y="91"/>
                    <a:pt x="26" y="94"/>
                    <a:pt x="22" y="97"/>
                  </a:cubicBezTo>
                  <a:cubicBezTo>
                    <a:pt x="23" y="103"/>
                    <a:pt x="23" y="103"/>
                    <a:pt x="23" y="103"/>
                  </a:cubicBezTo>
                  <a:cubicBezTo>
                    <a:pt x="29" y="109"/>
                    <a:pt x="29" y="109"/>
                    <a:pt x="29" y="109"/>
                  </a:cubicBezTo>
                  <a:cubicBezTo>
                    <a:pt x="23" y="117"/>
                    <a:pt x="23" y="117"/>
                    <a:pt x="23" y="117"/>
                  </a:cubicBezTo>
                  <a:cubicBezTo>
                    <a:pt x="23" y="117"/>
                    <a:pt x="26" y="128"/>
                    <a:pt x="21" y="134"/>
                  </a:cubicBezTo>
                  <a:cubicBezTo>
                    <a:pt x="17" y="140"/>
                    <a:pt x="12" y="156"/>
                    <a:pt x="12" y="156"/>
                  </a:cubicBezTo>
                  <a:cubicBezTo>
                    <a:pt x="16" y="163"/>
                    <a:pt x="16" y="163"/>
                    <a:pt x="16" y="163"/>
                  </a:cubicBezTo>
                  <a:cubicBezTo>
                    <a:pt x="16" y="163"/>
                    <a:pt x="6" y="172"/>
                    <a:pt x="3" y="177"/>
                  </a:cubicBezTo>
                  <a:cubicBezTo>
                    <a:pt x="0" y="183"/>
                    <a:pt x="14" y="191"/>
                    <a:pt x="14" y="191"/>
                  </a:cubicBezTo>
                  <a:cubicBezTo>
                    <a:pt x="33" y="183"/>
                    <a:pt x="33" y="183"/>
                    <a:pt x="33" y="183"/>
                  </a:cubicBezTo>
                  <a:cubicBezTo>
                    <a:pt x="33" y="183"/>
                    <a:pt x="44" y="189"/>
                    <a:pt x="48" y="192"/>
                  </a:cubicBezTo>
                  <a:cubicBezTo>
                    <a:pt x="52" y="194"/>
                    <a:pt x="53" y="206"/>
                    <a:pt x="53" y="211"/>
                  </a:cubicBezTo>
                  <a:cubicBezTo>
                    <a:pt x="53" y="217"/>
                    <a:pt x="55" y="217"/>
                    <a:pt x="62" y="222"/>
                  </a:cubicBezTo>
                  <a:cubicBezTo>
                    <a:pt x="65" y="224"/>
                    <a:pt x="65" y="226"/>
                    <a:pt x="64" y="228"/>
                  </a:cubicBezTo>
                  <a:cubicBezTo>
                    <a:pt x="71" y="231"/>
                    <a:pt x="71" y="231"/>
                    <a:pt x="71" y="231"/>
                  </a:cubicBezTo>
                  <a:lnTo>
                    <a:pt x="77" y="22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4" name="Freeform 331">
              <a:extLst>
                <a:ext uri="{FF2B5EF4-FFF2-40B4-BE49-F238E27FC236}">
                  <a16:creationId xmlns:a16="http://schemas.microsoft.com/office/drawing/2014/main" id="{4872F1A7-4D27-4FCA-A7CE-148048AE04F3}"/>
                </a:ext>
              </a:extLst>
            </p:cNvPr>
            <p:cNvSpPr>
              <a:spLocks noChangeAspect="1"/>
            </p:cNvSpPr>
            <p:nvPr/>
          </p:nvSpPr>
          <p:spPr bwMode="auto">
            <a:xfrm>
              <a:off x="12546" y="3969"/>
              <a:ext cx="653" cy="410"/>
            </a:xfrm>
            <a:custGeom>
              <a:avLst/>
              <a:gdLst/>
              <a:ahLst/>
              <a:cxnLst>
                <a:cxn ang="0">
                  <a:pos x="6" y="30"/>
                </a:cxn>
                <a:cxn ang="0">
                  <a:pos x="1" y="40"/>
                </a:cxn>
                <a:cxn ang="0">
                  <a:pos x="4" y="55"/>
                </a:cxn>
                <a:cxn ang="0">
                  <a:pos x="0" y="70"/>
                </a:cxn>
                <a:cxn ang="0">
                  <a:pos x="13" y="78"/>
                </a:cxn>
                <a:cxn ang="0">
                  <a:pos x="23" y="70"/>
                </a:cxn>
                <a:cxn ang="0">
                  <a:pos x="31" y="78"/>
                </a:cxn>
                <a:cxn ang="0">
                  <a:pos x="43" y="70"/>
                </a:cxn>
                <a:cxn ang="0">
                  <a:pos x="50" y="79"/>
                </a:cxn>
                <a:cxn ang="0">
                  <a:pos x="66" y="78"/>
                </a:cxn>
                <a:cxn ang="0">
                  <a:pos x="119" y="95"/>
                </a:cxn>
                <a:cxn ang="0">
                  <a:pos x="138" y="93"/>
                </a:cxn>
                <a:cxn ang="0">
                  <a:pos x="156" y="112"/>
                </a:cxn>
                <a:cxn ang="0">
                  <a:pos x="196" y="153"/>
                </a:cxn>
                <a:cxn ang="0">
                  <a:pos x="244" y="153"/>
                </a:cxn>
                <a:cxn ang="0">
                  <a:pos x="243" y="162"/>
                </a:cxn>
                <a:cxn ang="0">
                  <a:pos x="229" y="178"/>
                </a:cxn>
                <a:cxn ang="0">
                  <a:pos x="227" y="193"/>
                </a:cxn>
                <a:cxn ang="0">
                  <a:pos x="218" y="199"/>
                </a:cxn>
                <a:cxn ang="0">
                  <a:pos x="222" y="204"/>
                </a:cxn>
                <a:cxn ang="0">
                  <a:pos x="231" y="198"/>
                </a:cxn>
                <a:cxn ang="0">
                  <a:pos x="243" y="205"/>
                </a:cxn>
                <a:cxn ang="0">
                  <a:pos x="278" y="170"/>
                </a:cxn>
                <a:cxn ang="0">
                  <a:pos x="299" y="160"/>
                </a:cxn>
                <a:cxn ang="0">
                  <a:pos x="310" y="128"/>
                </a:cxn>
                <a:cxn ang="0">
                  <a:pos x="324" y="94"/>
                </a:cxn>
                <a:cxn ang="0">
                  <a:pos x="307" y="83"/>
                </a:cxn>
                <a:cxn ang="0">
                  <a:pos x="318" y="74"/>
                </a:cxn>
                <a:cxn ang="0">
                  <a:pos x="306" y="47"/>
                </a:cxn>
                <a:cxn ang="0">
                  <a:pos x="318" y="18"/>
                </a:cxn>
                <a:cxn ang="0">
                  <a:pos x="308" y="5"/>
                </a:cxn>
                <a:cxn ang="0">
                  <a:pos x="274" y="5"/>
                </a:cxn>
                <a:cxn ang="0">
                  <a:pos x="259" y="17"/>
                </a:cxn>
                <a:cxn ang="0">
                  <a:pos x="247" y="18"/>
                </a:cxn>
                <a:cxn ang="0">
                  <a:pos x="234" y="7"/>
                </a:cxn>
                <a:cxn ang="0">
                  <a:pos x="207" y="13"/>
                </a:cxn>
                <a:cxn ang="0">
                  <a:pos x="193" y="5"/>
                </a:cxn>
                <a:cxn ang="0">
                  <a:pos x="181" y="18"/>
                </a:cxn>
                <a:cxn ang="0">
                  <a:pos x="158" y="20"/>
                </a:cxn>
                <a:cxn ang="0">
                  <a:pos x="149" y="31"/>
                </a:cxn>
                <a:cxn ang="0">
                  <a:pos x="140" y="36"/>
                </a:cxn>
                <a:cxn ang="0">
                  <a:pos x="118" y="30"/>
                </a:cxn>
                <a:cxn ang="0">
                  <a:pos x="103" y="36"/>
                </a:cxn>
                <a:cxn ang="0">
                  <a:pos x="73" y="29"/>
                </a:cxn>
                <a:cxn ang="0">
                  <a:pos x="68" y="26"/>
                </a:cxn>
                <a:cxn ang="0">
                  <a:pos x="48" y="24"/>
                </a:cxn>
                <a:cxn ang="0">
                  <a:pos x="42" y="30"/>
                </a:cxn>
                <a:cxn ang="0">
                  <a:pos x="34" y="24"/>
                </a:cxn>
                <a:cxn ang="0">
                  <a:pos x="22" y="19"/>
                </a:cxn>
                <a:cxn ang="0">
                  <a:pos x="16" y="24"/>
                </a:cxn>
                <a:cxn ang="0">
                  <a:pos x="9" y="21"/>
                </a:cxn>
                <a:cxn ang="0">
                  <a:pos x="6" y="30"/>
                </a:cxn>
              </a:cxnLst>
              <a:rect l="0" t="0" r="r" b="b"/>
              <a:pathLst>
                <a:path w="326" h="205">
                  <a:moveTo>
                    <a:pt x="6" y="30"/>
                  </a:moveTo>
                  <a:cubicBezTo>
                    <a:pt x="7" y="35"/>
                    <a:pt x="1" y="40"/>
                    <a:pt x="1" y="40"/>
                  </a:cubicBezTo>
                  <a:cubicBezTo>
                    <a:pt x="1" y="40"/>
                    <a:pt x="4" y="53"/>
                    <a:pt x="4" y="55"/>
                  </a:cubicBezTo>
                  <a:cubicBezTo>
                    <a:pt x="5" y="56"/>
                    <a:pt x="3" y="64"/>
                    <a:pt x="0" y="70"/>
                  </a:cubicBezTo>
                  <a:cubicBezTo>
                    <a:pt x="4" y="74"/>
                    <a:pt x="10" y="78"/>
                    <a:pt x="13" y="78"/>
                  </a:cubicBezTo>
                  <a:cubicBezTo>
                    <a:pt x="17" y="78"/>
                    <a:pt x="23" y="70"/>
                    <a:pt x="23" y="70"/>
                  </a:cubicBezTo>
                  <a:cubicBezTo>
                    <a:pt x="31" y="78"/>
                    <a:pt x="31" y="78"/>
                    <a:pt x="31" y="78"/>
                  </a:cubicBezTo>
                  <a:cubicBezTo>
                    <a:pt x="43" y="70"/>
                    <a:pt x="43" y="70"/>
                    <a:pt x="43" y="70"/>
                  </a:cubicBezTo>
                  <a:cubicBezTo>
                    <a:pt x="43" y="70"/>
                    <a:pt x="50" y="79"/>
                    <a:pt x="50" y="79"/>
                  </a:cubicBezTo>
                  <a:cubicBezTo>
                    <a:pt x="51" y="79"/>
                    <a:pt x="66" y="78"/>
                    <a:pt x="66" y="78"/>
                  </a:cubicBezTo>
                  <a:cubicBezTo>
                    <a:pt x="119" y="95"/>
                    <a:pt x="119" y="95"/>
                    <a:pt x="119" y="95"/>
                  </a:cubicBezTo>
                  <a:cubicBezTo>
                    <a:pt x="119" y="95"/>
                    <a:pt x="130" y="84"/>
                    <a:pt x="138" y="93"/>
                  </a:cubicBezTo>
                  <a:cubicBezTo>
                    <a:pt x="147" y="101"/>
                    <a:pt x="156" y="112"/>
                    <a:pt x="156" y="112"/>
                  </a:cubicBezTo>
                  <a:cubicBezTo>
                    <a:pt x="196" y="153"/>
                    <a:pt x="196" y="153"/>
                    <a:pt x="196" y="153"/>
                  </a:cubicBezTo>
                  <a:cubicBezTo>
                    <a:pt x="196" y="153"/>
                    <a:pt x="245" y="153"/>
                    <a:pt x="244" y="153"/>
                  </a:cubicBezTo>
                  <a:cubicBezTo>
                    <a:pt x="244" y="154"/>
                    <a:pt x="248" y="160"/>
                    <a:pt x="243" y="162"/>
                  </a:cubicBezTo>
                  <a:cubicBezTo>
                    <a:pt x="238" y="164"/>
                    <a:pt x="229" y="178"/>
                    <a:pt x="229" y="178"/>
                  </a:cubicBezTo>
                  <a:cubicBezTo>
                    <a:pt x="227" y="193"/>
                    <a:pt x="227" y="193"/>
                    <a:pt x="227" y="193"/>
                  </a:cubicBezTo>
                  <a:cubicBezTo>
                    <a:pt x="218" y="199"/>
                    <a:pt x="218" y="199"/>
                    <a:pt x="218" y="199"/>
                  </a:cubicBezTo>
                  <a:cubicBezTo>
                    <a:pt x="222" y="204"/>
                    <a:pt x="222" y="204"/>
                    <a:pt x="222" y="204"/>
                  </a:cubicBezTo>
                  <a:cubicBezTo>
                    <a:pt x="231" y="198"/>
                    <a:pt x="231" y="198"/>
                    <a:pt x="231" y="198"/>
                  </a:cubicBezTo>
                  <a:cubicBezTo>
                    <a:pt x="243" y="205"/>
                    <a:pt x="243" y="205"/>
                    <a:pt x="243" y="205"/>
                  </a:cubicBezTo>
                  <a:cubicBezTo>
                    <a:pt x="255" y="190"/>
                    <a:pt x="269" y="178"/>
                    <a:pt x="278" y="170"/>
                  </a:cubicBezTo>
                  <a:cubicBezTo>
                    <a:pt x="289" y="161"/>
                    <a:pt x="292" y="164"/>
                    <a:pt x="299" y="160"/>
                  </a:cubicBezTo>
                  <a:cubicBezTo>
                    <a:pt x="306" y="156"/>
                    <a:pt x="310" y="128"/>
                    <a:pt x="310" y="128"/>
                  </a:cubicBezTo>
                  <a:cubicBezTo>
                    <a:pt x="310" y="128"/>
                    <a:pt x="323" y="94"/>
                    <a:pt x="324" y="94"/>
                  </a:cubicBezTo>
                  <a:cubicBezTo>
                    <a:pt x="326" y="94"/>
                    <a:pt x="307" y="83"/>
                    <a:pt x="307" y="83"/>
                  </a:cubicBezTo>
                  <a:cubicBezTo>
                    <a:pt x="307" y="83"/>
                    <a:pt x="317" y="74"/>
                    <a:pt x="318" y="74"/>
                  </a:cubicBezTo>
                  <a:cubicBezTo>
                    <a:pt x="319" y="74"/>
                    <a:pt x="311" y="58"/>
                    <a:pt x="306" y="47"/>
                  </a:cubicBezTo>
                  <a:cubicBezTo>
                    <a:pt x="302" y="36"/>
                    <a:pt x="315" y="24"/>
                    <a:pt x="318" y="18"/>
                  </a:cubicBezTo>
                  <a:cubicBezTo>
                    <a:pt x="321" y="12"/>
                    <a:pt x="308" y="14"/>
                    <a:pt x="308" y="5"/>
                  </a:cubicBezTo>
                  <a:cubicBezTo>
                    <a:pt x="295" y="5"/>
                    <a:pt x="275" y="5"/>
                    <a:pt x="274" y="5"/>
                  </a:cubicBezTo>
                  <a:cubicBezTo>
                    <a:pt x="273" y="5"/>
                    <a:pt x="259" y="16"/>
                    <a:pt x="259" y="17"/>
                  </a:cubicBezTo>
                  <a:cubicBezTo>
                    <a:pt x="259" y="18"/>
                    <a:pt x="247" y="18"/>
                    <a:pt x="247" y="18"/>
                  </a:cubicBezTo>
                  <a:cubicBezTo>
                    <a:pt x="247" y="18"/>
                    <a:pt x="244" y="13"/>
                    <a:pt x="234" y="7"/>
                  </a:cubicBezTo>
                  <a:cubicBezTo>
                    <a:pt x="225" y="0"/>
                    <a:pt x="208" y="12"/>
                    <a:pt x="207" y="13"/>
                  </a:cubicBezTo>
                  <a:cubicBezTo>
                    <a:pt x="206" y="13"/>
                    <a:pt x="201" y="7"/>
                    <a:pt x="193" y="5"/>
                  </a:cubicBezTo>
                  <a:cubicBezTo>
                    <a:pt x="185" y="2"/>
                    <a:pt x="182" y="18"/>
                    <a:pt x="181" y="18"/>
                  </a:cubicBezTo>
                  <a:cubicBezTo>
                    <a:pt x="180" y="18"/>
                    <a:pt x="160" y="19"/>
                    <a:pt x="158" y="20"/>
                  </a:cubicBezTo>
                  <a:cubicBezTo>
                    <a:pt x="156" y="20"/>
                    <a:pt x="149" y="30"/>
                    <a:pt x="149" y="31"/>
                  </a:cubicBezTo>
                  <a:cubicBezTo>
                    <a:pt x="149" y="31"/>
                    <a:pt x="142" y="35"/>
                    <a:pt x="140" y="36"/>
                  </a:cubicBezTo>
                  <a:cubicBezTo>
                    <a:pt x="138" y="38"/>
                    <a:pt x="118" y="30"/>
                    <a:pt x="118" y="30"/>
                  </a:cubicBezTo>
                  <a:cubicBezTo>
                    <a:pt x="118" y="30"/>
                    <a:pt x="108" y="35"/>
                    <a:pt x="103" y="36"/>
                  </a:cubicBezTo>
                  <a:cubicBezTo>
                    <a:pt x="98" y="36"/>
                    <a:pt x="74" y="29"/>
                    <a:pt x="73" y="29"/>
                  </a:cubicBezTo>
                  <a:cubicBezTo>
                    <a:pt x="71" y="29"/>
                    <a:pt x="68" y="26"/>
                    <a:pt x="68" y="26"/>
                  </a:cubicBezTo>
                  <a:cubicBezTo>
                    <a:pt x="68" y="26"/>
                    <a:pt x="49" y="24"/>
                    <a:pt x="48" y="24"/>
                  </a:cubicBezTo>
                  <a:cubicBezTo>
                    <a:pt x="48" y="24"/>
                    <a:pt x="43" y="29"/>
                    <a:pt x="42" y="30"/>
                  </a:cubicBezTo>
                  <a:cubicBezTo>
                    <a:pt x="41" y="30"/>
                    <a:pt x="36" y="26"/>
                    <a:pt x="34" y="24"/>
                  </a:cubicBezTo>
                  <a:cubicBezTo>
                    <a:pt x="31" y="21"/>
                    <a:pt x="22" y="19"/>
                    <a:pt x="22" y="19"/>
                  </a:cubicBezTo>
                  <a:cubicBezTo>
                    <a:pt x="16" y="24"/>
                    <a:pt x="16" y="24"/>
                    <a:pt x="16" y="24"/>
                  </a:cubicBezTo>
                  <a:cubicBezTo>
                    <a:pt x="9" y="21"/>
                    <a:pt x="9" y="21"/>
                    <a:pt x="9" y="21"/>
                  </a:cubicBezTo>
                  <a:cubicBezTo>
                    <a:pt x="8" y="24"/>
                    <a:pt x="5" y="27"/>
                    <a:pt x="6" y="3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5" name="Freeform 332">
              <a:extLst>
                <a:ext uri="{FF2B5EF4-FFF2-40B4-BE49-F238E27FC236}">
                  <a16:creationId xmlns:a16="http://schemas.microsoft.com/office/drawing/2014/main" id="{8C85038A-DCBE-4122-B295-180FF3CAAACC}"/>
                </a:ext>
              </a:extLst>
            </p:cNvPr>
            <p:cNvSpPr>
              <a:spLocks noChangeAspect="1"/>
            </p:cNvSpPr>
            <p:nvPr/>
          </p:nvSpPr>
          <p:spPr bwMode="auto">
            <a:xfrm>
              <a:off x="12628" y="3223"/>
              <a:ext cx="1081" cy="664"/>
            </a:xfrm>
            <a:custGeom>
              <a:avLst/>
              <a:gdLst/>
              <a:ahLst/>
              <a:cxnLst>
                <a:cxn ang="0">
                  <a:pos x="529" y="184"/>
                </a:cxn>
                <a:cxn ang="0">
                  <a:pos x="534" y="174"/>
                </a:cxn>
                <a:cxn ang="0">
                  <a:pos x="511" y="172"/>
                </a:cxn>
                <a:cxn ang="0">
                  <a:pos x="501" y="160"/>
                </a:cxn>
                <a:cxn ang="0">
                  <a:pos x="471" y="173"/>
                </a:cxn>
                <a:cxn ang="0">
                  <a:pos x="453" y="173"/>
                </a:cxn>
                <a:cxn ang="0">
                  <a:pos x="440" y="184"/>
                </a:cxn>
                <a:cxn ang="0">
                  <a:pos x="424" y="190"/>
                </a:cxn>
                <a:cxn ang="0">
                  <a:pos x="400" y="178"/>
                </a:cxn>
                <a:cxn ang="0">
                  <a:pos x="388" y="161"/>
                </a:cxn>
                <a:cxn ang="0">
                  <a:pos x="392" y="141"/>
                </a:cxn>
                <a:cxn ang="0">
                  <a:pos x="391" y="132"/>
                </a:cxn>
                <a:cxn ang="0">
                  <a:pos x="395" y="113"/>
                </a:cxn>
                <a:cxn ang="0">
                  <a:pos x="367" y="102"/>
                </a:cxn>
                <a:cxn ang="0">
                  <a:pos x="358" y="79"/>
                </a:cxn>
                <a:cxn ang="0">
                  <a:pos x="361" y="55"/>
                </a:cxn>
                <a:cxn ang="0">
                  <a:pos x="353" y="27"/>
                </a:cxn>
                <a:cxn ang="0">
                  <a:pos x="336" y="14"/>
                </a:cxn>
                <a:cxn ang="0">
                  <a:pos x="321" y="12"/>
                </a:cxn>
                <a:cxn ang="0">
                  <a:pos x="307" y="18"/>
                </a:cxn>
                <a:cxn ang="0">
                  <a:pos x="293" y="17"/>
                </a:cxn>
                <a:cxn ang="0">
                  <a:pos x="270" y="25"/>
                </a:cxn>
                <a:cxn ang="0">
                  <a:pos x="256" y="26"/>
                </a:cxn>
                <a:cxn ang="0">
                  <a:pos x="249" y="29"/>
                </a:cxn>
                <a:cxn ang="0">
                  <a:pos x="236" y="33"/>
                </a:cxn>
                <a:cxn ang="0">
                  <a:pos x="221" y="14"/>
                </a:cxn>
                <a:cxn ang="0">
                  <a:pos x="203" y="8"/>
                </a:cxn>
                <a:cxn ang="0">
                  <a:pos x="175" y="12"/>
                </a:cxn>
                <a:cxn ang="0">
                  <a:pos x="164" y="8"/>
                </a:cxn>
                <a:cxn ang="0">
                  <a:pos x="148" y="10"/>
                </a:cxn>
                <a:cxn ang="0">
                  <a:pos x="124" y="19"/>
                </a:cxn>
                <a:cxn ang="0">
                  <a:pos x="108" y="34"/>
                </a:cxn>
                <a:cxn ang="0">
                  <a:pos x="93" y="67"/>
                </a:cxn>
                <a:cxn ang="0">
                  <a:pos x="68" y="103"/>
                </a:cxn>
                <a:cxn ang="0">
                  <a:pos x="63" y="114"/>
                </a:cxn>
                <a:cxn ang="0">
                  <a:pos x="47" y="139"/>
                </a:cxn>
                <a:cxn ang="0">
                  <a:pos x="0" y="170"/>
                </a:cxn>
                <a:cxn ang="0">
                  <a:pos x="20" y="175"/>
                </a:cxn>
                <a:cxn ang="0">
                  <a:pos x="53" y="178"/>
                </a:cxn>
                <a:cxn ang="0">
                  <a:pos x="84" y="177"/>
                </a:cxn>
                <a:cxn ang="0">
                  <a:pos x="140" y="194"/>
                </a:cxn>
                <a:cxn ang="0">
                  <a:pos x="192" y="194"/>
                </a:cxn>
                <a:cxn ang="0">
                  <a:pos x="211" y="249"/>
                </a:cxn>
                <a:cxn ang="0">
                  <a:pos x="226" y="297"/>
                </a:cxn>
                <a:cxn ang="0">
                  <a:pos x="271" y="321"/>
                </a:cxn>
                <a:cxn ang="0">
                  <a:pos x="308" y="332"/>
                </a:cxn>
                <a:cxn ang="0">
                  <a:pos x="327" y="305"/>
                </a:cxn>
                <a:cxn ang="0">
                  <a:pos x="375" y="269"/>
                </a:cxn>
                <a:cxn ang="0">
                  <a:pos x="401" y="254"/>
                </a:cxn>
                <a:cxn ang="0">
                  <a:pos x="426" y="241"/>
                </a:cxn>
                <a:cxn ang="0">
                  <a:pos x="466" y="253"/>
                </a:cxn>
                <a:cxn ang="0">
                  <a:pos x="463" y="230"/>
                </a:cxn>
                <a:cxn ang="0">
                  <a:pos x="496" y="212"/>
                </a:cxn>
                <a:cxn ang="0">
                  <a:pos x="498" y="195"/>
                </a:cxn>
              </a:cxnLst>
              <a:rect l="0" t="0" r="r" b="b"/>
              <a:pathLst>
                <a:path w="539" h="332">
                  <a:moveTo>
                    <a:pt x="512" y="186"/>
                  </a:moveTo>
                  <a:cubicBezTo>
                    <a:pt x="521" y="184"/>
                    <a:pt x="526" y="184"/>
                    <a:pt x="529" y="184"/>
                  </a:cubicBezTo>
                  <a:cubicBezTo>
                    <a:pt x="532" y="184"/>
                    <a:pt x="539" y="178"/>
                    <a:pt x="539" y="178"/>
                  </a:cubicBezTo>
                  <a:cubicBezTo>
                    <a:pt x="534" y="174"/>
                    <a:pt x="534" y="174"/>
                    <a:pt x="534" y="174"/>
                  </a:cubicBezTo>
                  <a:cubicBezTo>
                    <a:pt x="527" y="169"/>
                    <a:pt x="527" y="169"/>
                    <a:pt x="527" y="169"/>
                  </a:cubicBezTo>
                  <a:cubicBezTo>
                    <a:pt x="527" y="169"/>
                    <a:pt x="519" y="172"/>
                    <a:pt x="511" y="172"/>
                  </a:cubicBezTo>
                  <a:cubicBezTo>
                    <a:pt x="503" y="172"/>
                    <a:pt x="508" y="171"/>
                    <a:pt x="506" y="164"/>
                  </a:cubicBezTo>
                  <a:cubicBezTo>
                    <a:pt x="504" y="157"/>
                    <a:pt x="501" y="160"/>
                    <a:pt x="501" y="160"/>
                  </a:cubicBezTo>
                  <a:cubicBezTo>
                    <a:pt x="484" y="162"/>
                    <a:pt x="484" y="162"/>
                    <a:pt x="484" y="162"/>
                  </a:cubicBezTo>
                  <a:cubicBezTo>
                    <a:pt x="484" y="162"/>
                    <a:pt x="477" y="170"/>
                    <a:pt x="471" y="173"/>
                  </a:cubicBezTo>
                  <a:cubicBezTo>
                    <a:pt x="464" y="175"/>
                    <a:pt x="455" y="169"/>
                    <a:pt x="455" y="169"/>
                  </a:cubicBezTo>
                  <a:cubicBezTo>
                    <a:pt x="453" y="173"/>
                    <a:pt x="453" y="173"/>
                    <a:pt x="453" y="173"/>
                  </a:cubicBezTo>
                  <a:cubicBezTo>
                    <a:pt x="446" y="170"/>
                    <a:pt x="446" y="170"/>
                    <a:pt x="446" y="170"/>
                  </a:cubicBezTo>
                  <a:cubicBezTo>
                    <a:pt x="440" y="184"/>
                    <a:pt x="440" y="184"/>
                    <a:pt x="440" y="184"/>
                  </a:cubicBezTo>
                  <a:cubicBezTo>
                    <a:pt x="429" y="184"/>
                    <a:pt x="429" y="184"/>
                    <a:pt x="429" y="184"/>
                  </a:cubicBezTo>
                  <a:cubicBezTo>
                    <a:pt x="424" y="190"/>
                    <a:pt x="424" y="190"/>
                    <a:pt x="424" y="190"/>
                  </a:cubicBezTo>
                  <a:cubicBezTo>
                    <a:pt x="410" y="189"/>
                    <a:pt x="410" y="189"/>
                    <a:pt x="410" y="189"/>
                  </a:cubicBezTo>
                  <a:cubicBezTo>
                    <a:pt x="400" y="178"/>
                    <a:pt x="400" y="178"/>
                    <a:pt x="400" y="178"/>
                  </a:cubicBezTo>
                  <a:cubicBezTo>
                    <a:pt x="400" y="166"/>
                    <a:pt x="400" y="166"/>
                    <a:pt x="400" y="166"/>
                  </a:cubicBezTo>
                  <a:cubicBezTo>
                    <a:pt x="400" y="166"/>
                    <a:pt x="393" y="162"/>
                    <a:pt x="388" y="161"/>
                  </a:cubicBezTo>
                  <a:cubicBezTo>
                    <a:pt x="382" y="159"/>
                    <a:pt x="380" y="152"/>
                    <a:pt x="384" y="152"/>
                  </a:cubicBezTo>
                  <a:cubicBezTo>
                    <a:pt x="388" y="152"/>
                    <a:pt x="392" y="141"/>
                    <a:pt x="392" y="141"/>
                  </a:cubicBezTo>
                  <a:cubicBezTo>
                    <a:pt x="383" y="136"/>
                    <a:pt x="383" y="136"/>
                    <a:pt x="383" y="136"/>
                  </a:cubicBezTo>
                  <a:cubicBezTo>
                    <a:pt x="391" y="132"/>
                    <a:pt x="391" y="132"/>
                    <a:pt x="391" y="132"/>
                  </a:cubicBezTo>
                  <a:cubicBezTo>
                    <a:pt x="386" y="127"/>
                    <a:pt x="386" y="127"/>
                    <a:pt x="386" y="127"/>
                  </a:cubicBezTo>
                  <a:cubicBezTo>
                    <a:pt x="386" y="127"/>
                    <a:pt x="393" y="115"/>
                    <a:pt x="395" y="113"/>
                  </a:cubicBezTo>
                  <a:cubicBezTo>
                    <a:pt x="397" y="111"/>
                    <a:pt x="397" y="99"/>
                    <a:pt x="384" y="97"/>
                  </a:cubicBezTo>
                  <a:cubicBezTo>
                    <a:pt x="371" y="94"/>
                    <a:pt x="367" y="102"/>
                    <a:pt x="367" y="102"/>
                  </a:cubicBezTo>
                  <a:cubicBezTo>
                    <a:pt x="367" y="102"/>
                    <a:pt x="367" y="94"/>
                    <a:pt x="365" y="90"/>
                  </a:cubicBezTo>
                  <a:cubicBezTo>
                    <a:pt x="363" y="86"/>
                    <a:pt x="358" y="86"/>
                    <a:pt x="358" y="79"/>
                  </a:cubicBezTo>
                  <a:cubicBezTo>
                    <a:pt x="357" y="72"/>
                    <a:pt x="353" y="73"/>
                    <a:pt x="352" y="66"/>
                  </a:cubicBezTo>
                  <a:cubicBezTo>
                    <a:pt x="351" y="58"/>
                    <a:pt x="360" y="56"/>
                    <a:pt x="361" y="55"/>
                  </a:cubicBezTo>
                  <a:cubicBezTo>
                    <a:pt x="362" y="53"/>
                    <a:pt x="347" y="39"/>
                    <a:pt x="347" y="39"/>
                  </a:cubicBezTo>
                  <a:cubicBezTo>
                    <a:pt x="353" y="27"/>
                    <a:pt x="353" y="27"/>
                    <a:pt x="353" y="27"/>
                  </a:cubicBezTo>
                  <a:cubicBezTo>
                    <a:pt x="353" y="27"/>
                    <a:pt x="346" y="21"/>
                    <a:pt x="343" y="20"/>
                  </a:cubicBezTo>
                  <a:cubicBezTo>
                    <a:pt x="339" y="18"/>
                    <a:pt x="336" y="14"/>
                    <a:pt x="336" y="14"/>
                  </a:cubicBezTo>
                  <a:cubicBezTo>
                    <a:pt x="330" y="18"/>
                    <a:pt x="330" y="18"/>
                    <a:pt x="330" y="18"/>
                  </a:cubicBezTo>
                  <a:cubicBezTo>
                    <a:pt x="330" y="18"/>
                    <a:pt x="328" y="13"/>
                    <a:pt x="321" y="12"/>
                  </a:cubicBezTo>
                  <a:cubicBezTo>
                    <a:pt x="315" y="12"/>
                    <a:pt x="314" y="20"/>
                    <a:pt x="314" y="20"/>
                  </a:cubicBezTo>
                  <a:cubicBezTo>
                    <a:pt x="307" y="18"/>
                    <a:pt x="307" y="18"/>
                    <a:pt x="307" y="18"/>
                  </a:cubicBezTo>
                  <a:cubicBezTo>
                    <a:pt x="307" y="18"/>
                    <a:pt x="307" y="22"/>
                    <a:pt x="304" y="22"/>
                  </a:cubicBezTo>
                  <a:cubicBezTo>
                    <a:pt x="300" y="23"/>
                    <a:pt x="293" y="17"/>
                    <a:pt x="293" y="17"/>
                  </a:cubicBezTo>
                  <a:cubicBezTo>
                    <a:pt x="293" y="22"/>
                    <a:pt x="293" y="22"/>
                    <a:pt x="293" y="22"/>
                  </a:cubicBezTo>
                  <a:cubicBezTo>
                    <a:pt x="293" y="22"/>
                    <a:pt x="273" y="21"/>
                    <a:pt x="270" y="25"/>
                  </a:cubicBezTo>
                  <a:cubicBezTo>
                    <a:pt x="267" y="28"/>
                    <a:pt x="261" y="20"/>
                    <a:pt x="261" y="20"/>
                  </a:cubicBezTo>
                  <a:cubicBezTo>
                    <a:pt x="256" y="26"/>
                    <a:pt x="256" y="26"/>
                    <a:pt x="256" y="26"/>
                  </a:cubicBezTo>
                  <a:cubicBezTo>
                    <a:pt x="256" y="26"/>
                    <a:pt x="256" y="42"/>
                    <a:pt x="251" y="42"/>
                  </a:cubicBezTo>
                  <a:cubicBezTo>
                    <a:pt x="247" y="42"/>
                    <a:pt x="249" y="34"/>
                    <a:pt x="249" y="29"/>
                  </a:cubicBezTo>
                  <a:cubicBezTo>
                    <a:pt x="249" y="24"/>
                    <a:pt x="244" y="23"/>
                    <a:pt x="244" y="23"/>
                  </a:cubicBezTo>
                  <a:cubicBezTo>
                    <a:pt x="244" y="23"/>
                    <a:pt x="242" y="33"/>
                    <a:pt x="236" y="33"/>
                  </a:cubicBezTo>
                  <a:cubicBezTo>
                    <a:pt x="229" y="33"/>
                    <a:pt x="226" y="23"/>
                    <a:pt x="226" y="23"/>
                  </a:cubicBezTo>
                  <a:cubicBezTo>
                    <a:pt x="226" y="23"/>
                    <a:pt x="222" y="14"/>
                    <a:pt x="221" y="14"/>
                  </a:cubicBezTo>
                  <a:cubicBezTo>
                    <a:pt x="220" y="14"/>
                    <a:pt x="217" y="9"/>
                    <a:pt x="217" y="9"/>
                  </a:cubicBezTo>
                  <a:cubicBezTo>
                    <a:pt x="203" y="8"/>
                    <a:pt x="203" y="8"/>
                    <a:pt x="203" y="8"/>
                  </a:cubicBezTo>
                  <a:cubicBezTo>
                    <a:pt x="196" y="12"/>
                    <a:pt x="196" y="12"/>
                    <a:pt x="196" y="12"/>
                  </a:cubicBezTo>
                  <a:cubicBezTo>
                    <a:pt x="196" y="12"/>
                    <a:pt x="176" y="12"/>
                    <a:pt x="175" y="12"/>
                  </a:cubicBezTo>
                  <a:cubicBezTo>
                    <a:pt x="174" y="12"/>
                    <a:pt x="173" y="5"/>
                    <a:pt x="173" y="5"/>
                  </a:cubicBezTo>
                  <a:cubicBezTo>
                    <a:pt x="164" y="8"/>
                    <a:pt x="164" y="8"/>
                    <a:pt x="164" y="8"/>
                  </a:cubicBezTo>
                  <a:cubicBezTo>
                    <a:pt x="164" y="8"/>
                    <a:pt x="159" y="1"/>
                    <a:pt x="158" y="0"/>
                  </a:cubicBezTo>
                  <a:cubicBezTo>
                    <a:pt x="157" y="0"/>
                    <a:pt x="148" y="10"/>
                    <a:pt x="148" y="10"/>
                  </a:cubicBezTo>
                  <a:cubicBezTo>
                    <a:pt x="139" y="8"/>
                    <a:pt x="139" y="8"/>
                    <a:pt x="139" y="8"/>
                  </a:cubicBezTo>
                  <a:cubicBezTo>
                    <a:pt x="139" y="8"/>
                    <a:pt x="130" y="15"/>
                    <a:pt x="124" y="19"/>
                  </a:cubicBezTo>
                  <a:cubicBezTo>
                    <a:pt x="123" y="33"/>
                    <a:pt x="123" y="33"/>
                    <a:pt x="123" y="33"/>
                  </a:cubicBezTo>
                  <a:cubicBezTo>
                    <a:pt x="108" y="34"/>
                    <a:pt x="108" y="34"/>
                    <a:pt x="108" y="34"/>
                  </a:cubicBezTo>
                  <a:cubicBezTo>
                    <a:pt x="86" y="56"/>
                    <a:pt x="86" y="56"/>
                    <a:pt x="86" y="56"/>
                  </a:cubicBezTo>
                  <a:cubicBezTo>
                    <a:pt x="93" y="67"/>
                    <a:pt x="93" y="67"/>
                    <a:pt x="93" y="67"/>
                  </a:cubicBezTo>
                  <a:cubicBezTo>
                    <a:pt x="93" y="67"/>
                    <a:pt x="75" y="81"/>
                    <a:pt x="74" y="82"/>
                  </a:cubicBezTo>
                  <a:cubicBezTo>
                    <a:pt x="73" y="83"/>
                    <a:pt x="68" y="103"/>
                    <a:pt x="68" y="103"/>
                  </a:cubicBezTo>
                  <a:cubicBezTo>
                    <a:pt x="58" y="105"/>
                    <a:pt x="58" y="105"/>
                    <a:pt x="58" y="105"/>
                  </a:cubicBezTo>
                  <a:cubicBezTo>
                    <a:pt x="63" y="114"/>
                    <a:pt x="63" y="114"/>
                    <a:pt x="63" y="114"/>
                  </a:cubicBezTo>
                  <a:cubicBezTo>
                    <a:pt x="63" y="114"/>
                    <a:pt x="48" y="126"/>
                    <a:pt x="47" y="127"/>
                  </a:cubicBezTo>
                  <a:cubicBezTo>
                    <a:pt x="46" y="129"/>
                    <a:pt x="47" y="134"/>
                    <a:pt x="47" y="139"/>
                  </a:cubicBezTo>
                  <a:cubicBezTo>
                    <a:pt x="47" y="144"/>
                    <a:pt x="0" y="170"/>
                    <a:pt x="0" y="170"/>
                  </a:cubicBezTo>
                  <a:cubicBezTo>
                    <a:pt x="0" y="170"/>
                    <a:pt x="0" y="170"/>
                    <a:pt x="0" y="170"/>
                  </a:cubicBezTo>
                  <a:cubicBezTo>
                    <a:pt x="14" y="168"/>
                    <a:pt x="14" y="168"/>
                    <a:pt x="14" y="168"/>
                  </a:cubicBezTo>
                  <a:cubicBezTo>
                    <a:pt x="14" y="168"/>
                    <a:pt x="19" y="175"/>
                    <a:pt x="20" y="175"/>
                  </a:cubicBezTo>
                  <a:cubicBezTo>
                    <a:pt x="21" y="175"/>
                    <a:pt x="31" y="170"/>
                    <a:pt x="31" y="170"/>
                  </a:cubicBezTo>
                  <a:cubicBezTo>
                    <a:pt x="31" y="170"/>
                    <a:pt x="53" y="179"/>
                    <a:pt x="53" y="178"/>
                  </a:cubicBezTo>
                  <a:cubicBezTo>
                    <a:pt x="54" y="177"/>
                    <a:pt x="59" y="165"/>
                    <a:pt x="59" y="165"/>
                  </a:cubicBezTo>
                  <a:cubicBezTo>
                    <a:pt x="84" y="177"/>
                    <a:pt x="84" y="177"/>
                    <a:pt x="84" y="177"/>
                  </a:cubicBezTo>
                  <a:cubicBezTo>
                    <a:pt x="84" y="177"/>
                    <a:pt x="101" y="173"/>
                    <a:pt x="102" y="173"/>
                  </a:cubicBezTo>
                  <a:cubicBezTo>
                    <a:pt x="102" y="174"/>
                    <a:pt x="140" y="194"/>
                    <a:pt x="140" y="194"/>
                  </a:cubicBezTo>
                  <a:cubicBezTo>
                    <a:pt x="152" y="191"/>
                    <a:pt x="152" y="191"/>
                    <a:pt x="152" y="191"/>
                  </a:cubicBezTo>
                  <a:cubicBezTo>
                    <a:pt x="192" y="194"/>
                    <a:pt x="192" y="194"/>
                    <a:pt x="192" y="194"/>
                  </a:cubicBezTo>
                  <a:cubicBezTo>
                    <a:pt x="192" y="194"/>
                    <a:pt x="199" y="198"/>
                    <a:pt x="206" y="210"/>
                  </a:cubicBezTo>
                  <a:cubicBezTo>
                    <a:pt x="214" y="222"/>
                    <a:pt x="211" y="249"/>
                    <a:pt x="211" y="249"/>
                  </a:cubicBezTo>
                  <a:cubicBezTo>
                    <a:pt x="233" y="275"/>
                    <a:pt x="233" y="275"/>
                    <a:pt x="233" y="275"/>
                  </a:cubicBezTo>
                  <a:cubicBezTo>
                    <a:pt x="226" y="297"/>
                    <a:pt x="226" y="297"/>
                    <a:pt x="226" y="297"/>
                  </a:cubicBezTo>
                  <a:cubicBezTo>
                    <a:pt x="274" y="299"/>
                    <a:pt x="274" y="299"/>
                    <a:pt x="274" y="299"/>
                  </a:cubicBezTo>
                  <a:cubicBezTo>
                    <a:pt x="271" y="321"/>
                    <a:pt x="271" y="321"/>
                    <a:pt x="271" y="321"/>
                  </a:cubicBezTo>
                  <a:cubicBezTo>
                    <a:pt x="292" y="317"/>
                    <a:pt x="292" y="317"/>
                    <a:pt x="292" y="317"/>
                  </a:cubicBezTo>
                  <a:cubicBezTo>
                    <a:pt x="308" y="332"/>
                    <a:pt x="308" y="332"/>
                    <a:pt x="308" y="332"/>
                  </a:cubicBezTo>
                  <a:cubicBezTo>
                    <a:pt x="312" y="328"/>
                    <a:pt x="312" y="328"/>
                    <a:pt x="312" y="328"/>
                  </a:cubicBezTo>
                  <a:cubicBezTo>
                    <a:pt x="312" y="328"/>
                    <a:pt x="320" y="310"/>
                    <a:pt x="327" y="305"/>
                  </a:cubicBezTo>
                  <a:cubicBezTo>
                    <a:pt x="335" y="301"/>
                    <a:pt x="346" y="294"/>
                    <a:pt x="360" y="285"/>
                  </a:cubicBezTo>
                  <a:cubicBezTo>
                    <a:pt x="375" y="276"/>
                    <a:pt x="368" y="274"/>
                    <a:pt x="375" y="269"/>
                  </a:cubicBezTo>
                  <a:cubicBezTo>
                    <a:pt x="382" y="264"/>
                    <a:pt x="380" y="265"/>
                    <a:pt x="387" y="264"/>
                  </a:cubicBezTo>
                  <a:cubicBezTo>
                    <a:pt x="394" y="262"/>
                    <a:pt x="401" y="254"/>
                    <a:pt x="401" y="254"/>
                  </a:cubicBezTo>
                  <a:cubicBezTo>
                    <a:pt x="412" y="256"/>
                    <a:pt x="412" y="256"/>
                    <a:pt x="412" y="256"/>
                  </a:cubicBezTo>
                  <a:cubicBezTo>
                    <a:pt x="426" y="241"/>
                    <a:pt x="426" y="241"/>
                    <a:pt x="426" y="241"/>
                  </a:cubicBezTo>
                  <a:cubicBezTo>
                    <a:pt x="451" y="242"/>
                    <a:pt x="451" y="242"/>
                    <a:pt x="451" y="242"/>
                  </a:cubicBezTo>
                  <a:cubicBezTo>
                    <a:pt x="466" y="253"/>
                    <a:pt x="466" y="253"/>
                    <a:pt x="466" y="253"/>
                  </a:cubicBezTo>
                  <a:cubicBezTo>
                    <a:pt x="477" y="245"/>
                    <a:pt x="477" y="245"/>
                    <a:pt x="477" y="245"/>
                  </a:cubicBezTo>
                  <a:cubicBezTo>
                    <a:pt x="463" y="230"/>
                    <a:pt x="463" y="230"/>
                    <a:pt x="463" y="230"/>
                  </a:cubicBezTo>
                  <a:cubicBezTo>
                    <a:pt x="473" y="229"/>
                    <a:pt x="473" y="229"/>
                    <a:pt x="473" y="229"/>
                  </a:cubicBezTo>
                  <a:cubicBezTo>
                    <a:pt x="496" y="212"/>
                    <a:pt x="496" y="212"/>
                    <a:pt x="496" y="212"/>
                  </a:cubicBezTo>
                  <a:cubicBezTo>
                    <a:pt x="498" y="213"/>
                    <a:pt x="498" y="213"/>
                    <a:pt x="498" y="213"/>
                  </a:cubicBezTo>
                  <a:cubicBezTo>
                    <a:pt x="498" y="207"/>
                    <a:pt x="498" y="196"/>
                    <a:pt x="498" y="195"/>
                  </a:cubicBezTo>
                  <a:cubicBezTo>
                    <a:pt x="498" y="194"/>
                    <a:pt x="504" y="189"/>
                    <a:pt x="512" y="186"/>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6" name="Freeform 333">
              <a:extLst>
                <a:ext uri="{FF2B5EF4-FFF2-40B4-BE49-F238E27FC236}">
                  <a16:creationId xmlns:a16="http://schemas.microsoft.com/office/drawing/2014/main" id="{C4F505EC-223F-4FBD-839B-3DF60677C4A5}"/>
                </a:ext>
              </a:extLst>
            </p:cNvPr>
            <p:cNvSpPr>
              <a:spLocks noChangeAspect="1"/>
            </p:cNvSpPr>
            <p:nvPr/>
          </p:nvSpPr>
          <p:spPr bwMode="auto">
            <a:xfrm>
              <a:off x="13627" y="3344"/>
              <a:ext cx="467" cy="309"/>
            </a:xfrm>
            <a:custGeom>
              <a:avLst/>
              <a:gdLst/>
              <a:ahLst/>
              <a:cxnLst>
                <a:cxn ang="0">
                  <a:pos x="189" y="26"/>
                </a:cxn>
                <a:cxn ang="0">
                  <a:pos x="187" y="5"/>
                </a:cxn>
                <a:cxn ang="0">
                  <a:pos x="182" y="0"/>
                </a:cxn>
                <a:cxn ang="0">
                  <a:pos x="174" y="10"/>
                </a:cxn>
                <a:cxn ang="0">
                  <a:pos x="164" y="10"/>
                </a:cxn>
                <a:cxn ang="0">
                  <a:pos x="165" y="20"/>
                </a:cxn>
                <a:cxn ang="0">
                  <a:pos x="158" y="30"/>
                </a:cxn>
                <a:cxn ang="0">
                  <a:pos x="158" y="44"/>
                </a:cxn>
                <a:cxn ang="0">
                  <a:pos x="150" y="50"/>
                </a:cxn>
                <a:cxn ang="0">
                  <a:pos x="152" y="56"/>
                </a:cxn>
                <a:cxn ang="0">
                  <a:pos x="144" y="60"/>
                </a:cxn>
                <a:cxn ang="0">
                  <a:pos x="107" y="81"/>
                </a:cxn>
                <a:cxn ang="0">
                  <a:pos x="64" y="77"/>
                </a:cxn>
                <a:cxn ang="0">
                  <a:pos x="37" y="91"/>
                </a:cxn>
                <a:cxn ang="0">
                  <a:pos x="20" y="86"/>
                </a:cxn>
                <a:cxn ang="0">
                  <a:pos x="1" y="101"/>
                </a:cxn>
                <a:cxn ang="0">
                  <a:pos x="3" y="100"/>
                </a:cxn>
                <a:cxn ang="0">
                  <a:pos x="8" y="104"/>
                </a:cxn>
                <a:cxn ang="0">
                  <a:pos x="13" y="112"/>
                </a:cxn>
                <a:cxn ang="0">
                  <a:pos x="29" y="109"/>
                </a:cxn>
                <a:cxn ang="0">
                  <a:pos x="36" y="114"/>
                </a:cxn>
                <a:cxn ang="0">
                  <a:pos x="41" y="118"/>
                </a:cxn>
                <a:cxn ang="0">
                  <a:pos x="31" y="124"/>
                </a:cxn>
                <a:cxn ang="0">
                  <a:pos x="14" y="126"/>
                </a:cxn>
                <a:cxn ang="0">
                  <a:pos x="0" y="135"/>
                </a:cxn>
                <a:cxn ang="0">
                  <a:pos x="0" y="153"/>
                </a:cxn>
                <a:cxn ang="0">
                  <a:pos x="6" y="155"/>
                </a:cxn>
                <a:cxn ang="0">
                  <a:pos x="8" y="137"/>
                </a:cxn>
                <a:cxn ang="0">
                  <a:pos x="24" y="138"/>
                </a:cxn>
                <a:cxn ang="0">
                  <a:pos x="32" y="130"/>
                </a:cxn>
                <a:cxn ang="0">
                  <a:pos x="44" y="139"/>
                </a:cxn>
                <a:cxn ang="0">
                  <a:pos x="61" y="132"/>
                </a:cxn>
                <a:cxn ang="0">
                  <a:pos x="70" y="137"/>
                </a:cxn>
                <a:cxn ang="0">
                  <a:pos x="97" y="137"/>
                </a:cxn>
                <a:cxn ang="0">
                  <a:pos x="95" y="126"/>
                </a:cxn>
                <a:cxn ang="0">
                  <a:pos x="104" y="119"/>
                </a:cxn>
                <a:cxn ang="0">
                  <a:pos x="106" y="132"/>
                </a:cxn>
                <a:cxn ang="0">
                  <a:pos x="144" y="129"/>
                </a:cxn>
                <a:cxn ang="0">
                  <a:pos x="165" y="133"/>
                </a:cxn>
                <a:cxn ang="0">
                  <a:pos x="178" y="122"/>
                </a:cxn>
                <a:cxn ang="0">
                  <a:pos x="172" y="109"/>
                </a:cxn>
                <a:cxn ang="0">
                  <a:pos x="192" y="89"/>
                </a:cxn>
                <a:cxn ang="0">
                  <a:pos x="217" y="83"/>
                </a:cxn>
                <a:cxn ang="0">
                  <a:pos x="234" y="72"/>
                </a:cxn>
                <a:cxn ang="0">
                  <a:pos x="228" y="44"/>
                </a:cxn>
                <a:cxn ang="0">
                  <a:pos x="234" y="29"/>
                </a:cxn>
                <a:cxn ang="0">
                  <a:pos x="207" y="29"/>
                </a:cxn>
                <a:cxn ang="0">
                  <a:pos x="189" y="26"/>
                </a:cxn>
              </a:cxnLst>
              <a:rect l="0" t="0" r="r" b="b"/>
              <a:pathLst>
                <a:path w="234" h="155">
                  <a:moveTo>
                    <a:pt x="189" y="26"/>
                  </a:moveTo>
                  <a:cubicBezTo>
                    <a:pt x="189" y="26"/>
                    <a:pt x="187" y="9"/>
                    <a:pt x="187" y="5"/>
                  </a:cubicBezTo>
                  <a:cubicBezTo>
                    <a:pt x="187" y="0"/>
                    <a:pt x="182" y="0"/>
                    <a:pt x="182" y="0"/>
                  </a:cubicBezTo>
                  <a:cubicBezTo>
                    <a:pt x="174" y="10"/>
                    <a:pt x="174" y="10"/>
                    <a:pt x="174" y="10"/>
                  </a:cubicBezTo>
                  <a:cubicBezTo>
                    <a:pt x="164" y="10"/>
                    <a:pt x="164" y="10"/>
                    <a:pt x="164" y="10"/>
                  </a:cubicBezTo>
                  <a:cubicBezTo>
                    <a:pt x="165" y="20"/>
                    <a:pt x="165" y="20"/>
                    <a:pt x="165" y="20"/>
                  </a:cubicBezTo>
                  <a:cubicBezTo>
                    <a:pt x="165" y="20"/>
                    <a:pt x="158" y="28"/>
                    <a:pt x="158" y="30"/>
                  </a:cubicBezTo>
                  <a:cubicBezTo>
                    <a:pt x="158" y="31"/>
                    <a:pt x="158" y="44"/>
                    <a:pt x="158" y="44"/>
                  </a:cubicBezTo>
                  <a:cubicBezTo>
                    <a:pt x="150" y="50"/>
                    <a:pt x="150" y="50"/>
                    <a:pt x="150" y="50"/>
                  </a:cubicBezTo>
                  <a:cubicBezTo>
                    <a:pt x="152" y="56"/>
                    <a:pt x="152" y="56"/>
                    <a:pt x="152" y="56"/>
                  </a:cubicBezTo>
                  <a:cubicBezTo>
                    <a:pt x="152" y="56"/>
                    <a:pt x="152" y="59"/>
                    <a:pt x="144" y="60"/>
                  </a:cubicBezTo>
                  <a:cubicBezTo>
                    <a:pt x="136" y="61"/>
                    <a:pt x="107" y="81"/>
                    <a:pt x="107" y="81"/>
                  </a:cubicBezTo>
                  <a:cubicBezTo>
                    <a:pt x="107" y="81"/>
                    <a:pt x="65" y="77"/>
                    <a:pt x="64" y="77"/>
                  </a:cubicBezTo>
                  <a:cubicBezTo>
                    <a:pt x="62" y="77"/>
                    <a:pt x="38" y="90"/>
                    <a:pt x="37" y="91"/>
                  </a:cubicBezTo>
                  <a:cubicBezTo>
                    <a:pt x="36" y="91"/>
                    <a:pt x="20" y="86"/>
                    <a:pt x="20" y="86"/>
                  </a:cubicBezTo>
                  <a:cubicBezTo>
                    <a:pt x="1" y="101"/>
                    <a:pt x="1" y="101"/>
                    <a:pt x="1" y="101"/>
                  </a:cubicBezTo>
                  <a:cubicBezTo>
                    <a:pt x="3" y="100"/>
                    <a:pt x="3" y="100"/>
                    <a:pt x="3" y="100"/>
                  </a:cubicBezTo>
                  <a:cubicBezTo>
                    <a:pt x="3" y="100"/>
                    <a:pt x="6" y="97"/>
                    <a:pt x="8" y="104"/>
                  </a:cubicBezTo>
                  <a:cubicBezTo>
                    <a:pt x="10" y="111"/>
                    <a:pt x="5" y="112"/>
                    <a:pt x="13" y="112"/>
                  </a:cubicBezTo>
                  <a:cubicBezTo>
                    <a:pt x="21" y="112"/>
                    <a:pt x="29" y="109"/>
                    <a:pt x="29" y="109"/>
                  </a:cubicBezTo>
                  <a:cubicBezTo>
                    <a:pt x="36" y="114"/>
                    <a:pt x="36" y="114"/>
                    <a:pt x="36" y="114"/>
                  </a:cubicBezTo>
                  <a:cubicBezTo>
                    <a:pt x="41" y="118"/>
                    <a:pt x="41" y="118"/>
                    <a:pt x="41" y="118"/>
                  </a:cubicBezTo>
                  <a:cubicBezTo>
                    <a:pt x="41" y="118"/>
                    <a:pt x="34" y="124"/>
                    <a:pt x="31" y="124"/>
                  </a:cubicBezTo>
                  <a:cubicBezTo>
                    <a:pt x="28" y="124"/>
                    <a:pt x="23" y="124"/>
                    <a:pt x="14" y="126"/>
                  </a:cubicBezTo>
                  <a:cubicBezTo>
                    <a:pt x="6" y="129"/>
                    <a:pt x="0" y="134"/>
                    <a:pt x="0" y="135"/>
                  </a:cubicBezTo>
                  <a:cubicBezTo>
                    <a:pt x="0" y="136"/>
                    <a:pt x="0" y="147"/>
                    <a:pt x="0" y="153"/>
                  </a:cubicBezTo>
                  <a:cubicBezTo>
                    <a:pt x="6" y="155"/>
                    <a:pt x="6" y="155"/>
                    <a:pt x="6" y="155"/>
                  </a:cubicBezTo>
                  <a:cubicBezTo>
                    <a:pt x="8" y="137"/>
                    <a:pt x="8" y="137"/>
                    <a:pt x="8" y="137"/>
                  </a:cubicBezTo>
                  <a:cubicBezTo>
                    <a:pt x="24" y="138"/>
                    <a:pt x="24" y="138"/>
                    <a:pt x="24" y="138"/>
                  </a:cubicBezTo>
                  <a:cubicBezTo>
                    <a:pt x="32" y="130"/>
                    <a:pt x="32" y="130"/>
                    <a:pt x="32" y="130"/>
                  </a:cubicBezTo>
                  <a:cubicBezTo>
                    <a:pt x="32" y="130"/>
                    <a:pt x="44" y="139"/>
                    <a:pt x="44" y="139"/>
                  </a:cubicBezTo>
                  <a:cubicBezTo>
                    <a:pt x="45" y="140"/>
                    <a:pt x="50" y="132"/>
                    <a:pt x="61" y="132"/>
                  </a:cubicBezTo>
                  <a:cubicBezTo>
                    <a:pt x="72" y="132"/>
                    <a:pt x="70" y="137"/>
                    <a:pt x="70" y="137"/>
                  </a:cubicBezTo>
                  <a:cubicBezTo>
                    <a:pt x="97" y="137"/>
                    <a:pt x="97" y="137"/>
                    <a:pt x="97" y="137"/>
                  </a:cubicBezTo>
                  <a:cubicBezTo>
                    <a:pt x="95" y="126"/>
                    <a:pt x="95" y="126"/>
                    <a:pt x="95" y="126"/>
                  </a:cubicBezTo>
                  <a:cubicBezTo>
                    <a:pt x="104" y="119"/>
                    <a:pt x="104" y="119"/>
                    <a:pt x="104" y="119"/>
                  </a:cubicBezTo>
                  <a:cubicBezTo>
                    <a:pt x="106" y="132"/>
                    <a:pt x="106" y="132"/>
                    <a:pt x="106" y="132"/>
                  </a:cubicBezTo>
                  <a:cubicBezTo>
                    <a:pt x="106" y="132"/>
                    <a:pt x="131" y="130"/>
                    <a:pt x="144" y="129"/>
                  </a:cubicBezTo>
                  <a:cubicBezTo>
                    <a:pt x="157" y="129"/>
                    <a:pt x="165" y="133"/>
                    <a:pt x="165" y="133"/>
                  </a:cubicBezTo>
                  <a:cubicBezTo>
                    <a:pt x="178" y="122"/>
                    <a:pt x="178" y="122"/>
                    <a:pt x="178" y="122"/>
                  </a:cubicBezTo>
                  <a:cubicBezTo>
                    <a:pt x="172" y="109"/>
                    <a:pt x="172" y="109"/>
                    <a:pt x="172" y="109"/>
                  </a:cubicBezTo>
                  <a:cubicBezTo>
                    <a:pt x="172" y="109"/>
                    <a:pt x="190" y="89"/>
                    <a:pt x="192" y="89"/>
                  </a:cubicBezTo>
                  <a:cubicBezTo>
                    <a:pt x="194" y="89"/>
                    <a:pt x="207" y="87"/>
                    <a:pt x="217" y="83"/>
                  </a:cubicBezTo>
                  <a:cubicBezTo>
                    <a:pt x="228" y="79"/>
                    <a:pt x="234" y="72"/>
                    <a:pt x="234" y="72"/>
                  </a:cubicBezTo>
                  <a:cubicBezTo>
                    <a:pt x="228" y="44"/>
                    <a:pt x="228" y="44"/>
                    <a:pt x="228" y="44"/>
                  </a:cubicBezTo>
                  <a:cubicBezTo>
                    <a:pt x="234" y="29"/>
                    <a:pt x="234" y="29"/>
                    <a:pt x="234" y="29"/>
                  </a:cubicBezTo>
                  <a:cubicBezTo>
                    <a:pt x="207" y="29"/>
                    <a:pt x="207" y="29"/>
                    <a:pt x="207" y="29"/>
                  </a:cubicBezTo>
                  <a:lnTo>
                    <a:pt x="189" y="2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7" name="Freeform 334">
              <a:extLst>
                <a:ext uri="{FF2B5EF4-FFF2-40B4-BE49-F238E27FC236}">
                  <a16:creationId xmlns:a16="http://schemas.microsoft.com/office/drawing/2014/main" id="{DC9F0102-9503-4246-ADB3-9F545CD4EC3B}"/>
                </a:ext>
              </a:extLst>
            </p:cNvPr>
            <p:cNvSpPr>
              <a:spLocks noChangeAspect="1"/>
            </p:cNvSpPr>
            <p:nvPr/>
          </p:nvSpPr>
          <p:spPr bwMode="auto">
            <a:xfrm>
              <a:off x="12877" y="2540"/>
              <a:ext cx="1350" cy="1063"/>
            </a:xfrm>
            <a:custGeom>
              <a:avLst/>
              <a:gdLst/>
              <a:ahLst/>
              <a:cxnLst>
                <a:cxn ang="0">
                  <a:pos x="561" y="367"/>
                </a:cxn>
                <a:cxn ang="0">
                  <a:pos x="593" y="349"/>
                </a:cxn>
                <a:cxn ang="0">
                  <a:pos x="611" y="304"/>
                </a:cxn>
                <a:cxn ang="0">
                  <a:pos x="605" y="273"/>
                </a:cxn>
                <a:cxn ang="0">
                  <a:pos x="607" y="241"/>
                </a:cxn>
                <a:cxn ang="0">
                  <a:pos x="629" y="236"/>
                </a:cxn>
                <a:cxn ang="0">
                  <a:pos x="657" y="224"/>
                </a:cxn>
                <a:cxn ang="0">
                  <a:pos x="653" y="170"/>
                </a:cxn>
                <a:cxn ang="0">
                  <a:pos x="657" y="149"/>
                </a:cxn>
                <a:cxn ang="0">
                  <a:pos x="603" y="98"/>
                </a:cxn>
                <a:cxn ang="0">
                  <a:pos x="552" y="59"/>
                </a:cxn>
                <a:cxn ang="0">
                  <a:pos x="476" y="34"/>
                </a:cxn>
                <a:cxn ang="0">
                  <a:pos x="434" y="12"/>
                </a:cxn>
                <a:cxn ang="0">
                  <a:pos x="326" y="52"/>
                </a:cxn>
                <a:cxn ang="0">
                  <a:pos x="309" y="55"/>
                </a:cxn>
                <a:cxn ang="0">
                  <a:pos x="289" y="49"/>
                </a:cxn>
                <a:cxn ang="0">
                  <a:pos x="249" y="54"/>
                </a:cxn>
                <a:cxn ang="0">
                  <a:pos x="258" y="108"/>
                </a:cxn>
                <a:cxn ang="0">
                  <a:pos x="227" y="130"/>
                </a:cxn>
                <a:cxn ang="0">
                  <a:pos x="233" y="175"/>
                </a:cxn>
                <a:cxn ang="0">
                  <a:pos x="217" y="226"/>
                </a:cxn>
                <a:cxn ang="0">
                  <a:pos x="166" y="252"/>
                </a:cxn>
                <a:cxn ang="0">
                  <a:pos x="138" y="258"/>
                </a:cxn>
                <a:cxn ang="0">
                  <a:pos x="91" y="263"/>
                </a:cxn>
                <a:cxn ang="0">
                  <a:pos x="30" y="306"/>
                </a:cxn>
                <a:cxn ang="0">
                  <a:pos x="1" y="336"/>
                </a:cxn>
                <a:cxn ang="0">
                  <a:pos x="24" y="351"/>
                </a:cxn>
                <a:cxn ang="0">
                  <a:pos x="49" y="346"/>
                </a:cxn>
                <a:cxn ang="0">
                  <a:pos x="79" y="349"/>
                </a:cxn>
                <a:cxn ang="0">
                  <a:pos x="102" y="364"/>
                </a:cxn>
                <a:cxn ang="0">
                  <a:pos x="125" y="370"/>
                </a:cxn>
                <a:cxn ang="0">
                  <a:pos x="137" y="361"/>
                </a:cxn>
                <a:cxn ang="0">
                  <a:pos x="169" y="358"/>
                </a:cxn>
                <a:cxn ang="0">
                  <a:pos x="190" y="361"/>
                </a:cxn>
                <a:cxn ang="0">
                  <a:pos x="212" y="355"/>
                </a:cxn>
                <a:cxn ang="0">
                  <a:pos x="223" y="380"/>
                </a:cxn>
                <a:cxn ang="0">
                  <a:pos x="234" y="420"/>
                </a:cxn>
                <a:cxn ang="0">
                  <a:pos x="260" y="438"/>
                </a:cxn>
                <a:cxn ang="0">
                  <a:pos x="267" y="473"/>
                </a:cxn>
                <a:cxn ang="0">
                  <a:pos x="260" y="493"/>
                </a:cxn>
                <a:cxn ang="0">
                  <a:pos x="276" y="519"/>
                </a:cxn>
                <a:cxn ang="0">
                  <a:pos x="305" y="525"/>
                </a:cxn>
                <a:cxn ang="0">
                  <a:pos x="329" y="514"/>
                </a:cxn>
                <a:cxn ang="0">
                  <a:pos x="360" y="503"/>
                </a:cxn>
                <a:cxn ang="0">
                  <a:pos x="411" y="492"/>
                </a:cxn>
                <a:cxn ang="0">
                  <a:pos x="518" y="461"/>
                </a:cxn>
                <a:cxn ang="0">
                  <a:pos x="532" y="445"/>
                </a:cxn>
                <a:cxn ang="0">
                  <a:pos x="538" y="411"/>
                </a:cxn>
                <a:cxn ang="0">
                  <a:pos x="555" y="393"/>
                </a:cxn>
              </a:cxnLst>
              <a:rect l="0" t="0" r="r" b="b"/>
              <a:pathLst>
                <a:path w="675" h="531">
                  <a:moveTo>
                    <a:pt x="560" y="385"/>
                  </a:moveTo>
                  <a:cubicBezTo>
                    <a:pt x="553" y="377"/>
                    <a:pt x="553" y="377"/>
                    <a:pt x="553" y="377"/>
                  </a:cubicBezTo>
                  <a:cubicBezTo>
                    <a:pt x="561" y="367"/>
                    <a:pt x="561" y="367"/>
                    <a:pt x="561" y="367"/>
                  </a:cubicBezTo>
                  <a:cubicBezTo>
                    <a:pt x="586" y="366"/>
                    <a:pt x="586" y="366"/>
                    <a:pt x="586" y="366"/>
                  </a:cubicBezTo>
                  <a:cubicBezTo>
                    <a:pt x="587" y="353"/>
                    <a:pt x="587" y="353"/>
                    <a:pt x="587" y="353"/>
                  </a:cubicBezTo>
                  <a:cubicBezTo>
                    <a:pt x="593" y="349"/>
                    <a:pt x="593" y="349"/>
                    <a:pt x="593" y="349"/>
                  </a:cubicBezTo>
                  <a:cubicBezTo>
                    <a:pt x="597" y="334"/>
                    <a:pt x="597" y="334"/>
                    <a:pt x="597" y="334"/>
                  </a:cubicBezTo>
                  <a:cubicBezTo>
                    <a:pt x="597" y="334"/>
                    <a:pt x="612" y="328"/>
                    <a:pt x="612" y="322"/>
                  </a:cubicBezTo>
                  <a:cubicBezTo>
                    <a:pt x="612" y="316"/>
                    <a:pt x="620" y="309"/>
                    <a:pt x="611" y="304"/>
                  </a:cubicBezTo>
                  <a:cubicBezTo>
                    <a:pt x="602" y="299"/>
                    <a:pt x="591" y="285"/>
                    <a:pt x="591" y="285"/>
                  </a:cubicBezTo>
                  <a:cubicBezTo>
                    <a:pt x="612" y="283"/>
                    <a:pt x="612" y="283"/>
                    <a:pt x="612" y="283"/>
                  </a:cubicBezTo>
                  <a:cubicBezTo>
                    <a:pt x="612" y="283"/>
                    <a:pt x="605" y="275"/>
                    <a:pt x="605" y="273"/>
                  </a:cubicBezTo>
                  <a:cubicBezTo>
                    <a:pt x="605" y="272"/>
                    <a:pt x="608" y="265"/>
                    <a:pt x="608" y="265"/>
                  </a:cubicBezTo>
                  <a:cubicBezTo>
                    <a:pt x="598" y="258"/>
                    <a:pt x="598" y="258"/>
                    <a:pt x="598" y="258"/>
                  </a:cubicBezTo>
                  <a:cubicBezTo>
                    <a:pt x="598" y="258"/>
                    <a:pt x="599" y="241"/>
                    <a:pt x="607" y="241"/>
                  </a:cubicBezTo>
                  <a:cubicBezTo>
                    <a:pt x="615" y="241"/>
                    <a:pt x="617" y="241"/>
                    <a:pt x="617" y="241"/>
                  </a:cubicBezTo>
                  <a:cubicBezTo>
                    <a:pt x="617" y="241"/>
                    <a:pt x="616" y="236"/>
                    <a:pt x="617" y="236"/>
                  </a:cubicBezTo>
                  <a:cubicBezTo>
                    <a:pt x="619" y="236"/>
                    <a:pt x="629" y="236"/>
                    <a:pt x="629" y="236"/>
                  </a:cubicBezTo>
                  <a:cubicBezTo>
                    <a:pt x="629" y="230"/>
                    <a:pt x="629" y="230"/>
                    <a:pt x="629" y="230"/>
                  </a:cubicBezTo>
                  <a:cubicBezTo>
                    <a:pt x="654" y="229"/>
                    <a:pt x="654" y="229"/>
                    <a:pt x="654" y="229"/>
                  </a:cubicBezTo>
                  <a:cubicBezTo>
                    <a:pt x="657" y="224"/>
                    <a:pt x="657" y="224"/>
                    <a:pt x="657" y="224"/>
                  </a:cubicBezTo>
                  <a:cubicBezTo>
                    <a:pt x="629" y="197"/>
                    <a:pt x="629" y="197"/>
                    <a:pt x="629" y="197"/>
                  </a:cubicBezTo>
                  <a:cubicBezTo>
                    <a:pt x="635" y="171"/>
                    <a:pt x="635" y="171"/>
                    <a:pt x="635" y="171"/>
                  </a:cubicBezTo>
                  <a:cubicBezTo>
                    <a:pt x="653" y="170"/>
                    <a:pt x="653" y="170"/>
                    <a:pt x="653" y="170"/>
                  </a:cubicBezTo>
                  <a:cubicBezTo>
                    <a:pt x="645" y="160"/>
                    <a:pt x="645" y="160"/>
                    <a:pt x="645" y="160"/>
                  </a:cubicBezTo>
                  <a:cubicBezTo>
                    <a:pt x="650" y="149"/>
                    <a:pt x="650" y="149"/>
                    <a:pt x="650" y="149"/>
                  </a:cubicBezTo>
                  <a:cubicBezTo>
                    <a:pt x="657" y="149"/>
                    <a:pt x="657" y="149"/>
                    <a:pt x="657" y="149"/>
                  </a:cubicBezTo>
                  <a:cubicBezTo>
                    <a:pt x="657" y="149"/>
                    <a:pt x="670" y="132"/>
                    <a:pt x="672" y="123"/>
                  </a:cubicBezTo>
                  <a:cubicBezTo>
                    <a:pt x="675" y="114"/>
                    <a:pt x="622" y="94"/>
                    <a:pt x="614" y="92"/>
                  </a:cubicBezTo>
                  <a:cubicBezTo>
                    <a:pt x="606" y="89"/>
                    <a:pt x="603" y="98"/>
                    <a:pt x="603" y="98"/>
                  </a:cubicBezTo>
                  <a:cubicBezTo>
                    <a:pt x="586" y="98"/>
                    <a:pt x="586" y="98"/>
                    <a:pt x="586" y="98"/>
                  </a:cubicBezTo>
                  <a:cubicBezTo>
                    <a:pt x="586" y="85"/>
                    <a:pt x="586" y="85"/>
                    <a:pt x="586" y="85"/>
                  </a:cubicBezTo>
                  <a:cubicBezTo>
                    <a:pt x="552" y="59"/>
                    <a:pt x="552" y="59"/>
                    <a:pt x="552" y="59"/>
                  </a:cubicBezTo>
                  <a:cubicBezTo>
                    <a:pt x="552" y="59"/>
                    <a:pt x="548" y="65"/>
                    <a:pt x="547" y="66"/>
                  </a:cubicBezTo>
                  <a:cubicBezTo>
                    <a:pt x="546" y="68"/>
                    <a:pt x="521" y="62"/>
                    <a:pt x="521" y="62"/>
                  </a:cubicBezTo>
                  <a:cubicBezTo>
                    <a:pt x="521" y="62"/>
                    <a:pt x="487" y="36"/>
                    <a:pt x="476" y="34"/>
                  </a:cubicBezTo>
                  <a:cubicBezTo>
                    <a:pt x="465" y="32"/>
                    <a:pt x="457" y="41"/>
                    <a:pt x="457" y="41"/>
                  </a:cubicBezTo>
                  <a:cubicBezTo>
                    <a:pt x="429" y="28"/>
                    <a:pt x="429" y="28"/>
                    <a:pt x="429" y="28"/>
                  </a:cubicBezTo>
                  <a:cubicBezTo>
                    <a:pt x="429" y="28"/>
                    <a:pt x="434" y="25"/>
                    <a:pt x="434" y="12"/>
                  </a:cubicBezTo>
                  <a:cubicBezTo>
                    <a:pt x="433" y="0"/>
                    <a:pt x="393" y="13"/>
                    <a:pt x="393" y="13"/>
                  </a:cubicBezTo>
                  <a:cubicBezTo>
                    <a:pt x="393" y="13"/>
                    <a:pt x="369" y="28"/>
                    <a:pt x="364" y="34"/>
                  </a:cubicBezTo>
                  <a:cubicBezTo>
                    <a:pt x="358" y="40"/>
                    <a:pt x="332" y="51"/>
                    <a:pt x="326" y="52"/>
                  </a:cubicBezTo>
                  <a:cubicBezTo>
                    <a:pt x="320" y="52"/>
                    <a:pt x="300" y="71"/>
                    <a:pt x="300" y="71"/>
                  </a:cubicBezTo>
                  <a:cubicBezTo>
                    <a:pt x="300" y="71"/>
                    <a:pt x="297" y="64"/>
                    <a:pt x="297" y="63"/>
                  </a:cubicBezTo>
                  <a:cubicBezTo>
                    <a:pt x="297" y="62"/>
                    <a:pt x="309" y="55"/>
                    <a:pt x="309" y="55"/>
                  </a:cubicBezTo>
                  <a:cubicBezTo>
                    <a:pt x="301" y="49"/>
                    <a:pt x="301" y="49"/>
                    <a:pt x="301" y="49"/>
                  </a:cubicBezTo>
                  <a:cubicBezTo>
                    <a:pt x="301" y="46"/>
                    <a:pt x="301" y="46"/>
                    <a:pt x="301" y="46"/>
                  </a:cubicBezTo>
                  <a:cubicBezTo>
                    <a:pt x="289" y="49"/>
                    <a:pt x="289" y="49"/>
                    <a:pt x="289" y="49"/>
                  </a:cubicBezTo>
                  <a:cubicBezTo>
                    <a:pt x="289" y="49"/>
                    <a:pt x="287" y="44"/>
                    <a:pt x="274" y="38"/>
                  </a:cubicBezTo>
                  <a:cubicBezTo>
                    <a:pt x="261" y="32"/>
                    <a:pt x="272" y="59"/>
                    <a:pt x="272" y="60"/>
                  </a:cubicBezTo>
                  <a:cubicBezTo>
                    <a:pt x="272" y="62"/>
                    <a:pt x="252" y="52"/>
                    <a:pt x="249" y="54"/>
                  </a:cubicBezTo>
                  <a:cubicBezTo>
                    <a:pt x="245" y="57"/>
                    <a:pt x="254" y="78"/>
                    <a:pt x="254" y="78"/>
                  </a:cubicBezTo>
                  <a:cubicBezTo>
                    <a:pt x="244" y="84"/>
                    <a:pt x="244" y="84"/>
                    <a:pt x="244" y="84"/>
                  </a:cubicBezTo>
                  <a:cubicBezTo>
                    <a:pt x="258" y="108"/>
                    <a:pt x="258" y="108"/>
                    <a:pt x="258" y="108"/>
                  </a:cubicBezTo>
                  <a:cubicBezTo>
                    <a:pt x="237" y="109"/>
                    <a:pt x="237" y="109"/>
                    <a:pt x="237" y="109"/>
                  </a:cubicBezTo>
                  <a:cubicBezTo>
                    <a:pt x="225" y="116"/>
                    <a:pt x="225" y="116"/>
                    <a:pt x="225" y="116"/>
                  </a:cubicBezTo>
                  <a:cubicBezTo>
                    <a:pt x="225" y="116"/>
                    <a:pt x="227" y="130"/>
                    <a:pt x="227" y="130"/>
                  </a:cubicBezTo>
                  <a:cubicBezTo>
                    <a:pt x="227" y="131"/>
                    <a:pt x="221" y="134"/>
                    <a:pt x="218" y="139"/>
                  </a:cubicBezTo>
                  <a:cubicBezTo>
                    <a:pt x="214" y="145"/>
                    <a:pt x="229" y="157"/>
                    <a:pt x="231" y="158"/>
                  </a:cubicBezTo>
                  <a:cubicBezTo>
                    <a:pt x="232" y="159"/>
                    <a:pt x="235" y="170"/>
                    <a:pt x="233" y="175"/>
                  </a:cubicBezTo>
                  <a:cubicBezTo>
                    <a:pt x="231" y="179"/>
                    <a:pt x="213" y="199"/>
                    <a:pt x="212" y="201"/>
                  </a:cubicBezTo>
                  <a:cubicBezTo>
                    <a:pt x="211" y="203"/>
                    <a:pt x="220" y="206"/>
                    <a:pt x="228" y="211"/>
                  </a:cubicBezTo>
                  <a:cubicBezTo>
                    <a:pt x="236" y="216"/>
                    <a:pt x="217" y="226"/>
                    <a:pt x="217" y="226"/>
                  </a:cubicBezTo>
                  <a:cubicBezTo>
                    <a:pt x="227" y="236"/>
                    <a:pt x="227" y="236"/>
                    <a:pt x="227" y="236"/>
                  </a:cubicBezTo>
                  <a:cubicBezTo>
                    <a:pt x="227" y="236"/>
                    <a:pt x="189" y="263"/>
                    <a:pt x="188" y="264"/>
                  </a:cubicBezTo>
                  <a:cubicBezTo>
                    <a:pt x="188" y="265"/>
                    <a:pt x="166" y="252"/>
                    <a:pt x="166" y="252"/>
                  </a:cubicBezTo>
                  <a:cubicBezTo>
                    <a:pt x="154" y="258"/>
                    <a:pt x="154" y="258"/>
                    <a:pt x="154" y="258"/>
                  </a:cubicBezTo>
                  <a:cubicBezTo>
                    <a:pt x="146" y="252"/>
                    <a:pt x="146" y="252"/>
                    <a:pt x="146" y="252"/>
                  </a:cubicBezTo>
                  <a:cubicBezTo>
                    <a:pt x="138" y="258"/>
                    <a:pt x="138" y="258"/>
                    <a:pt x="138" y="258"/>
                  </a:cubicBezTo>
                  <a:cubicBezTo>
                    <a:pt x="119" y="255"/>
                    <a:pt x="119" y="255"/>
                    <a:pt x="119" y="255"/>
                  </a:cubicBezTo>
                  <a:cubicBezTo>
                    <a:pt x="98" y="274"/>
                    <a:pt x="98" y="274"/>
                    <a:pt x="98" y="274"/>
                  </a:cubicBezTo>
                  <a:cubicBezTo>
                    <a:pt x="91" y="263"/>
                    <a:pt x="91" y="263"/>
                    <a:pt x="91" y="263"/>
                  </a:cubicBezTo>
                  <a:cubicBezTo>
                    <a:pt x="91" y="263"/>
                    <a:pt x="78" y="271"/>
                    <a:pt x="76" y="273"/>
                  </a:cubicBezTo>
                  <a:cubicBezTo>
                    <a:pt x="74" y="274"/>
                    <a:pt x="68" y="274"/>
                    <a:pt x="44" y="277"/>
                  </a:cubicBezTo>
                  <a:cubicBezTo>
                    <a:pt x="19" y="281"/>
                    <a:pt x="30" y="306"/>
                    <a:pt x="30" y="306"/>
                  </a:cubicBezTo>
                  <a:cubicBezTo>
                    <a:pt x="30" y="306"/>
                    <a:pt x="20" y="306"/>
                    <a:pt x="17" y="306"/>
                  </a:cubicBezTo>
                  <a:cubicBezTo>
                    <a:pt x="14" y="306"/>
                    <a:pt x="9" y="330"/>
                    <a:pt x="9" y="331"/>
                  </a:cubicBezTo>
                  <a:cubicBezTo>
                    <a:pt x="9" y="332"/>
                    <a:pt x="1" y="336"/>
                    <a:pt x="1" y="336"/>
                  </a:cubicBezTo>
                  <a:cubicBezTo>
                    <a:pt x="0" y="360"/>
                    <a:pt x="0" y="360"/>
                    <a:pt x="0" y="360"/>
                  </a:cubicBezTo>
                  <a:cubicBezTo>
                    <a:pt x="6" y="356"/>
                    <a:pt x="15" y="349"/>
                    <a:pt x="15" y="349"/>
                  </a:cubicBezTo>
                  <a:cubicBezTo>
                    <a:pt x="24" y="351"/>
                    <a:pt x="24" y="351"/>
                    <a:pt x="24" y="351"/>
                  </a:cubicBezTo>
                  <a:cubicBezTo>
                    <a:pt x="24" y="351"/>
                    <a:pt x="33" y="341"/>
                    <a:pt x="34" y="341"/>
                  </a:cubicBezTo>
                  <a:cubicBezTo>
                    <a:pt x="35" y="342"/>
                    <a:pt x="40" y="349"/>
                    <a:pt x="40" y="349"/>
                  </a:cubicBezTo>
                  <a:cubicBezTo>
                    <a:pt x="49" y="346"/>
                    <a:pt x="49" y="346"/>
                    <a:pt x="49" y="346"/>
                  </a:cubicBezTo>
                  <a:cubicBezTo>
                    <a:pt x="49" y="346"/>
                    <a:pt x="50" y="353"/>
                    <a:pt x="51" y="353"/>
                  </a:cubicBezTo>
                  <a:cubicBezTo>
                    <a:pt x="52" y="353"/>
                    <a:pt x="72" y="353"/>
                    <a:pt x="72" y="353"/>
                  </a:cubicBezTo>
                  <a:cubicBezTo>
                    <a:pt x="79" y="349"/>
                    <a:pt x="79" y="349"/>
                    <a:pt x="79" y="349"/>
                  </a:cubicBezTo>
                  <a:cubicBezTo>
                    <a:pt x="93" y="350"/>
                    <a:pt x="93" y="350"/>
                    <a:pt x="93" y="350"/>
                  </a:cubicBezTo>
                  <a:cubicBezTo>
                    <a:pt x="93" y="350"/>
                    <a:pt x="96" y="355"/>
                    <a:pt x="97" y="355"/>
                  </a:cubicBezTo>
                  <a:cubicBezTo>
                    <a:pt x="98" y="355"/>
                    <a:pt x="102" y="364"/>
                    <a:pt x="102" y="364"/>
                  </a:cubicBezTo>
                  <a:cubicBezTo>
                    <a:pt x="102" y="364"/>
                    <a:pt x="105" y="374"/>
                    <a:pt x="112" y="374"/>
                  </a:cubicBezTo>
                  <a:cubicBezTo>
                    <a:pt x="118" y="374"/>
                    <a:pt x="120" y="364"/>
                    <a:pt x="120" y="364"/>
                  </a:cubicBezTo>
                  <a:cubicBezTo>
                    <a:pt x="120" y="364"/>
                    <a:pt x="125" y="365"/>
                    <a:pt x="125" y="370"/>
                  </a:cubicBezTo>
                  <a:cubicBezTo>
                    <a:pt x="125" y="375"/>
                    <a:pt x="123" y="383"/>
                    <a:pt x="127" y="383"/>
                  </a:cubicBezTo>
                  <a:cubicBezTo>
                    <a:pt x="132" y="383"/>
                    <a:pt x="132" y="367"/>
                    <a:pt x="132" y="367"/>
                  </a:cubicBezTo>
                  <a:cubicBezTo>
                    <a:pt x="137" y="361"/>
                    <a:pt x="137" y="361"/>
                    <a:pt x="137" y="361"/>
                  </a:cubicBezTo>
                  <a:cubicBezTo>
                    <a:pt x="137" y="361"/>
                    <a:pt x="143" y="369"/>
                    <a:pt x="146" y="366"/>
                  </a:cubicBezTo>
                  <a:cubicBezTo>
                    <a:pt x="149" y="362"/>
                    <a:pt x="169" y="363"/>
                    <a:pt x="169" y="363"/>
                  </a:cubicBezTo>
                  <a:cubicBezTo>
                    <a:pt x="169" y="358"/>
                    <a:pt x="169" y="358"/>
                    <a:pt x="169" y="358"/>
                  </a:cubicBezTo>
                  <a:cubicBezTo>
                    <a:pt x="169" y="358"/>
                    <a:pt x="176" y="364"/>
                    <a:pt x="180" y="363"/>
                  </a:cubicBezTo>
                  <a:cubicBezTo>
                    <a:pt x="183" y="363"/>
                    <a:pt x="183" y="359"/>
                    <a:pt x="183" y="359"/>
                  </a:cubicBezTo>
                  <a:cubicBezTo>
                    <a:pt x="190" y="361"/>
                    <a:pt x="190" y="361"/>
                    <a:pt x="190" y="361"/>
                  </a:cubicBezTo>
                  <a:cubicBezTo>
                    <a:pt x="190" y="361"/>
                    <a:pt x="191" y="353"/>
                    <a:pt x="197" y="353"/>
                  </a:cubicBezTo>
                  <a:cubicBezTo>
                    <a:pt x="204" y="354"/>
                    <a:pt x="206" y="359"/>
                    <a:pt x="206" y="359"/>
                  </a:cubicBezTo>
                  <a:cubicBezTo>
                    <a:pt x="212" y="355"/>
                    <a:pt x="212" y="355"/>
                    <a:pt x="212" y="355"/>
                  </a:cubicBezTo>
                  <a:cubicBezTo>
                    <a:pt x="212" y="355"/>
                    <a:pt x="215" y="359"/>
                    <a:pt x="219" y="361"/>
                  </a:cubicBezTo>
                  <a:cubicBezTo>
                    <a:pt x="222" y="362"/>
                    <a:pt x="229" y="368"/>
                    <a:pt x="229" y="368"/>
                  </a:cubicBezTo>
                  <a:cubicBezTo>
                    <a:pt x="223" y="380"/>
                    <a:pt x="223" y="380"/>
                    <a:pt x="223" y="380"/>
                  </a:cubicBezTo>
                  <a:cubicBezTo>
                    <a:pt x="223" y="380"/>
                    <a:pt x="238" y="394"/>
                    <a:pt x="237" y="396"/>
                  </a:cubicBezTo>
                  <a:cubicBezTo>
                    <a:pt x="236" y="397"/>
                    <a:pt x="227" y="399"/>
                    <a:pt x="228" y="407"/>
                  </a:cubicBezTo>
                  <a:cubicBezTo>
                    <a:pt x="229" y="414"/>
                    <a:pt x="233" y="413"/>
                    <a:pt x="234" y="420"/>
                  </a:cubicBezTo>
                  <a:cubicBezTo>
                    <a:pt x="234" y="427"/>
                    <a:pt x="239" y="427"/>
                    <a:pt x="241" y="431"/>
                  </a:cubicBezTo>
                  <a:cubicBezTo>
                    <a:pt x="243" y="435"/>
                    <a:pt x="243" y="443"/>
                    <a:pt x="243" y="443"/>
                  </a:cubicBezTo>
                  <a:cubicBezTo>
                    <a:pt x="243" y="443"/>
                    <a:pt x="247" y="435"/>
                    <a:pt x="260" y="438"/>
                  </a:cubicBezTo>
                  <a:cubicBezTo>
                    <a:pt x="273" y="440"/>
                    <a:pt x="273" y="452"/>
                    <a:pt x="271" y="454"/>
                  </a:cubicBezTo>
                  <a:cubicBezTo>
                    <a:pt x="269" y="456"/>
                    <a:pt x="262" y="468"/>
                    <a:pt x="262" y="468"/>
                  </a:cubicBezTo>
                  <a:cubicBezTo>
                    <a:pt x="267" y="473"/>
                    <a:pt x="267" y="473"/>
                    <a:pt x="267" y="473"/>
                  </a:cubicBezTo>
                  <a:cubicBezTo>
                    <a:pt x="259" y="477"/>
                    <a:pt x="259" y="477"/>
                    <a:pt x="259" y="477"/>
                  </a:cubicBezTo>
                  <a:cubicBezTo>
                    <a:pt x="268" y="482"/>
                    <a:pt x="268" y="482"/>
                    <a:pt x="268" y="482"/>
                  </a:cubicBezTo>
                  <a:cubicBezTo>
                    <a:pt x="268" y="482"/>
                    <a:pt x="264" y="493"/>
                    <a:pt x="260" y="493"/>
                  </a:cubicBezTo>
                  <a:cubicBezTo>
                    <a:pt x="256" y="493"/>
                    <a:pt x="258" y="500"/>
                    <a:pt x="264" y="502"/>
                  </a:cubicBezTo>
                  <a:cubicBezTo>
                    <a:pt x="269" y="503"/>
                    <a:pt x="276" y="507"/>
                    <a:pt x="276" y="507"/>
                  </a:cubicBezTo>
                  <a:cubicBezTo>
                    <a:pt x="276" y="519"/>
                    <a:pt x="276" y="519"/>
                    <a:pt x="276" y="519"/>
                  </a:cubicBezTo>
                  <a:cubicBezTo>
                    <a:pt x="286" y="530"/>
                    <a:pt x="286" y="530"/>
                    <a:pt x="286" y="530"/>
                  </a:cubicBezTo>
                  <a:cubicBezTo>
                    <a:pt x="300" y="531"/>
                    <a:pt x="300" y="531"/>
                    <a:pt x="300" y="531"/>
                  </a:cubicBezTo>
                  <a:cubicBezTo>
                    <a:pt x="305" y="525"/>
                    <a:pt x="305" y="525"/>
                    <a:pt x="305" y="525"/>
                  </a:cubicBezTo>
                  <a:cubicBezTo>
                    <a:pt x="316" y="525"/>
                    <a:pt x="316" y="525"/>
                    <a:pt x="316" y="525"/>
                  </a:cubicBezTo>
                  <a:cubicBezTo>
                    <a:pt x="322" y="511"/>
                    <a:pt x="322" y="511"/>
                    <a:pt x="322" y="511"/>
                  </a:cubicBezTo>
                  <a:cubicBezTo>
                    <a:pt x="329" y="514"/>
                    <a:pt x="329" y="514"/>
                    <a:pt x="329" y="514"/>
                  </a:cubicBezTo>
                  <a:cubicBezTo>
                    <a:pt x="331" y="510"/>
                    <a:pt x="331" y="510"/>
                    <a:pt x="331" y="510"/>
                  </a:cubicBezTo>
                  <a:cubicBezTo>
                    <a:pt x="331" y="510"/>
                    <a:pt x="340" y="516"/>
                    <a:pt x="347" y="514"/>
                  </a:cubicBezTo>
                  <a:cubicBezTo>
                    <a:pt x="353" y="511"/>
                    <a:pt x="360" y="503"/>
                    <a:pt x="360" y="503"/>
                  </a:cubicBezTo>
                  <a:cubicBezTo>
                    <a:pt x="375" y="502"/>
                    <a:pt x="375" y="502"/>
                    <a:pt x="375" y="502"/>
                  </a:cubicBezTo>
                  <a:cubicBezTo>
                    <a:pt x="394" y="487"/>
                    <a:pt x="394" y="487"/>
                    <a:pt x="394" y="487"/>
                  </a:cubicBezTo>
                  <a:cubicBezTo>
                    <a:pt x="394" y="487"/>
                    <a:pt x="410" y="492"/>
                    <a:pt x="411" y="492"/>
                  </a:cubicBezTo>
                  <a:cubicBezTo>
                    <a:pt x="412" y="491"/>
                    <a:pt x="436" y="478"/>
                    <a:pt x="438" y="478"/>
                  </a:cubicBezTo>
                  <a:cubicBezTo>
                    <a:pt x="439" y="478"/>
                    <a:pt x="481" y="482"/>
                    <a:pt x="481" y="482"/>
                  </a:cubicBezTo>
                  <a:cubicBezTo>
                    <a:pt x="481" y="482"/>
                    <a:pt x="510" y="462"/>
                    <a:pt x="518" y="461"/>
                  </a:cubicBezTo>
                  <a:cubicBezTo>
                    <a:pt x="526" y="460"/>
                    <a:pt x="526" y="457"/>
                    <a:pt x="526" y="457"/>
                  </a:cubicBezTo>
                  <a:cubicBezTo>
                    <a:pt x="524" y="451"/>
                    <a:pt x="524" y="451"/>
                    <a:pt x="524" y="451"/>
                  </a:cubicBezTo>
                  <a:cubicBezTo>
                    <a:pt x="532" y="445"/>
                    <a:pt x="532" y="445"/>
                    <a:pt x="532" y="445"/>
                  </a:cubicBezTo>
                  <a:cubicBezTo>
                    <a:pt x="532" y="445"/>
                    <a:pt x="532" y="432"/>
                    <a:pt x="532" y="431"/>
                  </a:cubicBezTo>
                  <a:cubicBezTo>
                    <a:pt x="532" y="429"/>
                    <a:pt x="539" y="421"/>
                    <a:pt x="539" y="421"/>
                  </a:cubicBezTo>
                  <a:cubicBezTo>
                    <a:pt x="538" y="411"/>
                    <a:pt x="538" y="411"/>
                    <a:pt x="538" y="411"/>
                  </a:cubicBezTo>
                  <a:cubicBezTo>
                    <a:pt x="548" y="411"/>
                    <a:pt x="548" y="411"/>
                    <a:pt x="548" y="411"/>
                  </a:cubicBezTo>
                  <a:cubicBezTo>
                    <a:pt x="556" y="401"/>
                    <a:pt x="556" y="401"/>
                    <a:pt x="556" y="401"/>
                  </a:cubicBezTo>
                  <a:cubicBezTo>
                    <a:pt x="556" y="397"/>
                    <a:pt x="555" y="393"/>
                    <a:pt x="555" y="393"/>
                  </a:cubicBezTo>
                  <a:lnTo>
                    <a:pt x="560" y="38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8" name="Freeform 335">
              <a:extLst>
                <a:ext uri="{FF2B5EF4-FFF2-40B4-BE49-F238E27FC236}">
                  <a16:creationId xmlns:a16="http://schemas.microsoft.com/office/drawing/2014/main" id="{D2871FE5-C5F9-462B-8A42-A9CA07C8F63D}"/>
                </a:ext>
              </a:extLst>
            </p:cNvPr>
            <p:cNvSpPr>
              <a:spLocks noChangeAspect="1"/>
            </p:cNvSpPr>
            <p:nvPr/>
          </p:nvSpPr>
          <p:spPr bwMode="auto">
            <a:xfrm>
              <a:off x="13984" y="3001"/>
              <a:ext cx="257" cy="401"/>
            </a:xfrm>
            <a:custGeom>
              <a:avLst/>
              <a:gdLst/>
              <a:ahLst/>
              <a:cxnLst>
                <a:cxn ang="0">
                  <a:pos x="8" y="177"/>
                </a:cxn>
                <a:cxn ang="0">
                  <a:pos x="10" y="198"/>
                </a:cxn>
                <a:cxn ang="0">
                  <a:pos x="28" y="201"/>
                </a:cxn>
                <a:cxn ang="0">
                  <a:pos x="55" y="201"/>
                </a:cxn>
                <a:cxn ang="0">
                  <a:pos x="65" y="177"/>
                </a:cxn>
                <a:cxn ang="0">
                  <a:pos x="77" y="178"/>
                </a:cxn>
                <a:cxn ang="0">
                  <a:pos x="78" y="165"/>
                </a:cxn>
                <a:cxn ang="0">
                  <a:pos x="87" y="165"/>
                </a:cxn>
                <a:cxn ang="0">
                  <a:pos x="102" y="140"/>
                </a:cxn>
                <a:cxn ang="0">
                  <a:pos x="102" y="124"/>
                </a:cxn>
                <a:cxn ang="0">
                  <a:pos x="115" y="107"/>
                </a:cxn>
                <a:cxn ang="0">
                  <a:pos x="123" y="109"/>
                </a:cxn>
                <a:cxn ang="0">
                  <a:pos x="129" y="92"/>
                </a:cxn>
                <a:cxn ang="0">
                  <a:pos x="129" y="22"/>
                </a:cxn>
                <a:cxn ang="0">
                  <a:pos x="99" y="4"/>
                </a:cxn>
                <a:cxn ang="0">
                  <a:pos x="101" y="0"/>
                </a:cxn>
                <a:cxn ang="0">
                  <a:pos x="76" y="1"/>
                </a:cxn>
                <a:cxn ang="0">
                  <a:pos x="76" y="7"/>
                </a:cxn>
                <a:cxn ang="0">
                  <a:pos x="64" y="7"/>
                </a:cxn>
                <a:cxn ang="0">
                  <a:pos x="64" y="12"/>
                </a:cxn>
                <a:cxn ang="0">
                  <a:pos x="54" y="12"/>
                </a:cxn>
                <a:cxn ang="0">
                  <a:pos x="45" y="29"/>
                </a:cxn>
                <a:cxn ang="0">
                  <a:pos x="55" y="36"/>
                </a:cxn>
                <a:cxn ang="0">
                  <a:pos x="52" y="44"/>
                </a:cxn>
                <a:cxn ang="0">
                  <a:pos x="59" y="54"/>
                </a:cxn>
                <a:cxn ang="0">
                  <a:pos x="38" y="56"/>
                </a:cxn>
                <a:cxn ang="0">
                  <a:pos x="58" y="75"/>
                </a:cxn>
                <a:cxn ang="0">
                  <a:pos x="59" y="93"/>
                </a:cxn>
                <a:cxn ang="0">
                  <a:pos x="44" y="105"/>
                </a:cxn>
                <a:cxn ang="0">
                  <a:pos x="40" y="120"/>
                </a:cxn>
                <a:cxn ang="0">
                  <a:pos x="34" y="124"/>
                </a:cxn>
                <a:cxn ang="0">
                  <a:pos x="33" y="137"/>
                </a:cxn>
                <a:cxn ang="0">
                  <a:pos x="8" y="138"/>
                </a:cxn>
                <a:cxn ang="0">
                  <a:pos x="0" y="148"/>
                </a:cxn>
                <a:cxn ang="0">
                  <a:pos x="7" y="156"/>
                </a:cxn>
                <a:cxn ang="0">
                  <a:pos x="2" y="164"/>
                </a:cxn>
                <a:cxn ang="0">
                  <a:pos x="3" y="172"/>
                </a:cxn>
                <a:cxn ang="0">
                  <a:pos x="3" y="172"/>
                </a:cxn>
                <a:cxn ang="0">
                  <a:pos x="8" y="177"/>
                </a:cxn>
              </a:cxnLst>
              <a:rect l="0" t="0" r="r" b="b"/>
              <a:pathLst>
                <a:path w="129" h="201">
                  <a:moveTo>
                    <a:pt x="8" y="177"/>
                  </a:moveTo>
                  <a:cubicBezTo>
                    <a:pt x="8" y="181"/>
                    <a:pt x="10" y="198"/>
                    <a:pt x="10" y="198"/>
                  </a:cubicBezTo>
                  <a:cubicBezTo>
                    <a:pt x="28" y="201"/>
                    <a:pt x="28" y="201"/>
                    <a:pt x="28" y="201"/>
                  </a:cubicBezTo>
                  <a:cubicBezTo>
                    <a:pt x="55" y="201"/>
                    <a:pt x="55" y="201"/>
                    <a:pt x="55" y="201"/>
                  </a:cubicBezTo>
                  <a:cubicBezTo>
                    <a:pt x="65" y="177"/>
                    <a:pt x="65" y="177"/>
                    <a:pt x="65" y="177"/>
                  </a:cubicBezTo>
                  <a:cubicBezTo>
                    <a:pt x="77" y="178"/>
                    <a:pt x="77" y="178"/>
                    <a:pt x="77" y="178"/>
                  </a:cubicBezTo>
                  <a:cubicBezTo>
                    <a:pt x="78" y="165"/>
                    <a:pt x="78" y="165"/>
                    <a:pt x="78" y="165"/>
                  </a:cubicBezTo>
                  <a:cubicBezTo>
                    <a:pt x="87" y="165"/>
                    <a:pt x="87" y="165"/>
                    <a:pt x="87" y="165"/>
                  </a:cubicBezTo>
                  <a:cubicBezTo>
                    <a:pt x="102" y="140"/>
                    <a:pt x="102" y="140"/>
                    <a:pt x="102" y="140"/>
                  </a:cubicBezTo>
                  <a:cubicBezTo>
                    <a:pt x="102" y="140"/>
                    <a:pt x="102" y="126"/>
                    <a:pt x="102" y="124"/>
                  </a:cubicBezTo>
                  <a:cubicBezTo>
                    <a:pt x="102" y="121"/>
                    <a:pt x="107" y="114"/>
                    <a:pt x="115" y="107"/>
                  </a:cubicBezTo>
                  <a:cubicBezTo>
                    <a:pt x="123" y="101"/>
                    <a:pt x="123" y="109"/>
                    <a:pt x="123" y="109"/>
                  </a:cubicBezTo>
                  <a:cubicBezTo>
                    <a:pt x="129" y="92"/>
                    <a:pt x="129" y="92"/>
                    <a:pt x="129" y="92"/>
                  </a:cubicBezTo>
                  <a:cubicBezTo>
                    <a:pt x="129" y="22"/>
                    <a:pt x="129" y="22"/>
                    <a:pt x="129" y="22"/>
                  </a:cubicBezTo>
                  <a:cubicBezTo>
                    <a:pt x="99" y="4"/>
                    <a:pt x="99" y="4"/>
                    <a:pt x="99" y="4"/>
                  </a:cubicBezTo>
                  <a:cubicBezTo>
                    <a:pt x="101" y="0"/>
                    <a:pt x="101" y="0"/>
                    <a:pt x="101" y="0"/>
                  </a:cubicBezTo>
                  <a:cubicBezTo>
                    <a:pt x="76" y="1"/>
                    <a:pt x="76" y="1"/>
                    <a:pt x="76" y="1"/>
                  </a:cubicBezTo>
                  <a:cubicBezTo>
                    <a:pt x="76" y="7"/>
                    <a:pt x="76" y="7"/>
                    <a:pt x="76" y="7"/>
                  </a:cubicBezTo>
                  <a:cubicBezTo>
                    <a:pt x="76" y="7"/>
                    <a:pt x="66" y="7"/>
                    <a:pt x="64" y="7"/>
                  </a:cubicBezTo>
                  <a:cubicBezTo>
                    <a:pt x="63" y="7"/>
                    <a:pt x="64" y="12"/>
                    <a:pt x="64" y="12"/>
                  </a:cubicBezTo>
                  <a:cubicBezTo>
                    <a:pt x="64" y="12"/>
                    <a:pt x="62" y="12"/>
                    <a:pt x="54" y="12"/>
                  </a:cubicBezTo>
                  <a:cubicBezTo>
                    <a:pt x="46" y="12"/>
                    <a:pt x="45" y="29"/>
                    <a:pt x="45" y="29"/>
                  </a:cubicBezTo>
                  <a:cubicBezTo>
                    <a:pt x="55" y="36"/>
                    <a:pt x="55" y="36"/>
                    <a:pt x="55" y="36"/>
                  </a:cubicBezTo>
                  <a:cubicBezTo>
                    <a:pt x="55" y="36"/>
                    <a:pt x="52" y="43"/>
                    <a:pt x="52" y="44"/>
                  </a:cubicBezTo>
                  <a:cubicBezTo>
                    <a:pt x="52" y="46"/>
                    <a:pt x="59" y="54"/>
                    <a:pt x="59" y="54"/>
                  </a:cubicBezTo>
                  <a:cubicBezTo>
                    <a:pt x="38" y="56"/>
                    <a:pt x="38" y="56"/>
                    <a:pt x="38" y="56"/>
                  </a:cubicBezTo>
                  <a:cubicBezTo>
                    <a:pt x="38" y="56"/>
                    <a:pt x="49" y="70"/>
                    <a:pt x="58" y="75"/>
                  </a:cubicBezTo>
                  <a:cubicBezTo>
                    <a:pt x="67" y="80"/>
                    <a:pt x="59" y="87"/>
                    <a:pt x="59" y="93"/>
                  </a:cubicBezTo>
                  <a:cubicBezTo>
                    <a:pt x="59" y="99"/>
                    <a:pt x="44" y="105"/>
                    <a:pt x="44" y="105"/>
                  </a:cubicBezTo>
                  <a:cubicBezTo>
                    <a:pt x="40" y="120"/>
                    <a:pt x="40" y="120"/>
                    <a:pt x="40" y="120"/>
                  </a:cubicBezTo>
                  <a:cubicBezTo>
                    <a:pt x="34" y="124"/>
                    <a:pt x="34" y="124"/>
                    <a:pt x="34" y="124"/>
                  </a:cubicBezTo>
                  <a:cubicBezTo>
                    <a:pt x="33" y="137"/>
                    <a:pt x="33" y="137"/>
                    <a:pt x="33" y="137"/>
                  </a:cubicBezTo>
                  <a:cubicBezTo>
                    <a:pt x="8" y="138"/>
                    <a:pt x="8" y="138"/>
                    <a:pt x="8" y="138"/>
                  </a:cubicBezTo>
                  <a:cubicBezTo>
                    <a:pt x="0" y="148"/>
                    <a:pt x="0" y="148"/>
                    <a:pt x="0" y="148"/>
                  </a:cubicBezTo>
                  <a:cubicBezTo>
                    <a:pt x="7" y="156"/>
                    <a:pt x="7" y="156"/>
                    <a:pt x="7" y="156"/>
                  </a:cubicBezTo>
                  <a:cubicBezTo>
                    <a:pt x="2" y="164"/>
                    <a:pt x="2" y="164"/>
                    <a:pt x="2" y="164"/>
                  </a:cubicBezTo>
                  <a:cubicBezTo>
                    <a:pt x="2" y="164"/>
                    <a:pt x="3" y="168"/>
                    <a:pt x="3" y="172"/>
                  </a:cubicBezTo>
                  <a:cubicBezTo>
                    <a:pt x="3" y="172"/>
                    <a:pt x="3" y="172"/>
                    <a:pt x="3" y="172"/>
                  </a:cubicBezTo>
                  <a:cubicBezTo>
                    <a:pt x="3" y="172"/>
                    <a:pt x="8" y="172"/>
                    <a:pt x="8" y="177"/>
                  </a:cubicBez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9" name="Freeform 337">
              <a:extLst>
                <a:ext uri="{FF2B5EF4-FFF2-40B4-BE49-F238E27FC236}">
                  <a16:creationId xmlns:a16="http://schemas.microsoft.com/office/drawing/2014/main" id="{92616D18-BA69-426A-A8FB-5933186E187A}"/>
                </a:ext>
              </a:extLst>
            </p:cNvPr>
            <p:cNvSpPr>
              <a:spLocks noChangeAspect="1"/>
            </p:cNvSpPr>
            <p:nvPr/>
          </p:nvSpPr>
          <p:spPr bwMode="auto">
            <a:xfrm>
              <a:off x="13479" y="1161"/>
              <a:ext cx="687" cy="1000"/>
            </a:xfrm>
            <a:custGeom>
              <a:avLst/>
              <a:gdLst/>
              <a:ahLst/>
              <a:cxnLst>
                <a:cxn ang="0">
                  <a:pos x="46" y="488"/>
                </a:cxn>
                <a:cxn ang="0">
                  <a:pos x="88" y="478"/>
                </a:cxn>
                <a:cxn ang="0">
                  <a:pos x="102" y="474"/>
                </a:cxn>
                <a:cxn ang="0">
                  <a:pos x="124" y="465"/>
                </a:cxn>
                <a:cxn ang="0">
                  <a:pos x="142" y="435"/>
                </a:cxn>
                <a:cxn ang="0">
                  <a:pos x="154" y="395"/>
                </a:cxn>
                <a:cxn ang="0">
                  <a:pos x="183" y="404"/>
                </a:cxn>
                <a:cxn ang="0">
                  <a:pos x="231" y="396"/>
                </a:cxn>
                <a:cxn ang="0">
                  <a:pos x="283" y="384"/>
                </a:cxn>
                <a:cxn ang="0">
                  <a:pos x="321" y="318"/>
                </a:cxn>
                <a:cxn ang="0">
                  <a:pos x="322" y="288"/>
                </a:cxn>
                <a:cxn ang="0">
                  <a:pos x="336" y="268"/>
                </a:cxn>
                <a:cxn ang="0">
                  <a:pos x="336" y="254"/>
                </a:cxn>
                <a:cxn ang="0">
                  <a:pos x="333" y="242"/>
                </a:cxn>
                <a:cxn ang="0">
                  <a:pos x="310" y="203"/>
                </a:cxn>
                <a:cxn ang="0">
                  <a:pos x="289" y="135"/>
                </a:cxn>
                <a:cxn ang="0">
                  <a:pos x="288" y="113"/>
                </a:cxn>
                <a:cxn ang="0">
                  <a:pos x="295" y="79"/>
                </a:cxn>
                <a:cxn ang="0">
                  <a:pos x="285" y="67"/>
                </a:cxn>
                <a:cxn ang="0">
                  <a:pos x="284" y="57"/>
                </a:cxn>
                <a:cxn ang="0">
                  <a:pos x="280" y="43"/>
                </a:cxn>
                <a:cxn ang="0">
                  <a:pos x="289" y="23"/>
                </a:cxn>
                <a:cxn ang="0">
                  <a:pos x="265" y="12"/>
                </a:cxn>
                <a:cxn ang="0">
                  <a:pos x="252" y="0"/>
                </a:cxn>
                <a:cxn ang="0">
                  <a:pos x="250" y="30"/>
                </a:cxn>
                <a:cxn ang="0">
                  <a:pos x="235" y="45"/>
                </a:cxn>
                <a:cxn ang="0">
                  <a:pos x="202" y="74"/>
                </a:cxn>
                <a:cxn ang="0">
                  <a:pos x="194" y="107"/>
                </a:cxn>
                <a:cxn ang="0">
                  <a:pos x="191" y="142"/>
                </a:cxn>
                <a:cxn ang="0">
                  <a:pos x="186" y="164"/>
                </a:cxn>
                <a:cxn ang="0">
                  <a:pos x="177" y="179"/>
                </a:cxn>
                <a:cxn ang="0">
                  <a:pos x="176" y="196"/>
                </a:cxn>
                <a:cxn ang="0">
                  <a:pos x="194" y="217"/>
                </a:cxn>
                <a:cxn ang="0">
                  <a:pos x="166" y="246"/>
                </a:cxn>
                <a:cxn ang="0">
                  <a:pos x="146" y="243"/>
                </a:cxn>
                <a:cxn ang="0">
                  <a:pos x="110" y="262"/>
                </a:cxn>
                <a:cxn ang="0">
                  <a:pos x="81" y="284"/>
                </a:cxn>
                <a:cxn ang="0">
                  <a:pos x="65" y="291"/>
                </a:cxn>
                <a:cxn ang="0">
                  <a:pos x="35" y="304"/>
                </a:cxn>
                <a:cxn ang="0">
                  <a:pos x="16" y="343"/>
                </a:cxn>
                <a:cxn ang="0">
                  <a:pos x="3" y="373"/>
                </a:cxn>
                <a:cxn ang="0">
                  <a:pos x="9" y="403"/>
                </a:cxn>
                <a:cxn ang="0">
                  <a:pos x="11" y="411"/>
                </a:cxn>
                <a:cxn ang="0">
                  <a:pos x="0" y="454"/>
                </a:cxn>
                <a:cxn ang="0">
                  <a:pos x="8" y="459"/>
                </a:cxn>
                <a:cxn ang="0">
                  <a:pos x="23" y="453"/>
                </a:cxn>
                <a:cxn ang="0">
                  <a:pos x="37" y="464"/>
                </a:cxn>
              </a:cxnLst>
              <a:rect l="0" t="0" r="r" b="b"/>
              <a:pathLst>
                <a:path w="343" h="499">
                  <a:moveTo>
                    <a:pt x="37" y="464"/>
                  </a:moveTo>
                  <a:cubicBezTo>
                    <a:pt x="37" y="471"/>
                    <a:pt x="36" y="487"/>
                    <a:pt x="46" y="488"/>
                  </a:cubicBezTo>
                  <a:cubicBezTo>
                    <a:pt x="56" y="489"/>
                    <a:pt x="56" y="499"/>
                    <a:pt x="69" y="496"/>
                  </a:cubicBezTo>
                  <a:cubicBezTo>
                    <a:pt x="82" y="493"/>
                    <a:pt x="88" y="478"/>
                    <a:pt x="88" y="478"/>
                  </a:cubicBezTo>
                  <a:cubicBezTo>
                    <a:pt x="100" y="481"/>
                    <a:pt x="100" y="481"/>
                    <a:pt x="100" y="481"/>
                  </a:cubicBezTo>
                  <a:cubicBezTo>
                    <a:pt x="102" y="474"/>
                    <a:pt x="102" y="474"/>
                    <a:pt x="102" y="474"/>
                  </a:cubicBezTo>
                  <a:cubicBezTo>
                    <a:pt x="102" y="474"/>
                    <a:pt x="114" y="481"/>
                    <a:pt x="115" y="479"/>
                  </a:cubicBezTo>
                  <a:cubicBezTo>
                    <a:pt x="115" y="478"/>
                    <a:pt x="124" y="465"/>
                    <a:pt x="124" y="465"/>
                  </a:cubicBezTo>
                  <a:cubicBezTo>
                    <a:pt x="124" y="465"/>
                    <a:pt x="135" y="465"/>
                    <a:pt x="135" y="463"/>
                  </a:cubicBezTo>
                  <a:cubicBezTo>
                    <a:pt x="135" y="461"/>
                    <a:pt x="144" y="443"/>
                    <a:pt x="142" y="435"/>
                  </a:cubicBezTo>
                  <a:cubicBezTo>
                    <a:pt x="140" y="427"/>
                    <a:pt x="129" y="422"/>
                    <a:pt x="133" y="416"/>
                  </a:cubicBezTo>
                  <a:cubicBezTo>
                    <a:pt x="137" y="410"/>
                    <a:pt x="154" y="395"/>
                    <a:pt x="154" y="395"/>
                  </a:cubicBezTo>
                  <a:cubicBezTo>
                    <a:pt x="173" y="407"/>
                    <a:pt x="173" y="407"/>
                    <a:pt x="173" y="407"/>
                  </a:cubicBezTo>
                  <a:cubicBezTo>
                    <a:pt x="183" y="404"/>
                    <a:pt x="183" y="404"/>
                    <a:pt x="183" y="404"/>
                  </a:cubicBezTo>
                  <a:cubicBezTo>
                    <a:pt x="183" y="404"/>
                    <a:pt x="185" y="415"/>
                    <a:pt x="194" y="414"/>
                  </a:cubicBezTo>
                  <a:cubicBezTo>
                    <a:pt x="203" y="413"/>
                    <a:pt x="231" y="396"/>
                    <a:pt x="231" y="396"/>
                  </a:cubicBezTo>
                  <a:cubicBezTo>
                    <a:pt x="256" y="394"/>
                    <a:pt x="256" y="394"/>
                    <a:pt x="256" y="394"/>
                  </a:cubicBezTo>
                  <a:cubicBezTo>
                    <a:pt x="256" y="394"/>
                    <a:pt x="276" y="389"/>
                    <a:pt x="283" y="384"/>
                  </a:cubicBezTo>
                  <a:cubicBezTo>
                    <a:pt x="291" y="379"/>
                    <a:pt x="313" y="365"/>
                    <a:pt x="313" y="365"/>
                  </a:cubicBezTo>
                  <a:cubicBezTo>
                    <a:pt x="313" y="365"/>
                    <a:pt x="321" y="328"/>
                    <a:pt x="321" y="318"/>
                  </a:cubicBezTo>
                  <a:cubicBezTo>
                    <a:pt x="321" y="308"/>
                    <a:pt x="327" y="302"/>
                    <a:pt x="326" y="298"/>
                  </a:cubicBezTo>
                  <a:cubicBezTo>
                    <a:pt x="324" y="294"/>
                    <a:pt x="322" y="289"/>
                    <a:pt x="322" y="288"/>
                  </a:cubicBezTo>
                  <a:cubicBezTo>
                    <a:pt x="322" y="288"/>
                    <a:pt x="335" y="281"/>
                    <a:pt x="335" y="281"/>
                  </a:cubicBezTo>
                  <a:cubicBezTo>
                    <a:pt x="335" y="281"/>
                    <a:pt x="329" y="272"/>
                    <a:pt x="336" y="268"/>
                  </a:cubicBezTo>
                  <a:cubicBezTo>
                    <a:pt x="342" y="264"/>
                    <a:pt x="339" y="258"/>
                    <a:pt x="339" y="258"/>
                  </a:cubicBezTo>
                  <a:cubicBezTo>
                    <a:pt x="336" y="254"/>
                    <a:pt x="336" y="254"/>
                    <a:pt x="336" y="254"/>
                  </a:cubicBezTo>
                  <a:cubicBezTo>
                    <a:pt x="336" y="254"/>
                    <a:pt x="343" y="251"/>
                    <a:pt x="340" y="249"/>
                  </a:cubicBezTo>
                  <a:cubicBezTo>
                    <a:pt x="337" y="246"/>
                    <a:pt x="333" y="242"/>
                    <a:pt x="333" y="242"/>
                  </a:cubicBezTo>
                  <a:cubicBezTo>
                    <a:pt x="322" y="243"/>
                    <a:pt x="322" y="243"/>
                    <a:pt x="322" y="243"/>
                  </a:cubicBezTo>
                  <a:cubicBezTo>
                    <a:pt x="310" y="203"/>
                    <a:pt x="310" y="203"/>
                    <a:pt x="310" y="203"/>
                  </a:cubicBezTo>
                  <a:cubicBezTo>
                    <a:pt x="309" y="151"/>
                    <a:pt x="309" y="151"/>
                    <a:pt x="309" y="151"/>
                  </a:cubicBezTo>
                  <a:cubicBezTo>
                    <a:pt x="289" y="135"/>
                    <a:pt x="289" y="135"/>
                    <a:pt x="289" y="135"/>
                  </a:cubicBezTo>
                  <a:cubicBezTo>
                    <a:pt x="293" y="123"/>
                    <a:pt x="293" y="123"/>
                    <a:pt x="293" y="123"/>
                  </a:cubicBezTo>
                  <a:cubicBezTo>
                    <a:pt x="293" y="123"/>
                    <a:pt x="288" y="114"/>
                    <a:pt x="288" y="113"/>
                  </a:cubicBezTo>
                  <a:cubicBezTo>
                    <a:pt x="288" y="112"/>
                    <a:pt x="297" y="98"/>
                    <a:pt x="297" y="98"/>
                  </a:cubicBezTo>
                  <a:cubicBezTo>
                    <a:pt x="295" y="79"/>
                    <a:pt x="295" y="79"/>
                    <a:pt x="295" y="79"/>
                  </a:cubicBezTo>
                  <a:cubicBezTo>
                    <a:pt x="288" y="78"/>
                    <a:pt x="288" y="78"/>
                    <a:pt x="288" y="78"/>
                  </a:cubicBezTo>
                  <a:cubicBezTo>
                    <a:pt x="285" y="67"/>
                    <a:pt x="285" y="67"/>
                    <a:pt x="285" y="67"/>
                  </a:cubicBezTo>
                  <a:cubicBezTo>
                    <a:pt x="290" y="61"/>
                    <a:pt x="290" y="61"/>
                    <a:pt x="290" y="61"/>
                  </a:cubicBezTo>
                  <a:cubicBezTo>
                    <a:pt x="284" y="57"/>
                    <a:pt x="284" y="57"/>
                    <a:pt x="284" y="57"/>
                  </a:cubicBezTo>
                  <a:cubicBezTo>
                    <a:pt x="284" y="44"/>
                    <a:pt x="284" y="44"/>
                    <a:pt x="284" y="44"/>
                  </a:cubicBezTo>
                  <a:cubicBezTo>
                    <a:pt x="280" y="43"/>
                    <a:pt x="280" y="43"/>
                    <a:pt x="280" y="43"/>
                  </a:cubicBezTo>
                  <a:cubicBezTo>
                    <a:pt x="281" y="29"/>
                    <a:pt x="281" y="29"/>
                    <a:pt x="281" y="29"/>
                  </a:cubicBezTo>
                  <a:cubicBezTo>
                    <a:pt x="289" y="23"/>
                    <a:pt x="289" y="23"/>
                    <a:pt x="289" y="23"/>
                  </a:cubicBezTo>
                  <a:cubicBezTo>
                    <a:pt x="287" y="12"/>
                    <a:pt x="287" y="12"/>
                    <a:pt x="287" y="12"/>
                  </a:cubicBezTo>
                  <a:cubicBezTo>
                    <a:pt x="275" y="12"/>
                    <a:pt x="265" y="12"/>
                    <a:pt x="265" y="12"/>
                  </a:cubicBezTo>
                  <a:cubicBezTo>
                    <a:pt x="255" y="2"/>
                    <a:pt x="255" y="2"/>
                    <a:pt x="255" y="2"/>
                  </a:cubicBezTo>
                  <a:cubicBezTo>
                    <a:pt x="252" y="0"/>
                    <a:pt x="252" y="0"/>
                    <a:pt x="252" y="0"/>
                  </a:cubicBezTo>
                  <a:cubicBezTo>
                    <a:pt x="256" y="17"/>
                    <a:pt x="256" y="17"/>
                    <a:pt x="256" y="17"/>
                  </a:cubicBezTo>
                  <a:cubicBezTo>
                    <a:pt x="250" y="30"/>
                    <a:pt x="250" y="30"/>
                    <a:pt x="250" y="30"/>
                  </a:cubicBezTo>
                  <a:cubicBezTo>
                    <a:pt x="239" y="31"/>
                    <a:pt x="239" y="31"/>
                    <a:pt x="239" y="31"/>
                  </a:cubicBezTo>
                  <a:cubicBezTo>
                    <a:pt x="239" y="31"/>
                    <a:pt x="238" y="39"/>
                    <a:pt x="235" y="45"/>
                  </a:cubicBezTo>
                  <a:cubicBezTo>
                    <a:pt x="232" y="50"/>
                    <a:pt x="215" y="47"/>
                    <a:pt x="211" y="49"/>
                  </a:cubicBezTo>
                  <a:cubicBezTo>
                    <a:pt x="206" y="51"/>
                    <a:pt x="203" y="72"/>
                    <a:pt x="202" y="74"/>
                  </a:cubicBezTo>
                  <a:cubicBezTo>
                    <a:pt x="202" y="76"/>
                    <a:pt x="184" y="90"/>
                    <a:pt x="185" y="94"/>
                  </a:cubicBezTo>
                  <a:cubicBezTo>
                    <a:pt x="185" y="98"/>
                    <a:pt x="194" y="107"/>
                    <a:pt x="194" y="107"/>
                  </a:cubicBezTo>
                  <a:cubicBezTo>
                    <a:pt x="194" y="107"/>
                    <a:pt x="187" y="116"/>
                    <a:pt x="187" y="123"/>
                  </a:cubicBezTo>
                  <a:cubicBezTo>
                    <a:pt x="186" y="131"/>
                    <a:pt x="191" y="142"/>
                    <a:pt x="191" y="142"/>
                  </a:cubicBezTo>
                  <a:cubicBezTo>
                    <a:pt x="194" y="160"/>
                    <a:pt x="194" y="160"/>
                    <a:pt x="194" y="160"/>
                  </a:cubicBezTo>
                  <a:cubicBezTo>
                    <a:pt x="186" y="164"/>
                    <a:pt x="186" y="164"/>
                    <a:pt x="186" y="164"/>
                  </a:cubicBezTo>
                  <a:cubicBezTo>
                    <a:pt x="186" y="171"/>
                    <a:pt x="186" y="171"/>
                    <a:pt x="186" y="171"/>
                  </a:cubicBezTo>
                  <a:cubicBezTo>
                    <a:pt x="186" y="171"/>
                    <a:pt x="181" y="175"/>
                    <a:pt x="177" y="179"/>
                  </a:cubicBezTo>
                  <a:cubicBezTo>
                    <a:pt x="173" y="183"/>
                    <a:pt x="182" y="191"/>
                    <a:pt x="182" y="191"/>
                  </a:cubicBezTo>
                  <a:cubicBezTo>
                    <a:pt x="176" y="196"/>
                    <a:pt x="176" y="196"/>
                    <a:pt x="176" y="196"/>
                  </a:cubicBezTo>
                  <a:cubicBezTo>
                    <a:pt x="181" y="206"/>
                    <a:pt x="181" y="206"/>
                    <a:pt x="181" y="206"/>
                  </a:cubicBezTo>
                  <a:cubicBezTo>
                    <a:pt x="194" y="217"/>
                    <a:pt x="194" y="217"/>
                    <a:pt x="194" y="217"/>
                  </a:cubicBezTo>
                  <a:cubicBezTo>
                    <a:pt x="194" y="217"/>
                    <a:pt x="186" y="241"/>
                    <a:pt x="185" y="244"/>
                  </a:cubicBezTo>
                  <a:cubicBezTo>
                    <a:pt x="184" y="248"/>
                    <a:pt x="170" y="246"/>
                    <a:pt x="166" y="246"/>
                  </a:cubicBezTo>
                  <a:cubicBezTo>
                    <a:pt x="162" y="246"/>
                    <a:pt x="154" y="250"/>
                    <a:pt x="154" y="250"/>
                  </a:cubicBezTo>
                  <a:cubicBezTo>
                    <a:pt x="154" y="250"/>
                    <a:pt x="149" y="246"/>
                    <a:pt x="146" y="243"/>
                  </a:cubicBezTo>
                  <a:cubicBezTo>
                    <a:pt x="143" y="241"/>
                    <a:pt x="123" y="244"/>
                    <a:pt x="123" y="244"/>
                  </a:cubicBezTo>
                  <a:cubicBezTo>
                    <a:pt x="123" y="244"/>
                    <a:pt x="118" y="251"/>
                    <a:pt x="110" y="262"/>
                  </a:cubicBezTo>
                  <a:cubicBezTo>
                    <a:pt x="102" y="274"/>
                    <a:pt x="89" y="271"/>
                    <a:pt x="88" y="273"/>
                  </a:cubicBezTo>
                  <a:cubicBezTo>
                    <a:pt x="87" y="275"/>
                    <a:pt x="81" y="284"/>
                    <a:pt x="81" y="284"/>
                  </a:cubicBezTo>
                  <a:cubicBezTo>
                    <a:pt x="70" y="284"/>
                    <a:pt x="70" y="284"/>
                    <a:pt x="70" y="284"/>
                  </a:cubicBezTo>
                  <a:cubicBezTo>
                    <a:pt x="65" y="291"/>
                    <a:pt x="65" y="291"/>
                    <a:pt x="65" y="291"/>
                  </a:cubicBezTo>
                  <a:cubicBezTo>
                    <a:pt x="52" y="291"/>
                    <a:pt x="52" y="291"/>
                    <a:pt x="52" y="291"/>
                  </a:cubicBezTo>
                  <a:cubicBezTo>
                    <a:pt x="52" y="291"/>
                    <a:pt x="45" y="295"/>
                    <a:pt x="35" y="304"/>
                  </a:cubicBezTo>
                  <a:cubicBezTo>
                    <a:pt x="25" y="312"/>
                    <a:pt x="30" y="328"/>
                    <a:pt x="30" y="328"/>
                  </a:cubicBezTo>
                  <a:cubicBezTo>
                    <a:pt x="30" y="328"/>
                    <a:pt x="19" y="341"/>
                    <a:pt x="16" y="343"/>
                  </a:cubicBezTo>
                  <a:cubicBezTo>
                    <a:pt x="14" y="346"/>
                    <a:pt x="12" y="364"/>
                    <a:pt x="12" y="364"/>
                  </a:cubicBezTo>
                  <a:cubicBezTo>
                    <a:pt x="12" y="364"/>
                    <a:pt x="4" y="369"/>
                    <a:pt x="3" y="373"/>
                  </a:cubicBezTo>
                  <a:cubicBezTo>
                    <a:pt x="2" y="378"/>
                    <a:pt x="8" y="390"/>
                    <a:pt x="8" y="390"/>
                  </a:cubicBezTo>
                  <a:cubicBezTo>
                    <a:pt x="8" y="390"/>
                    <a:pt x="9" y="402"/>
                    <a:pt x="9" y="403"/>
                  </a:cubicBezTo>
                  <a:cubicBezTo>
                    <a:pt x="10" y="404"/>
                    <a:pt x="18" y="408"/>
                    <a:pt x="18" y="408"/>
                  </a:cubicBezTo>
                  <a:cubicBezTo>
                    <a:pt x="11" y="411"/>
                    <a:pt x="11" y="411"/>
                    <a:pt x="11" y="411"/>
                  </a:cubicBezTo>
                  <a:cubicBezTo>
                    <a:pt x="11" y="440"/>
                    <a:pt x="11" y="440"/>
                    <a:pt x="11" y="440"/>
                  </a:cubicBezTo>
                  <a:cubicBezTo>
                    <a:pt x="0" y="454"/>
                    <a:pt x="0" y="454"/>
                    <a:pt x="0" y="454"/>
                  </a:cubicBezTo>
                  <a:cubicBezTo>
                    <a:pt x="1" y="454"/>
                    <a:pt x="2" y="454"/>
                    <a:pt x="2" y="454"/>
                  </a:cubicBezTo>
                  <a:cubicBezTo>
                    <a:pt x="8" y="459"/>
                    <a:pt x="8" y="459"/>
                    <a:pt x="8" y="459"/>
                  </a:cubicBezTo>
                  <a:cubicBezTo>
                    <a:pt x="22" y="449"/>
                    <a:pt x="22" y="449"/>
                    <a:pt x="22" y="449"/>
                  </a:cubicBezTo>
                  <a:cubicBezTo>
                    <a:pt x="23" y="453"/>
                    <a:pt x="23" y="453"/>
                    <a:pt x="23" y="453"/>
                  </a:cubicBezTo>
                  <a:cubicBezTo>
                    <a:pt x="29" y="450"/>
                    <a:pt x="29" y="450"/>
                    <a:pt x="29" y="450"/>
                  </a:cubicBezTo>
                  <a:cubicBezTo>
                    <a:pt x="29" y="450"/>
                    <a:pt x="37" y="458"/>
                    <a:pt x="37" y="46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0" name="Freeform 338">
              <a:extLst>
                <a:ext uri="{FF2B5EF4-FFF2-40B4-BE49-F238E27FC236}">
                  <a16:creationId xmlns:a16="http://schemas.microsoft.com/office/drawing/2014/main" id="{69ACDB56-60D6-456B-9945-5217502FFDCB}"/>
                </a:ext>
              </a:extLst>
            </p:cNvPr>
            <p:cNvSpPr>
              <a:spLocks noChangeAspect="1"/>
            </p:cNvSpPr>
            <p:nvPr/>
          </p:nvSpPr>
          <p:spPr bwMode="auto">
            <a:xfrm>
              <a:off x="14040" y="1167"/>
              <a:ext cx="500" cy="617"/>
            </a:xfrm>
            <a:custGeom>
              <a:avLst/>
              <a:gdLst/>
              <a:ahLst/>
              <a:cxnLst>
                <a:cxn ang="0">
                  <a:pos x="76" y="284"/>
                </a:cxn>
                <a:cxn ang="0">
                  <a:pos x="98" y="274"/>
                </a:cxn>
                <a:cxn ang="0">
                  <a:pos x="113" y="285"/>
                </a:cxn>
                <a:cxn ang="0">
                  <a:pos x="125" y="289"/>
                </a:cxn>
                <a:cxn ang="0">
                  <a:pos x="129" y="299"/>
                </a:cxn>
                <a:cxn ang="0">
                  <a:pos x="132" y="296"/>
                </a:cxn>
                <a:cxn ang="0">
                  <a:pos x="148" y="308"/>
                </a:cxn>
                <a:cxn ang="0">
                  <a:pos x="154" y="296"/>
                </a:cxn>
                <a:cxn ang="0">
                  <a:pos x="161" y="294"/>
                </a:cxn>
                <a:cxn ang="0">
                  <a:pos x="167" y="284"/>
                </a:cxn>
                <a:cxn ang="0">
                  <a:pos x="172" y="275"/>
                </a:cxn>
                <a:cxn ang="0">
                  <a:pos x="164" y="262"/>
                </a:cxn>
                <a:cxn ang="0">
                  <a:pos x="157" y="254"/>
                </a:cxn>
                <a:cxn ang="0">
                  <a:pos x="167" y="246"/>
                </a:cxn>
                <a:cxn ang="0">
                  <a:pos x="167" y="230"/>
                </a:cxn>
                <a:cxn ang="0">
                  <a:pos x="175" y="220"/>
                </a:cxn>
                <a:cxn ang="0">
                  <a:pos x="179" y="200"/>
                </a:cxn>
                <a:cxn ang="0">
                  <a:pos x="194" y="195"/>
                </a:cxn>
                <a:cxn ang="0">
                  <a:pos x="201" y="183"/>
                </a:cxn>
                <a:cxn ang="0">
                  <a:pos x="205" y="172"/>
                </a:cxn>
                <a:cxn ang="0">
                  <a:pos x="214" y="166"/>
                </a:cxn>
                <a:cxn ang="0">
                  <a:pos x="214" y="155"/>
                </a:cxn>
                <a:cxn ang="0">
                  <a:pos x="220" y="151"/>
                </a:cxn>
                <a:cxn ang="0">
                  <a:pos x="224" y="134"/>
                </a:cxn>
                <a:cxn ang="0">
                  <a:pos x="250" y="127"/>
                </a:cxn>
                <a:cxn ang="0">
                  <a:pos x="250" y="126"/>
                </a:cxn>
                <a:cxn ang="0">
                  <a:pos x="240" y="113"/>
                </a:cxn>
                <a:cxn ang="0">
                  <a:pos x="229" y="115"/>
                </a:cxn>
                <a:cxn ang="0">
                  <a:pos x="183" y="67"/>
                </a:cxn>
                <a:cxn ang="0">
                  <a:pos x="179" y="57"/>
                </a:cxn>
                <a:cxn ang="0">
                  <a:pos x="160" y="55"/>
                </a:cxn>
                <a:cxn ang="0">
                  <a:pos x="158" y="47"/>
                </a:cxn>
                <a:cxn ang="0">
                  <a:pos x="148" y="41"/>
                </a:cxn>
                <a:cxn ang="0">
                  <a:pos x="128" y="30"/>
                </a:cxn>
                <a:cxn ang="0">
                  <a:pos x="102" y="16"/>
                </a:cxn>
                <a:cxn ang="0">
                  <a:pos x="90" y="5"/>
                </a:cxn>
                <a:cxn ang="0">
                  <a:pos x="56" y="2"/>
                </a:cxn>
                <a:cxn ang="0">
                  <a:pos x="33" y="9"/>
                </a:cxn>
                <a:cxn ang="0">
                  <a:pos x="7" y="9"/>
                </a:cxn>
                <a:cxn ang="0">
                  <a:pos x="9" y="20"/>
                </a:cxn>
                <a:cxn ang="0">
                  <a:pos x="1" y="26"/>
                </a:cxn>
                <a:cxn ang="0">
                  <a:pos x="0" y="40"/>
                </a:cxn>
                <a:cxn ang="0">
                  <a:pos x="4" y="41"/>
                </a:cxn>
                <a:cxn ang="0">
                  <a:pos x="4" y="54"/>
                </a:cxn>
                <a:cxn ang="0">
                  <a:pos x="10" y="58"/>
                </a:cxn>
                <a:cxn ang="0">
                  <a:pos x="5" y="64"/>
                </a:cxn>
                <a:cxn ang="0">
                  <a:pos x="8" y="75"/>
                </a:cxn>
                <a:cxn ang="0">
                  <a:pos x="15" y="76"/>
                </a:cxn>
                <a:cxn ang="0">
                  <a:pos x="17" y="95"/>
                </a:cxn>
                <a:cxn ang="0">
                  <a:pos x="8" y="110"/>
                </a:cxn>
                <a:cxn ang="0">
                  <a:pos x="13" y="120"/>
                </a:cxn>
                <a:cxn ang="0">
                  <a:pos x="9" y="132"/>
                </a:cxn>
                <a:cxn ang="0">
                  <a:pos x="29" y="148"/>
                </a:cxn>
                <a:cxn ang="0">
                  <a:pos x="30" y="200"/>
                </a:cxn>
                <a:cxn ang="0">
                  <a:pos x="42" y="240"/>
                </a:cxn>
                <a:cxn ang="0">
                  <a:pos x="53" y="239"/>
                </a:cxn>
                <a:cxn ang="0">
                  <a:pos x="60" y="246"/>
                </a:cxn>
                <a:cxn ang="0">
                  <a:pos x="56" y="251"/>
                </a:cxn>
                <a:cxn ang="0">
                  <a:pos x="59" y="255"/>
                </a:cxn>
                <a:cxn ang="0">
                  <a:pos x="56" y="265"/>
                </a:cxn>
                <a:cxn ang="0">
                  <a:pos x="54" y="277"/>
                </a:cxn>
                <a:cxn ang="0">
                  <a:pos x="70" y="281"/>
                </a:cxn>
                <a:cxn ang="0">
                  <a:pos x="76" y="284"/>
                </a:cxn>
              </a:cxnLst>
              <a:rect l="0" t="0" r="r" b="b"/>
              <a:pathLst>
                <a:path w="250" h="308">
                  <a:moveTo>
                    <a:pt x="76" y="284"/>
                  </a:moveTo>
                  <a:cubicBezTo>
                    <a:pt x="76" y="284"/>
                    <a:pt x="86" y="274"/>
                    <a:pt x="98" y="274"/>
                  </a:cubicBezTo>
                  <a:cubicBezTo>
                    <a:pt x="109" y="275"/>
                    <a:pt x="113" y="285"/>
                    <a:pt x="113" y="285"/>
                  </a:cubicBezTo>
                  <a:cubicBezTo>
                    <a:pt x="113" y="285"/>
                    <a:pt x="123" y="281"/>
                    <a:pt x="125" y="289"/>
                  </a:cubicBezTo>
                  <a:cubicBezTo>
                    <a:pt x="127" y="297"/>
                    <a:pt x="129" y="299"/>
                    <a:pt x="129" y="299"/>
                  </a:cubicBezTo>
                  <a:cubicBezTo>
                    <a:pt x="132" y="296"/>
                    <a:pt x="132" y="296"/>
                    <a:pt x="132" y="296"/>
                  </a:cubicBezTo>
                  <a:cubicBezTo>
                    <a:pt x="148" y="308"/>
                    <a:pt x="148" y="308"/>
                    <a:pt x="148" y="308"/>
                  </a:cubicBezTo>
                  <a:cubicBezTo>
                    <a:pt x="148" y="308"/>
                    <a:pt x="148" y="297"/>
                    <a:pt x="154" y="296"/>
                  </a:cubicBezTo>
                  <a:cubicBezTo>
                    <a:pt x="159" y="295"/>
                    <a:pt x="161" y="294"/>
                    <a:pt x="161" y="294"/>
                  </a:cubicBezTo>
                  <a:cubicBezTo>
                    <a:pt x="161" y="294"/>
                    <a:pt x="165" y="287"/>
                    <a:pt x="167" y="284"/>
                  </a:cubicBezTo>
                  <a:cubicBezTo>
                    <a:pt x="169" y="282"/>
                    <a:pt x="175" y="281"/>
                    <a:pt x="172" y="275"/>
                  </a:cubicBezTo>
                  <a:cubicBezTo>
                    <a:pt x="170" y="269"/>
                    <a:pt x="165" y="263"/>
                    <a:pt x="164" y="262"/>
                  </a:cubicBezTo>
                  <a:cubicBezTo>
                    <a:pt x="164" y="261"/>
                    <a:pt x="157" y="255"/>
                    <a:pt x="157" y="254"/>
                  </a:cubicBezTo>
                  <a:cubicBezTo>
                    <a:pt x="157" y="254"/>
                    <a:pt x="167" y="247"/>
                    <a:pt x="167" y="246"/>
                  </a:cubicBezTo>
                  <a:cubicBezTo>
                    <a:pt x="167" y="245"/>
                    <a:pt x="167" y="230"/>
                    <a:pt x="167" y="230"/>
                  </a:cubicBezTo>
                  <a:cubicBezTo>
                    <a:pt x="167" y="230"/>
                    <a:pt x="175" y="223"/>
                    <a:pt x="175" y="220"/>
                  </a:cubicBezTo>
                  <a:cubicBezTo>
                    <a:pt x="174" y="217"/>
                    <a:pt x="173" y="201"/>
                    <a:pt x="179" y="200"/>
                  </a:cubicBezTo>
                  <a:cubicBezTo>
                    <a:pt x="185" y="199"/>
                    <a:pt x="192" y="197"/>
                    <a:pt x="194" y="195"/>
                  </a:cubicBezTo>
                  <a:cubicBezTo>
                    <a:pt x="196" y="193"/>
                    <a:pt x="201" y="188"/>
                    <a:pt x="201" y="183"/>
                  </a:cubicBezTo>
                  <a:cubicBezTo>
                    <a:pt x="201" y="178"/>
                    <a:pt x="200" y="176"/>
                    <a:pt x="205" y="172"/>
                  </a:cubicBezTo>
                  <a:cubicBezTo>
                    <a:pt x="211" y="168"/>
                    <a:pt x="214" y="166"/>
                    <a:pt x="214" y="166"/>
                  </a:cubicBezTo>
                  <a:cubicBezTo>
                    <a:pt x="214" y="165"/>
                    <a:pt x="214" y="155"/>
                    <a:pt x="214" y="155"/>
                  </a:cubicBezTo>
                  <a:cubicBezTo>
                    <a:pt x="220" y="151"/>
                    <a:pt x="220" y="151"/>
                    <a:pt x="220" y="151"/>
                  </a:cubicBezTo>
                  <a:cubicBezTo>
                    <a:pt x="220" y="151"/>
                    <a:pt x="217" y="136"/>
                    <a:pt x="224" y="134"/>
                  </a:cubicBezTo>
                  <a:cubicBezTo>
                    <a:pt x="232" y="132"/>
                    <a:pt x="250" y="127"/>
                    <a:pt x="250" y="127"/>
                  </a:cubicBezTo>
                  <a:cubicBezTo>
                    <a:pt x="250" y="127"/>
                    <a:pt x="250" y="127"/>
                    <a:pt x="250" y="126"/>
                  </a:cubicBezTo>
                  <a:cubicBezTo>
                    <a:pt x="240" y="113"/>
                    <a:pt x="240" y="113"/>
                    <a:pt x="240" y="113"/>
                  </a:cubicBezTo>
                  <a:cubicBezTo>
                    <a:pt x="229" y="115"/>
                    <a:pt x="229" y="115"/>
                    <a:pt x="229" y="115"/>
                  </a:cubicBezTo>
                  <a:cubicBezTo>
                    <a:pt x="229" y="115"/>
                    <a:pt x="192" y="72"/>
                    <a:pt x="183" y="67"/>
                  </a:cubicBezTo>
                  <a:cubicBezTo>
                    <a:pt x="174" y="62"/>
                    <a:pt x="179" y="57"/>
                    <a:pt x="179" y="57"/>
                  </a:cubicBezTo>
                  <a:cubicBezTo>
                    <a:pt x="160" y="55"/>
                    <a:pt x="160" y="55"/>
                    <a:pt x="160" y="55"/>
                  </a:cubicBezTo>
                  <a:cubicBezTo>
                    <a:pt x="158" y="47"/>
                    <a:pt x="158" y="47"/>
                    <a:pt x="158" y="47"/>
                  </a:cubicBezTo>
                  <a:cubicBezTo>
                    <a:pt x="148" y="41"/>
                    <a:pt x="148" y="41"/>
                    <a:pt x="148" y="41"/>
                  </a:cubicBezTo>
                  <a:cubicBezTo>
                    <a:pt x="148" y="41"/>
                    <a:pt x="139" y="40"/>
                    <a:pt x="128" y="30"/>
                  </a:cubicBezTo>
                  <a:cubicBezTo>
                    <a:pt x="117" y="20"/>
                    <a:pt x="109" y="17"/>
                    <a:pt x="102" y="16"/>
                  </a:cubicBezTo>
                  <a:cubicBezTo>
                    <a:pt x="95" y="15"/>
                    <a:pt x="90" y="5"/>
                    <a:pt x="90" y="5"/>
                  </a:cubicBezTo>
                  <a:cubicBezTo>
                    <a:pt x="90" y="5"/>
                    <a:pt x="58" y="0"/>
                    <a:pt x="56" y="2"/>
                  </a:cubicBezTo>
                  <a:cubicBezTo>
                    <a:pt x="54" y="4"/>
                    <a:pt x="34" y="9"/>
                    <a:pt x="33" y="9"/>
                  </a:cubicBezTo>
                  <a:cubicBezTo>
                    <a:pt x="33" y="10"/>
                    <a:pt x="19" y="10"/>
                    <a:pt x="7" y="9"/>
                  </a:cubicBezTo>
                  <a:cubicBezTo>
                    <a:pt x="9" y="20"/>
                    <a:pt x="9" y="20"/>
                    <a:pt x="9" y="20"/>
                  </a:cubicBezTo>
                  <a:cubicBezTo>
                    <a:pt x="1" y="26"/>
                    <a:pt x="1" y="26"/>
                    <a:pt x="1" y="26"/>
                  </a:cubicBezTo>
                  <a:cubicBezTo>
                    <a:pt x="0" y="40"/>
                    <a:pt x="0" y="40"/>
                    <a:pt x="0" y="40"/>
                  </a:cubicBezTo>
                  <a:cubicBezTo>
                    <a:pt x="4" y="41"/>
                    <a:pt x="4" y="41"/>
                    <a:pt x="4" y="41"/>
                  </a:cubicBezTo>
                  <a:cubicBezTo>
                    <a:pt x="4" y="54"/>
                    <a:pt x="4" y="54"/>
                    <a:pt x="4" y="54"/>
                  </a:cubicBezTo>
                  <a:cubicBezTo>
                    <a:pt x="10" y="58"/>
                    <a:pt x="10" y="58"/>
                    <a:pt x="10" y="58"/>
                  </a:cubicBezTo>
                  <a:cubicBezTo>
                    <a:pt x="5" y="64"/>
                    <a:pt x="5" y="64"/>
                    <a:pt x="5" y="64"/>
                  </a:cubicBezTo>
                  <a:cubicBezTo>
                    <a:pt x="8" y="75"/>
                    <a:pt x="8" y="75"/>
                    <a:pt x="8" y="75"/>
                  </a:cubicBezTo>
                  <a:cubicBezTo>
                    <a:pt x="15" y="76"/>
                    <a:pt x="15" y="76"/>
                    <a:pt x="15" y="76"/>
                  </a:cubicBezTo>
                  <a:cubicBezTo>
                    <a:pt x="17" y="95"/>
                    <a:pt x="17" y="95"/>
                    <a:pt x="17" y="95"/>
                  </a:cubicBezTo>
                  <a:cubicBezTo>
                    <a:pt x="17" y="95"/>
                    <a:pt x="8" y="109"/>
                    <a:pt x="8" y="110"/>
                  </a:cubicBezTo>
                  <a:cubicBezTo>
                    <a:pt x="8" y="111"/>
                    <a:pt x="13" y="120"/>
                    <a:pt x="13" y="120"/>
                  </a:cubicBezTo>
                  <a:cubicBezTo>
                    <a:pt x="9" y="132"/>
                    <a:pt x="9" y="132"/>
                    <a:pt x="9" y="132"/>
                  </a:cubicBezTo>
                  <a:cubicBezTo>
                    <a:pt x="29" y="148"/>
                    <a:pt x="29" y="148"/>
                    <a:pt x="29" y="148"/>
                  </a:cubicBezTo>
                  <a:cubicBezTo>
                    <a:pt x="30" y="200"/>
                    <a:pt x="30" y="200"/>
                    <a:pt x="30" y="200"/>
                  </a:cubicBezTo>
                  <a:cubicBezTo>
                    <a:pt x="42" y="240"/>
                    <a:pt x="42" y="240"/>
                    <a:pt x="42" y="240"/>
                  </a:cubicBezTo>
                  <a:cubicBezTo>
                    <a:pt x="53" y="239"/>
                    <a:pt x="53" y="239"/>
                    <a:pt x="53" y="239"/>
                  </a:cubicBezTo>
                  <a:cubicBezTo>
                    <a:pt x="53" y="239"/>
                    <a:pt x="57" y="243"/>
                    <a:pt x="60" y="246"/>
                  </a:cubicBezTo>
                  <a:cubicBezTo>
                    <a:pt x="63" y="248"/>
                    <a:pt x="56" y="251"/>
                    <a:pt x="56" y="251"/>
                  </a:cubicBezTo>
                  <a:cubicBezTo>
                    <a:pt x="59" y="255"/>
                    <a:pt x="59" y="255"/>
                    <a:pt x="59" y="255"/>
                  </a:cubicBezTo>
                  <a:cubicBezTo>
                    <a:pt x="59" y="255"/>
                    <a:pt x="62" y="261"/>
                    <a:pt x="56" y="265"/>
                  </a:cubicBezTo>
                  <a:cubicBezTo>
                    <a:pt x="51" y="268"/>
                    <a:pt x="53" y="275"/>
                    <a:pt x="54" y="277"/>
                  </a:cubicBezTo>
                  <a:cubicBezTo>
                    <a:pt x="70" y="281"/>
                    <a:pt x="70" y="281"/>
                    <a:pt x="70" y="281"/>
                  </a:cubicBezTo>
                  <a:lnTo>
                    <a:pt x="76" y="284"/>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1" name="Freeform 339">
              <a:extLst>
                <a:ext uri="{FF2B5EF4-FFF2-40B4-BE49-F238E27FC236}">
                  <a16:creationId xmlns:a16="http://schemas.microsoft.com/office/drawing/2014/main" id="{893BE902-69D7-4E9A-A61A-250CF0D6CEE0}"/>
                </a:ext>
              </a:extLst>
            </p:cNvPr>
            <p:cNvSpPr>
              <a:spLocks noChangeAspect="1"/>
            </p:cNvSpPr>
            <p:nvPr/>
          </p:nvSpPr>
          <p:spPr bwMode="auto">
            <a:xfrm>
              <a:off x="14386" y="1419"/>
              <a:ext cx="433" cy="261"/>
            </a:xfrm>
            <a:custGeom>
              <a:avLst/>
              <a:gdLst/>
              <a:ahLst/>
              <a:cxnLst>
                <a:cxn ang="0">
                  <a:pos x="16" y="104"/>
                </a:cxn>
                <a:cxn ang="0">
                  <a:pos x="19" y="98"/>
                </a:cxn>
                <a:cxn ang="0">
                  <a:pos x="25" y="103"/>
                </a:cxn>
                <a:cxn ang="0">
                  <a:pos x="32" y="96"/>
                </a:cxn>
                <a:cxn ang="0">
                  <a:pos x="41" y="94"/>
                </a:cxn>
                <a:cxn ang="0">
                  <a:pos x="48" y="82"/>
                </a:cxn>
                <a:cxn ang="0">
                  <a:pos x="63" y="80"/>
                </a:cxn>
                <a:cxn ang="0">
                  <a:pos x="78" y="70"/>
                </a:cxn>
                <a:cxn ang="0">
                  <a:pos x="83" y="79"/>
                </a:cxn>
                <a:cxn ang="0">
                  <a:pos x="77" y="82"/>
                </a:cxn>
                <a:cxn ang="0">
                  <a:pos x="69" y="92"/>
                </a:cxn>
                <a:cxn ang="0">
                  <a:pos x="71" y="98"/>
                </a:cxn>
                <a:cxn ang="0">
                  <a:pos x="64" y="104"/>
                </a:cxn>
                <a:cxn ang="0">
                  <a:pos x="63" y="112"/>
                </a:cxn>
                <a:cxn ang="0">
                  <a:pos x="81" y="119"/>
                </a:cxn>
                <a:cxn ang="0">
                  <a:pos x="103" y="115"/>
                </a:cxn>
                <a:cxn ang="0">
                  <a:pos x="108" y="130"/>
                </a:cxn>
                <a:cxn ang="0">
                  <a:pos x="123" y="119"/>
                </a:cxn>
                <a:cxn ang="0">
                  <a:pos x="121" y="112"/>
                </a:cxn>
                <a:cxn ang="0">
                  <a:pos x="125" y="108"/>
                </a:cxn>
                <a:cxn ang="0">
                  <a:pos x="120" y="99"/>
                </a:cxn>
                <a:cxn ang="0">
                  <a:pos x="131" y="90"/>
                </a:cxn>
                <a:cxn ang="0">
                  <a:pos x="153" y="97"/>
                </a:cxn>
                <a:cxn ang="0">
                  <a:pos x="188" y="97"/>
                </a:cxn>
                <a:cxn ang="0">
                  <a:pos x="193" y="102"/>
                </a:cxn>
                <a:cxn ang="0">
                  <a:pos x="216" y="102"/>
                </a:cxn>
                <a:cxn ang="0">
                  <a:pos x="215" y="98"/>
                </a:cxn>
                <a:cxn ang="0">
                  <a:pos x="209" y="87"/>
                </a:cxn>
                <a:cxn ang="0">
                  <a:pos x="208" y="69"/>
                </a:cxn>
                <a:cxn ang="0">
                  <a:pos x="201" y="46"/>
                </a:cxn>
                <a:cxn ang="0">
                  <a:pos x="181" y="19"/>
                </a:cxn>
                <a:cxn ang="0">
                  <a:pos x="160" y="12"/>
                </a:cxn>
                <a:cxn ang="0">
                  <a:pos x="138" y="18"/>
                </a:cxn>
                <a:cxn ang="0">
                  <a:pos x="128" y="12"/>
                </a:cxn>
                <a:cxn ang="0">
                  <a:pos x="115" y="19"/>
                </a:cxn>
                <a:cxn ang="0">
                  <a:pos x="101" y="7"/>
                </a:cxn>
                <a:cxn ang="0">
                  <a:pos x="82" y="7"/>
                </a:cxn>
                <a:cxn ang="0">
                  <a:pos x="77" y="0"/>
                </a:cxn>
                <a:cxn ang="0">
                  <a:pos x="77" y="1"/>
                </a:cxn>
                <a:cxn ang="0">
                  <a:pos x="51" y="8"/>
                </a:cxn>
                <a:cxn ang="0">
                  <a:pos x="47" y="25"/>
                </a:cxn>
                <a:cxn ang="0">
                  <a:pos x="41" y="29"/>
                </a:cxn>
                <a:cxn ang="0">
                  <a:pos x="41" y="40"/>
                </a:cxn>
                <a:cxn ang="0">
                  <a:pos x="32" y="46"/>
                </a:cxn>
                <a:cxn ang="0">
                  <a:pos x="28" y="57"/>
                </a:cxn>
                <a:cxn ang="0">
                  <a:pos x="21" y="69"/>
                </a:cxn>
                <a:cxn ang="0">
                  <a:pos x="6" y="74"/>
                </a:cxn>
                <a:cxn ang="0">
                  <a:pos x="2" y="94"/>
                </a:cxn>
                <a:cxn ang="0">
                  <a:pos x="2" y="94"/>
                </a:cxn>
                <a:cxn ang="0">
                  <a:pos x="10" y="97"/>
                </a:cxn>
                <a:cxn ang="0">
                  <a:pos x="16" y="104"/>
                </a:cxn>
              </a:cxnLst>
              <a:rect l="0" t="0" r="r" b="b"/>
              <a:pathLst>
                <a:path w="216" h="131">
                  <a:moveTo>
                    <a:pt x="16" y="104"/>
                  </a:moveTo>
                  <a:cubicBezTo>
                    <a:pt x="19" y="98"/>
                    <a:pt x="19" y="98"/>
                    <a:pt x="19" y="98"/>
                  </a:cubicBezTo>
                  <a:cubicBezTo>
                    <a:pt x="25" y="103"/>
                    <a:pt x="25" y="103"/>
                    <a:pt x="25" y="103"/>
                  </a:cubicBezTo>
                  <a:cubicBezTo>
                    <a:pt x="25" y="103"/>
                    <a:pt x="33" y="96"/>
                    <a:pt x="32" y="96"/>
                  </a:cubicBezTo>
                  <a:cubicBezTo>
                    <a:pt x="31" y="95"/>
                    <a:pt x="35" y="94"/>
                    <a:pt x="41" y="94"/>
                  </a:cubicBezTo>
                  <a:cubicBezTo>
                    <a:pt x="46" y="94"/>
                    <a:pt x="47" y="86"/>
                    <a:pt x="48" y="82"/>
                  </a:cubicBezTo>
                  <a:cubicBezTo>
                    <a:pt x="50" y="79"/>
                    <a:pt x="58" y="81"/>
                    <a:pt x="63" y="80"/>
                  </a:cubicBezTo>
                  <a:cubicBezTo>
                    <a:pt x="68" y="80"/>
                    <a:pt x="78" y="70"/>
                    <a:pt x="78" y="70"/>
                  </a:cubicBezTo>
                  <a:cubicBezTo>
                    <a:pt x="78" y="70"/>
                    <a:pt x="83" y="78"/>
                    <a:pt x="83" y="79"/>
                  </a:cubicBezTo>
                  <a:cubicBezTo>
                    <a:pt x="83" y="79"/>
                    <a:pt x="77" y="82"/>
                    <a:pt x="77" y="82"/>
                  </a:cubicBezTo>
                  <a:cubicBezTo>
                    <a:pt x="69" y="92"/>
                    <a:pt x="69" y="92"/>
                    <a:pt x="69" y="92"/>
                  </a:cubicBezTo>
                  <a:cubicBezTo>
                    <a:pt x="71" y="98"/>
                    <a:pt x="71" y="98"/>
                    <a:pt x="71" y="98"/>
                  </a:cubicBezTo>
                  <a:cubicBezTo>
                    <a:pt x="71" y="98"/>
                    <a:pt x="65" y="103"/>
                    <a:pt x="64" y="104"/>
                  </a:cubicBezTo>
                  <a:cubicBezTo>
                    <a:pt x="64" y="105"/>
                    <a:pt x="63" y="112"/>
                    <a:pt x="63" y="112"/>
                  </a:cubicBezTo>
                  <a:cubicBezTo>
                    <a:pt x="63" y="112"/>
                    <a:pt x="79" y="119"/>
                    <a:pt x="81" y="119"/>
                  </a:cubicBezTo>
                  <a:cubicBezTo>
                    <a:pt x="83" y="120"/>
                    <a:pt x="95" y="114"/>
                    <a:pt x="103" y="115"/>
                  </a:cubicBezTo>
                  <a:cubicBezTo>
                    <a:pt x="112" y="115"/>
                    <a:pt x="108" y="129"/>
                    <a:pt x="108" y="130"/>
                  </a:cubicBezTo>
                  <a:cubicBezTo>
                    <a:pt x="108" y="131"/>
                    <a:pt x="123" y="119"/>
                    <a:pt x="123" y="119"/>
                  </a:cubicBezTo>
                  <a:cubicBezTo>
                    <a:pt x="121" y="112"/>
                    <a:pt x="121" y="112"/>
                    <a:pt x="121" y="112"/>
                  </a:cubicBezTo>
                  <a:cubicBezTo>
                    <a:pt x="125" y="108"/>
                    <a:pt x="125" y="108"/>
                    <a:pt x="125" y="108"/>
                  </a:cubicBezTo>
                  <a:cubicBezTo>
                    <a:pt x="120" y="99"/>
                    <a:pt x="120" y="99"/>
                    <a:pt x="120" y="99"/>
                  </a:cubicBezTo>
                  <a:cubicBezTo>
                    <a:pt x="120" y="99"/>
                    <a:pt x="125" y="90"/>
                    <a:pt x="131" y="90"/>
                  </a:cubicBezTo>
                  <a:cubicBezTo>
                    <a:pt x="138" y="89"/>
                    <a:pt x="153" y="97"/>
                    <a:pt x="153" y="97"/>
                  </a:cubicBezTo>
                  <a:cubicBezTo>
                    <a:pt x="153" y="97"/>
                    <a:pt x="188" y="97"/>
                    <a:pt x="188" y="97"/>
                  </a:cubicBezTo>
                  <a:cubicBezTo>
                    <a:pt x="189" y="97"/>
                    <a:pt x="193" y="102"/>
                    <a:pt x="193" y="102"/>
                  </a:cubicBezTo>
                  <a:cubicBezTo>
                    <a:pt x="216" y="102"/>
                    <a:pt x="216" y="102"/>
                    <a:pt x="216" y="102"/>
                  </a:cubicBezTo>
                  <a:cubicBezTo>
                    <a:pt x="216" y="100"/>
                    <a:pt x="215" y="98"/>
                    <a:pt x="215" y="98"/>
                  </a:cubicBezTo>
                  <a:cubicBezTo>
                    <a:pt x="209" y="87"/>
                    <a:pt x="209" y="87"/>
                    <a:pt x="209" y="87"/>
                  </a:cubicBezTo>
                  <a:cubicBezTo>
                    <a:pt x="208" y="69"/>
                    <a:pt x="208" y="69"/>
                    <a:pt x="208" y="69"/>
                  </a:cubicBezTo>
                  <a:cubicBezTo>
                    <a:pt x="208" y="69"/>
                    <a:pt x="201" y="55"/>
                    <a:pt x="201" y="46"/>
                  </a:cubicBezTo>
                  <a:cubicBezTo>
                    <a:pt x="201" y="36"/>
                    <a:pt x="190" y="26"/>
                    <a:pt x="181" y="19"/>
                  </a:cubicBezTo>
                  <a:cubicBezTo>
                    <a:pt x="173" y="11"/>
                    <a:pt x="160" y="12"/>
                    <a:pt x="160" y="12"/>
                  </a:cubicBezTo>
                  <a:cubicBezTo>
                    <a:pt x="160" y="12"/>
                    <a:pt x="143" y="17"/>
                    <a:pt x="138" y="18"/>
                  </a:cubicBezTo>
                  <a:cubicBezTo>
                    <a:pt x="134" y="19"/>
                    <a:pt x="128" y="12"/>
                    <a:pt x="128" y="12"/>
                  </a:cubicBezTo>
                  <a:cubicBezTo>
                    <a:pt x="115" y="19"/>
                    <a:pt x="115" y="19"/>
                    <a:pt x="115" y="19"/>
                  </a:cubicBezTo>
                  <a:cubicBezTo>
                    <a:pt x="101" y="7"/>
                    <a:pt x="101" y="7"/>
                    <a:pt x="101" y="7"/>
                  </a:cubicBezTo>
                  <a:cubicBezTo>
                    <a:pt x="82" y="7"/>
                    <a:pt x="82" y="7"/>
                    <a:pt x="82" y="7"/>
                  </a:cubicBezTo>
                  <a:cubicBezTo>
                    <a:pt x="77" y="0"/>
                    <a:pt x="77" y="0"/>
                    <a:pt x="77" y="0"/>
                  </a:cubicBezTo>
                  <a:cubicBezTo>
                    <a:pt x="77" y="1"/>
                    <a:pt x="77" y="1"/>
                    <a:pt x="77" y="1"/>
                  </a:cubicBezTo>
                  <a:cubicBezTo>
                    <a:pt x="77" y="1"/>
                    <a:pt x="59" y="6"/>
                    <a:pt x="51" y="8"/>
                  </a:cubicBezTo>
                  <a:cubicBezTo>
                    <a:pt x="44" y="10"/>
                    <a:pt x="47" y="25"/>
                    <a:pt x="47" y="25"/>
                  </a:cubicBezTo>
                  <a:cubicBezTo>
                    <a:pt x="41" y="29"/>
                    <a:pt x="41" y="29"/>
                    <a:pt x="41" y="29"/>
                  </a:cubicBezTo>
                  <a:cubicBezTo>
                    <a:pt x="41" y="29"/>
                    <a:pt x="41" y="39"/>
                    <a:pt x="41" y="40"/>
                  </a:cubicBezTo>
                  <a:cubicBezTo>
                    <a:pt x="41" y="40"/>
                    <a:pt x="38" y="42"/>
                    <a:pt x="32" y="46"/>
                  </a:cubicBezTo>
                  <a:cubicBezTo>
                    <a:pt x="27" y="50"/>
                    <a:pt x="28" y="52"/>
                    <a:pt x="28" y="57"/>
                  </a:cubicBezTo>
                  <a:cubicBezTo>
                    <a:pt x="28" y="62"/>
                    <a:pt x="23" y="67"/>
                    <a:pt x="21" y="69"/>
                  </a:cubicBezTo>
                  <a:cubicBezTo>
                    <a:pt x="19" y="71"/>
                    <a:pt x="12" y="73"/>
                    <a:pt x="6" y="74"/>
                  </a:cubicBezTo>
                  <a:cubicBezTo>
                    <a:pt x="0" y="75"/>
                    <a:pt x="1" y="91"/>
                    <a:pt x="2" y="94"/>
                  </a:cubicBezTo>
                  <a:cubicBezTo>
                    <a:pt x="2" y="94"/>
                    <a:pt x="2" y="94"/>
                    <a:pt x="2" y="94"/>
                  </a:cubicBezTo>
                  <a:cubicBezTo>
                    <a:pt x="10" y="97"/>
                    <a:pt x="10" y="97"/>
                    <a:pt x="10" y="97"/>
                  </a:cubicBezTo>
                  <a:lnTo>
                    <a:pt x="16" y="104"/>
                  </a:lnTo>
                  <a:close/>
                </a:path>
              </a:pathLst>
            </a:custGeom>
            <a:solidFill>
              <a:srgbClr val="00B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2" name="Freeform 340">
              <a:extLst>
                <a:ext uri="{FF2B5EF4-FFF2-40B4-BE49-F238E27FC236}">
                  <a16:creationId xmlns:a16="http://schemas.microsoft.com/office/drawing/2014/main" id="{051660ED-D063-45BE-8000-18B866765448}"/>
                </a:ext>
              </a:extLst>
            </p:cNvPr>
            <p:cNvSpPr>
              <a:spLocks noChangeAspect="1"/>
            </p:cNvSpPr>
            <p:nvPr/>
          </p:nvSpPr>
          <p:spPr bwMode="auto">
            <a:xfrm>
              <a:off x="14352" y="1559"/>
              <a:ext cx="479" cy="283"/>
            </a:xfrm>
            <a:custGeom>
              <a:avLst/>
              <a:gdLst/>
              <a:ahLst/>
              <a:cxnLst>
                <a:cxn ang="0">
                  <a:pos x="34" y="111"/>
                </a:cxn>
                <a:cxn ang="0">
                  <a:pos x="48" y="109"/>
                </a:cxn>
                <a:cxn ang="0">
                  <a:pos x="71" y="92"/>
                </a:cxn>
                <a:cxn ang="0">
                  <a:pos x="93" y="75"/>
                </a:cxn>
                <a:cxn ang="0">
                  <a:pos x="97" y="97"/>
                </a:cxn>
                <a:cxn ang="0">
                  <a:pos x="93" y="110"/>
                </a:cxn>
                <a:cxn ang="0">
                  <a:pos x="100" y="120"/>
                </a:cxn>
                <a:cxn ang="0">
                  <a:pos x="112" y="140"/>
                </a:cxn>
                <a:cxn ang="0">
                  <a:pos x="131" y="130"/>
                </a:cxn>
                <a:cxn ang="0">
                  <a:pos x="142" y="115"/>
                </a:cxn>
                <a:cxn ang="0">
                  <a:pos x="176" y="107"/>
                </a:cxn>
                <a:cxn ang="0">
                  <a:pos x="202" y="98"/>
                </a:cxn>
                <a:cxn ang="0">
                  <a:pos x="219" y="84"/>
                </a:cxn>
                <a:cxn ang="0">
                  <a:pos x="237" y="62"/>
                </a:cxn>
                <a:cxn ang="0">
                  <a:pos x="209" y="32"/>
                </a:cxn>
                <a:cxn ang="0">
                  <a:pos x="169" y="27"/>
                </a:cxn>
                <a:cxn ang="0">
                  <a:pos x="136" y="29"/>
                </a:cxn>
                <a:cxn ang="0">
                  <a:pos x="137" y="42"/>
                </a:cxn>
                <a:cxn ang="0">
                  <a:pos x="124" y="60"/>
                </a:cxn>
                <a:cxn ang="0">
                  <a:pos x="97" y="49"/>
                </a:cxn>
                <a:cxn ang="0">
                  <a:pos x="80" y="34"/>
                </a:cxn>
                <a:cxn ang="0">
                  <a:pos x="85" y="22"/>
                </a:cxn>
                <a:cxn ang="0">
                  <a:pos x="99" y="9"/>
                </a:cxn>
                <a:cxn ang="0">
                  <a:pos x="79" y="10"/>
                </a:cxn>
                <a:cxn ang="0">
                  <a:pos x="57" y="24"/>
                </a:cxn>
                <a:cxn ang="0">
                  <a:pos x="41" y="33"/>
                </a:cxn>
                <a:cxn ang="0">
                  <a:pos x="32" y="34"/>
                </a:cxn>
                <a:cxn ang="0">
                  <a:pos x="18" y="24"/>
                </a:cxn>
                <a:cxn ang="0">
                  <a:pos x="10" y="50"/>
                </a:cxn>
                <a:cxn ang="0">
                  <a:pos x="7" y="66"/>
                </a:cxn>
                <a:cxn ang="0">
                  <a:pos x="10" y="88"/>
                </a:cxn>
                <a:cxn ang="0">
                  <a:pos x="16" y="108"/>
                </a:cxn>
              </a:cxnLst>
              <a:rect l="0" t="0" r="r" b="b"/>
              <a:pathLst>
                <a:path w="239" h="141">
                  <a:moveTo>
                    <a:pt x="27" y="100"/>
                  </a:moveTo>
                  <a:cubicBezTo>
                    <a:pt x="27" y="100"/>
                    <a:pt x="33" y="111"/>
                    <a:pt x="34" y="111"/>
                  </a:cubicBezTo>
                  <a:cubicBezTo>
                    <a:pt x="35" y="110"/>
                    <a:pt x="43" y="104"/>
                    <a:pt x="43" y="104"/>
                  </a:cubicBezTo>
                  <a:cubicBezTo>
                    <a:pt x="43" y="104"/>
                    <a:pt x="47" y="110"/>
                    <a:pt x="48" y="109"/>
                  </a:cubicBezTo>
                  <a:cubicBezTo>
                    <a:pt x="48" y="108"/>
                    <a:pt x="58" y="101"/>
                    <a:pt x="62" y="99"/>
                  </a:cubicBezTo>
                  <a:cubicBezTo>
                    <a:pt x="66" y="96"/>
                    <a:pt x="68" y="92"/>
                    <a:pt x="71" y="92"/>
                  </a:cubicBezTo>
                  <a:cubicBezTo>
                    <a:pt x="74" y="92"/>
                    <a:pt x="78" y="91"/>
                    <a:pt x="78" y="90"/>
                  </a:cubicBezTo>
                  <a:cubicBezTo>
                    <a:pt x="78" y="89"/>
                    <a:pt x="93" y="75"/>
                    <a:pt x="93" y="75"/>
                  </a:cubicBezTo>
                  <a:cubicBezTo>
                    <a:pt x="93" y="75"/>
                    <a:pt x="113" y="85"/>
                    <a:pt x="110" y="89"/>
                  </a:cubicBezTo>
                  <a:cubicBezTo>
                    <a:pt x="108" y="93"/>
                    <a:pt x="97" y="97"/>
                    <a:pt x="97" y="97"/>
                  </a:cubicBezTo>
                  <a:cubicBezTo>
                    <a:pt x="100" y="106"/>
                    <a:pt x="100" y="106"/>
                    <a:pt x="100" y="106"/>
                  </a:cubicBezTo>
                  <a:cubicBezTo>
                    <a:pt x="93" y="110"/>
                    <a:pt x="93" y="110"/>
                    <a:pt x="93" y="110"/>
                  </a:cubicBezTo>
                  <a:cubicBezTo>
                    <a:pt x="90" y="120"/>
                    <a:pt x="90" y="120"/>
                    <a:pt x="90" y="120"/>
                  </a:cubicBezTo>
                  <a:cubicBezTo>
                    <a:pt x="100" y="120"/>
                    <a:pt x="100" y="120"/>
                    <a:pt x="100" y="120"/>
                  </a:cubicBezTo>
                  <a:cubicBezTo>
                    <a:pt x="99" y="133"/>
                    <a:pt x="99" y="133"/>
                    <a:pt x="99" y="133"/>
                  </a:cubicBezTo>
                  <a:cubicBezTo>
                    <a:pt x="99" y="133"/>
                    <a:pt x="112" y="141"/>
                    <a:pt x="112" y="140"/>
                  </a:cubicBezTo>
                  <a:cubicBezTo>
                    <a:pt x="112" y="139"/>
                    <a:pt x="123" y="130"/>
                    <a:pt x="123" y="130"/>
                  </a:cubicBezTo>
                  <a:cubicBezTo>
                    <a:pt x="131" y="130"/>
                    <a:pt x="131" y="130"/>
                    <a:pt x="131" y="130"/>
                  </a:cubicBezTo>
                  <a:cubicBezTo>
                    <a:pt x="130" y="117"/>
                    <a:pt x="130" y="117"/>
                    <a:pt x="130" y="117"/>
                  </a:cubicBezTo>
                  <a:cubicBezTo>
                    <a:pt x="142" y="115"/>
                    <a:pt x="142" y="115"/>
                    <a:pt x="142" y="115"/>
                  </a:cubicBezTo>
                  <a:cubicBezTo>
                    <a:pt x="142" y="115"/>
                    <a:pt x="144" y="109"/>
                    <a:pt x="145" y="109"/>
                  </a:cubicBezTo>
                  <a:cubicBezTo>
                    <a:pt x="145" y="109"/>
                    <a:pt x="176" y="107"/>
                    <a:pt x="176" y="107"/>
                  </a:cubicBezTo>
                  <a:cubicBezTo>
                    <a:pt x="176" y="107"/>
                    <a:pt x="179" y="101"/>
                    <a:pt x="190" y="100"/>
                  </a:cubicBezTo>
                  <a:cubicBezTo>
                    <a:pt x="200" y="99"/>
                    <a:pt x="202" y="98"/>
                    <a:pt x="202" y="98"/>
                  </a:cubicBezTo>
                  <a:cubicBezTo>
                    <a:pt x="202" y="98"/>
                    <a:pt x="201" y="88"/>
                    <a:pt x="202" y="88"/>
                  </a:cubicBezTo>
                  <a:cubicBezTo>
                    <a:pt x="202" y="87"/>
                    <a:pt x="219" y="84"/>
                    <a:pt x="219" y="84"/>
                  </a:cubicBezTo>
                  <a:cubicBezTo>
                    <a:pt x="239" y="102"/>
                    <a:pt x="239" y="102"/>
                    <a:pt x="239" y="102"/>
                  </a:cubicBezTo>
                  <a:cubicBezTo>
                    <a:pt x="239" y="86"/>
                    <a:pt x="238" y="65"/>
                    <a:pt x="237" y="62"/>
                  </a:cubicBezTo>
                  <a:cubicBezTo>
                    <a:pt x="237" y="59"/>
                    <a:pt x="234" y="41"/>
                    <a:pt x="232" y="32"/>
                  </a:cubicBezTo>
                  <a:cubicBezTo>
                    <a:pt x="209" y="32"/>
                    <a:pt x="209" y="32"/>
                    <a:pt x="209" y="32"/>
                  </a:cubicBezTo>
                  <a:cubicBezTo>
                    <a:pt x="209" y="32"/>
                    <a:pt x="205" y="27"/>
                    <a:pt x="204" y="27"/>
                  </a:cubicBezTo>
                  <a:cubicBezTo>
                    <a:pt x="204" y="27"/>
                    <a:pt x="169" y="27"/>
                    <a:pt x="169" y="27"/>
                  </a:cubicBezTo>
                  <a:cubicBezTo>
                    <a:pt x="169" y="27"/>
                    <a:pt x="154" y="19"/>
                    <a:pt x="147" y="20"/>
                  </a:cubicBezTo>
                  <a:cubicBezTo>
                    <a:pt x="141" y="20"/>
                    <a:pt x="136" y="29"/>
                    <a:pt x="136" y="29"/>
                  </a:cubicBezTo>
                  <a:cubicBezTo>
                    <a:pt x="141" y="38"/>
                    <a:pt x="141" y="38"/>
                    <a:pt x="141" y="38"/>
                  </a:cubicBezTo>
                  <a:cubicBezTo>
                    <a:pt x="137" y="42"/>
                    <a:pt x="137" y="42"/>
                    <a:pt x="137" y="42"/>
                  </a:cubicBezTo>
                  <a:cubicBezTo>
                    <a:pt x="139" y="49"/>
                    <a:pt x="139" y="49"/>
                    <a:pt x="139" y="49"/>
                  </a:cubicBezTo>
                  <a:cubicBezTo>
                    <a:pt x="139" y="49"/>
                    <a:pt x="124" y="61"/>
                    <a:pt x="124" y="60"/>
                  </a:cubicBezTo>
                  <a:cubicBezTo>
                    <a:pt x="124" y="59"/>
                    <a:pt x="128" y="45"/>
                    <a:pt x="119" y="45"/>
                  </a:cubicBezTo>
                  <a:cubicBezTo>
                    <a:pt x="111" y="44"/>
                    <a:pt x="99" y="50"/>
                    <a:pt x="97" y="49"/>
                  </a:cubicBezTo>
                  <a:cubicBezTo>
                    <a:pt x="95" y="49"/>
                    <a:pt x="79" y="42"/>
                    <a:pt x="79" y="42"/>
                  </a:cubicBezTo>
                  <a:cubicBezTo>
                    <a:pt x="79" y="42"/>
                    <a:pt x="80" y="35"/>
                    <a:pt x="80" y="34"/>
                  </a:cubicBezTo>
                  <a:cubicBezTo>
                    <a:pt x="81" y="33"/>
                    <a:pt x="87" y="28"/>
                    <a:pt x="87" y="28"/>
                  </a:cubicBezTo>
                  <a:cubicBezTo>
                    <a:pt x="85" y="22"/>
                    <a:pt x="85" y="22"/>
                    <a:pt x="85" y="22"/>
                  </a:cubicBezTo>
                  <a:cubicBezTo>
                    <a:pt x="93" y="12"/>
                    <a:pt x="93" y="12"/>
                    <a:pt x="93" y="12"/>
                  </a:cubicBezTo>
                  <a:cubicBezTo>
                    <a:pt x="93" y="12"/>
                    <a:pt x="99" y="9"/>
                    <a:pt x="99" y="9"/>
                  </a:cubicBezTo>
                  <a:cubicBezTo>
                    <a:pt x="99" y="8"/>
                    <a:pt x="94" y="0"/>
                    <a:pt x="94" y="0"/>
                  </a:cubicBezTo>
                  <a:cubicBezTo>
                    <a:pt x="94" y="0"/>
                    <a:pt x="84" y="10"/>
                    <a:pt x="79" y="10"/>
                  </a:cubicBezTo>
                  <a:cubicBezTo>
                    <a:pt x="74" y="11"/>
                    <a:pt x="66" y="9"/>
                    <a:pt x="64" y="12"/>
                  </a:cubicBezTo>
                  <a:cubicBezTo>
                    <a:pt x="63" y="16"/>
                    <a:pt x="62" y="24"/>
                    <a:pt x="57" y="24"/>
                  </a:cubicBezTo>
                  <a:cubicBezTo>
                    <a:pt x="51" y="24"/>
                    <a:pt x="47" y="25"/>
                    <a:pt x="48" y="26"/>
                  </a:cubicBezTo>
                  <a:cubicBezTo>
                    <a:pt x="49" y="26"/>
                    <a:pt x="41" y="33"/>
                    <a:pt x="41" y="33"/>
                  </a:cubicBezTo>
                  <a:cubicBezTo>
                    <a:pt x="35" y="28"/>
                    <a:pt x="35" y="28"/>
                    <a:pt x="35" y="28"/>
                  </a:cubicBezTo>
                  <a:cubicBezTo>
                    <a:pt x="32" y="34"/>
                    <a:pt x="32" y="34"/>
                    <a:pt x="32" y="34"/>
                  </a:cubicBezTo>
                  <a:cubicBezTo>
                    <a:pt x="26" y="27"/>
                    <a:pt x="26" y="27"/>
                    <a:pt x="26" y="27"/>
                  </a:cubicBezTo>
                  <a:cubicBezTo>
                    <a:pt x="18" y="24"/>
                    <a:pt x="18" y="24"/>
                    <a:pt x="18" y="24"/>
                  </a:cubicBezTo>
                  <a:cubicBezTo>
                    <a:pt x="17" y="27"/>
                    <a:pt x="10" y="34"/>
                    <a:pt x="10" y="34"/>
                  </a:cubicBezTo>
                  <a:cubicBezTo>
                    <a:pt x="10" y="34"/>
                    <a:pt x="10" y="49"/>
                    <a:pt x="10" y="50"/>
                  </a:cubicBezTo>
                  <a:cubicBezTo>
                    <a:pt x="10" y="51"/>
                    <a:pt x="0" y="58"/>
                    <a:pt x="0" y="58"/>
                  </a:cubicBezTo>
                  <a:cubicBezTo>
                    <a:pt x="0" y="59"/>
                    <a:pt x="7" y="65"/>
                    <a:pt x="7" y="66"/>
                  </a:cubicBezTo>
                  <a:cubicBezTo>
                    <a:pt x="8" y="67"/>
                    <a:pt x="13" y="73"/>
                    <a:pt x="15" y="79"/>
                  </a:cubicBezTo>
                  <a:cubicBezTo>
                    <a:pt x="18" y="85"/>
                    <a:pt x="12" y="86"/>
                    <a:pt x="10" y="88"/>
                  </a:cubicBezTo>
                  <a:cubicBezTo>
                    <a:pt x="9" y="90"/>
                    <a:pt x="5" y="96"/>
                    <a:pt x="4" y="97"/>
                  </a:cubicBezTo>
                  <a:cubicBezTo>
                    <a:pt x="16" y="108"/>
                    <a:pt x="16" y="108"/>
                    <a:pt x="16" y="108"/>
                  </a:cubicBezTo>
                  <a:lnTo>
                    <a:pt x="27" y="100"/>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3" name="Freeform 341">
              <a:extLst>
                <a:ext uri="{FF2B5EF4-FFF2-40B4-BE49-F238E27FC236}">
                  <a16:creationId xmlns:a16="http://schemas.microsoft.com/office/drawing/2014/main" id="{4386BE95-2193-4E1A-AAEA-BCB835FFABD3}"/>
                </a:ext>
              </a:extLst>
            </p:cNvPr>
            <p:cNvSpPr>
              <a:spLocks noChangeAspect="1"/>
            </p:cNvSpPr>
            <p:nvPr/>
          </p:nvSpPr>
          <p:spPr bwMode="auto">
            <a:xfrm>
              <a:off x="14062" y="1709"/>
              <a:ext cx="773" cy="280"/>
            </a:xfrm>
            <a:custGeom>
              <a:avLst/>
              <a:gdLst>
                <a:gd name="T0" fmla="*/ 773 w 386"/>
                <a:gd name="T1" fmla="*/ 86 h 140"/>
                <a:gd name="T2" fmla="*/ 731 w 386"/>
                <a:gd name="T3" fmla="*/ 18 h 140"/>
                <a:gd name="T4" fmla="*/ 697 w 386"/>
                <a:gd name="T5" fmla="*/ 46 h 140"/>
                <a:gd name="T6" fmla="*/ 645 w 386"/>
                <a:gd name="T7" fmla="*/ 64 h 140"/>
                <a:gd name="T8" fmla="*/ 577 w 386"/>
                <a:gd name="T9" fmla="*/ 80 h 140"/>
                <a:gd name="T10" fmla="*/ 555 w 386"/>
                <a:gd name="T11" fmla="*/ 110 h 140"/>
                <a:gd name="T12" fmla="*/ 517 w 386"/>
                <a:gd name="T13" fmla="*/ 130 h 140"/>
                <a:gd name="T14" fmla="*/ 493 w 386"/>
                <a:gd name="T15" fmla="*/ 90 h 140"/>
                <a:gd name="T16" fmla="*/ 479 w 386"/>
                <a:gd name="T17" fmla="*/ 70 h 140"/>
                <a:gd name="T18" fmla="*/ 487 w 386"/>
                <a:gd name="T19" fmla="*/ 44 h 140"/>
                <a:gd name="T20" fmla="*/ 479 w 386"/>
                <a:gd name="T21" fmla="*/ 0 h 140"/>
                <a:gd name="T22" fmla="*/ 435 w 386"/>
                <a:gd name="T23" fmla="*/ 34 h 140"/>
                <a:gd name="T24" fmla="*/ 389 w 386"/>
                <a:gd name="T25" fmla="*/ 68 h 140"/>
                <a:gd name="T26" fmla="*/ 360 w 386"/>
                <a:gd name="T27" fmla="*/ 72 h 140"/>
                <a:gd name="T28" fmla="*/ 324 w 386"/>
                <a:gd name="T29" fmla="*/ 66 h 140"/>
                <a:gd name="T30" fmla="*/ 300 w 386"/>
                <a:gd name="T31" fmla="*/ 46 h 140"/>
                <a:gd name="T32" fmla="*/ 274 w 386"/>
                <a:gd name="T33" fmla="*/ 74 h 140"/>
                <a:gd name="T34" fmla="*/ 236 w 386"/>
                <a:gd name="T35" fmla="*/ 56 h 140"/>
                <a:gd name="T36" fmla="*/ 204 w 386"/>
                <a:gd name="T37" fmla="*/ 28 h 140"/>
                <a:gd name="T38" fmla="*/ 130 w 386"/>
                <a:gd name="T39" fmla="*/ 26 h 140"/>
                <a:gd name="T40" fmla="*/ 86 w 386"/>
                <a:gd name="T41" fmla="*/ 12 h 140"/>
                <a:gd name="T42" fmla="*/ 62 w 386"/>
                <a:gd name="T43" fmla="*/ 28 h 140"/>
                <a:gd name="T44" fmla="*/ 60 w 386"/>
                <a:gd name="T45" fmla="*/ 88 h 140"/>
                <a:gd name="T46" fmla="*/ 0 w 386"/>
                <a:gd name="T47" fmla="*/ 210 h 140"/>
                <a:gd name="T48" fmla="*/ 70 w 386"/>
                <a:gd name="T49" fmla="*/ 274 h 140"/>
                <a:gd name="T50" fmla="*/ 120 w 386"/>
                <a:gd name="T51" fmla="*/ 222 h 140"/>
                <a:gd name="T52" fmla="*/ 164 w 386"/>
                <a:gd name="T53" fmla="*/ 208 h 140"/>
                <a:gd name="T54" fmla="*/ 182 w 386"/>
                <a:gd name="T55" fmla="*/ 188 h 140"/>
                <a:gd name="T56" fmla="*/ 224 w 386"/>
                <a:gd name="T57" fmla="*/ 154 h 140"/>
                <a:gd name="T58" fmla="*/ 308 w 386"/>
                <a:gd name="T59" fmla="*/ 208 h 140"/>
                <a:gd name="T60" fmla="*/ 334 w 386"/>
                <a:gd name="T61" fmla="*/ 220 h 140"/>
                <a:gd name="T62" fmla="*/ 356 w 386"/>
                <a:gd name="T63" fmla="*/ 222 h 140"/>
                <a:gd name="T64" fmla="*/ 366 w 386"/>
                <a:gd name="T65" fmla="*/ 254 h 140"/>
                <a:gd name="T66" fmla="*/ 415 w 386"/>
                <a:gd name="T67" fmla="*/ 196 h 140"/>
                <a:gd name="T68" fmla="*/ 453 w 386"/>
                <a:gd name="T69" fmla="*/ 210 h 140"/>
                <a:gd name="T70" fmla="*/ 479 w 386"/>
                <a:gd name="T71" fmla="*/ 242 h 140"/>
                <a:gd name="T72" fmla="*/ 517 w 386"/>
                <a:gd name="T73" fmla="*/ 260 h 140"/>
                <a:gd name="T74" fmla="*/ 567 w 386"/>
                <a:gd name="T75" fmla="*/ 250 h 140"/>
                <a:gd name="T76" fmla="*/ 605 w 386"/>
                <a:gd name="T77" fmla="*/ 234 h 140"/>
                <a:gd name="T78" fmla="*/ 649 w 386"/>
                <a:gd name="T79" fmla="*/ 192 h 140"/>
                <a:gd name="T80" fmla="*/ 685 w 386"/>
                <a:gd name="T81" fmla="*/ 194 h 140"/>
                <a:gd name="T82" fmla="*/ 755 w 386"/>
                <a:gd name="T83" fmla="*/ 15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6"/>
                <a:gd name="T127" fmla="*/ 0 h 140"/>
                <a:gd name="T128" fmla="*/ 386 w 38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6" h="140">
                  <a:moveTo>
                    <a:pt x="375" y="65"/>
                  </a:moveTo>
                  <a:cubicBezTo>
                    <a:pt x="386" y="43"/>
                    <a:pt x="386" y="43"/>
                    <a:pt x="386" y="43"/>
                  </a:cubicBezTo>
                  <a:cubicBezTo>
                    <a:pt x="386" y="43"/>
                    <a:pt x="386" y="36"/>
                    <a:pt x="385" y="27"/>
                  </a:cubicBezTo>
                  <a:cubicBezTo>
                    <a:pt x="365" y="9"/>
                    <a:pt x="365" y="9"/>
                    <a:pt x="365" y="9"/>
                  </a:cubicBezTo>
                  <a:cubicBezTo>
                    <a:pt x="365" y="9"/>
                    <a:pt x="348" y="12"/>
                    <a:pt x="348" y="13"/>
                  </a:cubicBezTo>
                  <a:cubicBezTo>
                    <a:pt x="347" y="13"/>
                    <a:pt x="348" y="23"/>
                    <a:pt x="348" y="23"/>
                  </a:cubicBezTo>
                  <a:cubicBezTo>
                    <a:pt x="348" y="23"/>
                    <a:pt x="346" y="24"/>
                    <a:pt x="336" y="25"/>
                  </a:cubicBezTo>
                  <a:cubicBezTo>
                    <a:pt x="325" y="26"/>
                    <a:pt x="322" y="32"/>
                    <a:pt x="322" y="32"/>
                  </a:cubicBezTo>
                  <a:cubicBezTo>
                    <a:pt x="322" y="32"/>
                    <a:pt x="291" y="34"/>
                    <a:pt x="291" y="34"/>
                  </a:cubicBezTo>
                  <a:cubicBezTo>
                    <a:pt x="290" y="34"/>
                    <a:pt x="288" y="40"/>
                    <a:pt x="288" y="40"/>
                  </a:cubicBezTo>
                  <a:cubicBezTo>
                    <a:pt x="276" y="42"/>
                    <a:pt x="276" y="42"/>
                    <a:pt x="276" y="42"/>
                  </a:cubicBezTo>
                  <a:cubicBezTo>
                    <a:pt x="277" y="55"/>
                    <a:pt x="277" y="55"/>
                    <a:pt x="277" y="55"/>
                  </a:cubicBezTo>
                  <a:cubicBezTo>
                    <a:pt x="269" y="55"/>
                    <a:pt x="269" y="55"/>
                    <a:pt x="269" y="55"/>
                  </a:cubicBezTo>
                  <a:cubicBezTo>
                    <a:pt x="269" y="55"/>
                    <a:pt x="258" y="64"/>
                    <a:pt x="258" y="65"/>
                  </a:cubicBezTo>
                  <a:cubicBezTo>
                    <a:pt x="258" y="66"/>
                    <a:pt x="245" y="58"/>
                    <a:pt x="245" y="58"/>
                  </a:cubicBezTo>
                  <a:cubicBezTo>
                    <a:pt x="246" y="45"/>
                    <a:pt x="246" y="45"/>
                    <a:pt x="246" y="45"/>
                  </a:cubicBezTo>
                  <a:cubicBezTo>
                    <a:pt x="236" y="45"/>
                    <a:pt x="236" y="45"/>
                    <a:pt x="236" y="45"/>
                  </a:cubicBezTo>
                  <a:cubicBezTo>
                    <a:pt x="239" y="35"/>
                    <a:pt x="239" y="35"/>
                    <a:pt x="239" y="35"/>
                  </a:cubicBezTo>
                  <a:cubicBezTo>
                    <a:pt x="246" y="31"/>
                    <a:pt x="246" y="31"/>
                    <a:pt x="246" y="31"/>
                  </a:cubicBezTo>
                  <a:cubicBezTo>
                    <a:pt x="243" y="22"/>
                    <a:pt x="243" y="22"/>
                    <a:pt x="243" y="22"/>
                  </a:cubicBezTo>
                  <a:cubicBezTo>
                    <a:pt x="243" y="22"/>
                    <a:pt x="254" y="18"/>
                    <a:pt x="256" y="14"/>
                  </a:cubicBezTo>
                  <a:cubicBezTo>
                    <a:pt x="259" y="10"/>
                    <a:pt x="239" y="0"/>
                    <a:pt x="239" y="0"/>
                  </a:cubicBezTo>
                  <a:cubicBezTo>
                    <a:pt x="239" y="0"/>
                    <a:pt x="224" y="14"/>
                    <a:pt x="224" y="15"/>
                  </a:cubicBezTo>
                  <a:cubicBezTo>
                    <a:pt x="224" y="16"/>
                    <a:pt x="220" y="17"/>
                    <a:pt x="217" y="17"/>
                  </a:cubicBezTo>
                  <a:cubicBezTo>
                    <a:pt x="214" y="17"/>
                    <a:pt x="212" y="21"/>
                    <a:pt x="208" y="24"/>
                  </a:cubicBezTo>
                  <a:cubicBezTo>
                    <a:pt x="204" y="26"/>
                    <a:pt x="194" y="33"/>
                    <a:pt x="194" y="34"/>
                  </a:cubicBezTo>
                  <a:cubicBezTo>
                    <a:pt x="193" y="35"/>
                    <a:pt x="189" y="29"/>
                    <a:pt x="189" y="29"/>
                  </a:cubicBezTo>
                  <a:cubicBezTo>
                    <a:pt x="189" y="29"/>
                    <a:pt x="181" y="35"/>
                    <a:pt x="180" y="36"/>
                  </a:cubicBezTo>
                  <a:cubicBezTo>
                    <a:pt x="179" y="36"/>
                    <a:pt x="173" y="25"/>
                    <a:pt x="173" y="25"/>
                  </a:cubicBezTo>
                  <a:cubicBezTo>
                    <a:pt x="162" y="33"/>
                    <a:pt x="162" y="33"/>
                    <a:pt x="162" y="33"/>
                  </a:cubicBezTo>
                  <a:cubicBezTo>
                    <a:pt x="150" y="22"/>
                    <a:pt x="150" y="22"/>
                    <a:pt x="150" y="22"/>
                  </a:cubicBezTo>
                  <a:cubicBezTo>
                    <a:pt x="150" y="23"/>
                    <a:pt x="150" y="23"/>
                    <a:pt x="150" y="23"/>
                  </a:cubicBezTo>
                  <a:cubicBezTo>
                    <a:pt x="150" y="23"/>
                    <a:pt x="148" y="24"/>
                    <a:pt x="143" y="25"/>
                  </a:cubicBezTo>
                  <a:cubicBezTo>
                    <a:pt x="137" y="26"/>
                    <a:pt x="137" y="37"/>
                    <a:pt x="137" y="37"/>
                  </a:cubicBezTo>
                  <a:cubicBezTo>
                    <a:pt x="121" y="25"/>
                    <a:pt x="121" y="25"/>
                    <a:pt x="121" y="25"/>
                  </a:cubicBezTo>
                  <a:cubicBezTo>
                    <a:pt x="118" y="28"/>
                    <a:pt x="118" y="28"/>
                    <a:pt x="118" y="28"/>
                  </a:cubicBezTo>
                  <a:cubicBezTo>
                    <a:pt x="118" y="28"/>
                    <a:pt x="116" y="26"/>
                    <a:pt x="114" y="18"/>
                  </a:cubicBezTo>
                  <a:cubicBezTo>
                    <a:pt x="112" y="10"/>
                    <a:pt x="102" y="14"/>
                    <a:pt x="102" y="14"/>
                  </a:cubicBezTo>
                  <a:cubicBezTo>
                    <a:pt x="102" y="14"/>
                    <a:pt x="98" y="4"/>
                    <a:pt x="87" y="3"/>
                  </a:cubicBezTo>
                  <a:cubicBezTo>
                    <a:pt x="75" y="3"/>
                    <a:pt x="65" y="13"/>
                    <a:pt x="65" y="13"/>
                  </a:cubicBezTo>
                  <a:cubicBezTo>
                    <a:pt x="59" y="10"/>
                    <a:pt x="59" y="10"/>
                    <a:pt x="59" y="10"/>
                  </a:cubicBezTo>
                  <a:cubicBezTo>
                    <a:pt x="43" y="6"/>
                    <a:pt x="43" y="6"/>
                    <a:pt x="43" y="6"/>
                  </a:cubicBezTo>
                  <a:cubicBezTo>
                    <a:pt x="44" y="7"/>
                    <a:pt x="44" y="7"/>
                    <a:pt x="44" y="7"/>
                  </a:cubicBezTo>
                  <a:cubicBezTo>
                    <a:pt x="44" y="7"/>
                    <a:pt x="31" y="14"/>
                    <a:pt x="31" y="14"/>
                  </a:cubicBezTo>
                  <a:cubicBezTo>
                    <a:pt x="31" y="15"/>
                    <a:pt x="33" y="20"/>
                    <a:pt x="35" y="24"/>
                  </a:cubicBezTo>
                  <a:cubicBezTo>
                    <a:pt x="36" y="28"/>
                    <a:pt x="30" y="34"/>
                    <a:pt x="30" y="44"/>
                  </a:cubicBezTo>
                  <a:cubicBezTo>
                    <a:pt x="30" y="54"/>
                    <a:pt x="22" y="91"/>
                    <a:pt x="22" y="91"/>
                  </a:cubicBezTo>
                  <a:cubicBezTo>
                    <a:pt x="22" y="91"/>
                    <a:pt x="10" y="98"/>
                    <a:pt x="0" y="105"/>
                  </a:cubicBezTo>
                  <a:cubicBezTo>
                    <a:pt x="9" y="106"/>
                    <a:pt x="18" y="108"/>
                    <a:pt x="20" y="115"/>
                  </a:cubicBezTo>
                  <a:cubicBezTo>
                    <a:pt x="24" y="126"/>
                    <a:pt x="28" y="140"/>
                    <a:pt x="35" y="137"/>
                  </a:cubicBezTo>
                  <a:cubicBezTo>
                    <a:pt x="41" y="135"/>
                    <a:pt x="55" y="123"/>
                    <a:pt x="56" y="118"/>
                  </a:cubicBezTo>
                  <a:cubicBezTo>
                    <a:pt x="58" y="114"/>
                    <a:pt x="60" y="111"/>
                    <a:pt x="60" y="111"/>
                  </a:cubicBezTo>
                  <a:cubicBezTo>
                    <a:pt x="60" y="111"/>
                    <a:pt x="60" y="114"/>
                    <a:pt x="68" y="111"/>
                  </a:cubicBezTo>
                  <a:cubicBezTo>
                    <a:pt x="75" y="109"/>
                    <a:pt x="82" y="105"/>
                    <a:pt x="82" y="104"/>
                  </a:cubicBezTo>
                  <a:cubicBezTo>
                    <a:pt x="82" y="103"/>
                    <a:pt x="81" y="96"/>
                    <a:pt x="81" y="96"/>
                  </a:cubicBezTo>
                  <a:cubicBezTo>
                    <a:pt x="91" y="94"/>
                    <a:pt x="91" y="94"/>
                    <a:pt x="91" y="94"/>
                  </a:cubicBezTo>
                  <a:cubicBezTo>
                    <a:pt x="91" y="94"/>
                    <a:pt x="92" y="86"/>
                    <a:pt x="92" y="85"/>
                  </a:cubicBezTo>
                  <a:cubicBezTo>
                    <a:pt x="92" y="85"/>
                    <a:pt x="112" y="77"/>
                    <a:pt x="112" y="77"/>
                  </a:cubicBezTo>
                  <a:cubicBezTo>
                    <a:pt x="112" y="77"/>
                    <a:pt x="122" y="87"/>
                    <a:pt x="127" y="89"/>
                  </a:cubicBezTo>
                  <a:cubicBezTo>
                    <a:pt x="133" y="91"/>
                    <a:pt x="154" y="104"/>
                    <a:pt x="154" y="104"/>
                  </a:cubicBezTo>
                  <a:cubicBezTo>
                    <a:pt x="154" y="104"/>
                    <a:pt x="165" y="94"/>
                    <a:pt x="165" y="96"/>
                  </a:cubicBezTo>
                  <a:cubicBezTo>
                    <a:pt x="165" y="97"/>
                    <a:pt x="167" y="110"/>
                    <a:pt x="167" y="110"/>
                  </a:cubicBezTo>
                  <a:cubicBezTo>
                    <a:pt x="176" y="107"/>
                    <a:pt x="176" y="107"/>
                    <a:pt x="176" y="107"/>
                  </a:cubicBezTo>
                  <a:cubicBezTo>
                    <a:pt x="178" y="111"/>
                    <a:pt x="178" y="111"/>
                    <a:pt x="178" y="111"/>
                  </a:cubicBezTo>
                  <a:cubicBezTo>
                    <a:pt x="175" y="117"/>
                    <a:pt x="175" y="117"/>
                    <a:pt x="175" y="117"/>
                  </a:cubicBezTo>
                  <a:cubicBezTo>
                    <a:pt x="183" y="127"/>
                    <a:pt x="183" y="127"/>
                    <a:pt x="183" y="127"/>
                  </a:cubicBezTo>
                  <a:cubicBezTo>
                    <a:pt x="183" y="127"/>
                    <a:pt x="188" y="120"/>
                    <a:pt x="194" y="116"/>
                  </a:cubicBezTo>
                  <a:cubicBezTo>
                    <a:pt x="200" y="112"/>
                    <a:pt x="207" y="98"/>
                    <a:pt x="207" y="98"/>
                  </a:cubicBezTo>
                  <a:cubicBezTo>
                    <a:pt x="207" y="98"/>
                    <a:pt x="214" y="107"/>
                    <a:pt x="215" y="107"/>
                  </a:cubicBezTo>
                  <a:cubicBezTo>
                    <a:pt x="216" y="107"/>
                    <a:pt x="226" y="105"/>
                    <a:pt x="226" y="105"/>
                  </a:cubicBezTo>
                  <a:cubicBezTo>
                    <a:pt x="235" y="114"/>
                    <a:pt x="235" y="114"/>
                    <a:pt x="235" y="114"/>
                  </a:cubicBezTo>
                  <a:cubicBezTo>
                    <a:pt x="239" y="121"/>
                    <a:pt x="239" y="121"/>
                    <a:pt x="239" y="121"/>
                  </a:cubicBezTo>
                  <a:cubicBezTo>
                    <a:pt x="249" y="123"/>
                    <a:pt x="249" y="123"/>
                    <a:pt x="249" y="123"/>
                  </a:cubicBezTo>
                  <a:cubicBezTo>
                    <a:pt x="258" y="130"/>
                    <a:pt x="258" y="130"/>
                    <a:pt x="258" y="130"/>
                  </a:cubicBezTo>
                  <a:cubicBezTo>
                    <a:pt x="263" y="122"/>
                    <a:pt x="263" y="122"/>
                    <a:pt x="263" y="122"/>
                  </a:cubicBezTo>
                  <a:cubicBezTo>
                    <a:pt x="263" y="122"/>
                    <a:pt x="277" y="127"/>
                    <a:pt x="283" y="125"/>
                  </a:cubicBezTo>
                  <a:cubicBezTo>
                    <a:pt x="289" y="122"/>
                    <a:pt x="291" y="117"/>
                    <a:pt x="291" y="117"/>
                  </a:cubicBezTo>
                  <a:cubicBezTo>
                    <a:pt x="302" y="117"/>
                    <a:pt x="302" y="117"/>
                    <a:pt x="302" y="117"/>
                  </a:cubicBezTo>
                  <a:cubicBezTo>
                    <a:pt x="302" y="117"/>
                    <a:pt x="306" y="103"/>
                    <a:pt x="311" y="101"/>
                  </a:cubicBezTo>
                  <a:cubicBezTo>
                    <a:pt x="316" y="100"/>
                    <a:pt x="323" y="96"/>
                    <a:pt x="324" y="96"/>
                  </a:cubicBezTo>
                  <a:cubicBezTo>
                    <a:pt x="324" y="96"/>
                    <a:pt x="334" y="101"/>
                    <a:pt x="334" y="101"/>
                  </a:cubicBezTo>
                  <a:cubicBezTo>
                    <a:pt x="342" y="97"/>
                    <a:pt x="342" y="97"/>
                    <a:pt x="342" y="97"/>
                  </a:cubicBezTo>
                  <a:cubicBezTo>
                    <a:pt x="370" y="97"/>
                    <a:pt x="370" y="97"/>
                    <a:pt x="370" y="97"/>
                  </a:cubicBezTo>
                  <a:cubicBezTo>
                    <a:pt x="377" y="86"/>
                    <a:pt x="377" y="76"/>
                    <a:pt x="377" y="76"/>
                  </a:cubicBezTo>
                  <a:lnTo>
                    <a:pt x="375" y="6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4" name="Freeform 342">
              <a:extLst>
                <a:ext uri="{FF2B5EF4-FFF2-40B4-BE49-F238E27FC236}">
                  <a16:creationId xmlns:a16="http://schemas.microsoft.com/office/drawing/2014/main" id="{3CAE86E9-7946-4CDA-8631-F20C3363A0FF}"/>
                </a:ext>
              </a:extLst>
            </p:cNvPr>
            <p:cNvSpPr>
              <a:spLocks noChangeAspect="1"/>
            </p:cNvSpPr>
            <p:nvPr/>
          </p:nvSpPr>
          <p:spPr bwMode="auto">
            <a:xfrm>
              <a:off x="14426" y="1902"/>
              <a:ext cx="375" cy="203"/>
            </a:xfrm>
            <a:custGeom>
              <a:avLst/>
              <a:gdLst/>
              <a:ahLst/>
              <a:cxnLst>
                <a:cxn ang="0">
                  <a:pos x="109" y="101"/>
                </a:cxn>
                <a:cxn ang="0">
                  <a:pos x="184" y="7"/>
                </a:cxn>
                <a:cxn ang="0">
                  <a:pos x="188" y="1"/>
                </a:cxn>
                <a:cxn ang="0">
                  <a:pos x="160" y="1"/>
                </a:cxn>
                <a:cxn ang="0">
                  <a:pos x="152" y="5"/>
                </a:cxn>
                <a:cxn ang="0">
                  <a:pos x="142" y="0"/>
                </a:cxn>
                <a:cxn ang="0">
                  <a:pos x="129" y="5"/>
                </a:cxn>
                <a:cxn ang="0">
                  <a:pos x="120" y="21"/>
                </a:cxn>
                <a:cxn ang="0">
                  <a:pos x="109" y="21"/>
                </a:cxn>
                <a:cxn ang="0">
                  <a:pos x="101" y="29"/>
                </a:cxn>
                <a:cxn ang="0">
                  <a:pos x="81" y="26"/>
                </a:cxn>
                <a:cxn ang="0">
                  <a:pos x="76" y="34"/>
                </a:cxn>
                <a:cxn ang="0">
                  <a:pos x="67" y="27"/>
                </a:cxn>
                <a:cxn ang="0">
                  <a:pos x="57" y="25"/>
                </a:cxn>
                <a:cxn ang="0">
                  <a:pos x="53" y="18"/>
                </a:cxn>
                <a:cxn ang="0">
                  <a:pos x="44" y="9"/>
                </a:cxn>
                <a:cxn ang="0">
                  <a:pos x="33" y="11"/>
                </a:cxn>
                <a:cxn ang="0">
                  <a:pos x="25" y="2"/>
                </a:cxn>
                <a:cxn ang="0">
                  <a:pos x="12" y="20"/>
                </a:cxn>
                <a:cxn ang="0">
                  <a:pos x="1" y="31"/>
                </a:cxn>
                <a:cxn ang="0">
                  <a:pos x="0" y="30"/>
                </a:cxn>
                <a:cxn ang="0">
                  <a:pos x="0" y="36"/>
                </a:cxn>
                <a:cxn ang="0">
                  <a:pos x="12" y="40"/>
                </a:cxn>
                <a:cxn ang="0">
                  <a:pos x="12" y="45"/>
                </a:cxn>
                <a:cxn ang="0">
                  <a:pos x="26" y="47"/>
                </a:cxn>
                <a:cxn ang="0">
                  <a:pos x="42" y="57"/>
                </a:cxn>
                <a:cxn ang="0">
                  <a:pos x="52" y="59"/>
                </a:cxn>
                <a:cxn ang="0">
                  <a:pos x="63" y="67"/>
                </a:cxn>
                <a:cxn ang="0">
                  <a:pos x="74" y="72"/>
                </a:cxn>
                <a:cxn ang="0">
                  <a:pos x="80" y="84"/>
                </a:cxn>
                <a:cxn ang="0">
                  <a:pos x="98" y="88"/>
                </a:cxn>
                <a:cxn ang="0">
                  <a:pos x="102" y="94"/>
                </a:cxn>
                <a:cxn ang="0">
                  <a:pos x="102" y="100"/>
                </a:cxn>
                <a:cxn ang="0">
                  <a:pos x="109" y="101"/>
                </a:cxn>
              </a:cxnLst>
              <a:rect l="0" t="0" r="r" b="b"/>
              <a:pathLst>
                <a:path w="188" h="101">
                  <a:moveTo>
                    <a:pt x="109" y="101"/>
                  </a:moveTo>
                  <a:cubicBezTo>
                    <a:pt x="109" y="101"/>
                    <a:pt x="174" y="21"/>
                    <a:pt x="184" y="7"/>
                  </a:cubicBezTo>
                  <a:cubicBezTo>
                    <a:pt x="186" y="5"/>
                    <a:pt x="187" y="3"/>
                    <a:pt x="188" y="1"/>
                  </a:cubicBezTo>
                  <a:cubicBezTo>
                    <a:pt x="160" y="1"/>
                    <a:pt x="160" y="1"/>
                    <a:pt x="160" y="1"/>
                  </a:cubicBezTo>
                  <a:cubicBezTo>
                    <a:pt x="152" y="5"/>
                    <a:pt x="152" y="5"/>
                    <a:pt x="152" y="5"/>
                  </a:cubicBezTo>
                  <a:cubicBezTo>
                    <a:pt x="152" y="5"/>
                    <a:pt x="142" y="0"/>
                    <a:pt x="142" y="0"/>
                  </a:cubicBezTo>
                  <a:cubicBezTo>
                    <a:pt x="141" y="0"/>
                    <a:pt x="134" y="4"/>
                    <a:pt x="129" y="5"/>
                  </a:cubicBezTo>
                  <a:cubicBezTo>
                    <a:pt x="124" y="7"/>
                    <a:pt x="120" y="21"/>
                    <a:pt x="120" y="21"/>
                  </a:cubicBezTo>
                  <a:cubicBezTo>
                    <a:pt x="109" y="21"/>
                    <a:pt x="109" y="21"/>
                    <a:pt x="109" y="21"/>
                  </a:cubicBezTo>
                  <a:cubicBezTo>
                    <a:pt x="109" y="21"/>
                    <a:pt x="107" y="26"/>
                    <a:pt x="101" y="29"/>
                  </a:cubicBezTo>
                  <a:cubicBezTo>
                    <a:pt x="95" y="31"/>
                    <a:pt x="81" y="26"/>
                    <a:pt x="81" y="26"/>
                  </a:cubicBezTo>
                  <a:cubicBezTo>
                    <a:pt x="76" y="34"/>
                    <a:pt x="76" y="34"/>
                    <a:pt x="76" y="34"/>
                  </a:cubicBezTo>
                  <a:cubicBezTo>
                    <a:pt x="67" y="27"/>
                    <a:pt x="67" y="27"/>
                    <a:pt x="67" y="27"/>
                  </a:cubicBezTo>
                  <a:cubicBezTo>
                    <a:pt x="57" y="25"/>
                    <a:pt x="57" y="25"/>
                    <a:pt x="57" y="25"/>
                  </a:cubicBezTo>
                  <a:cubicBezTo>
                    <a:pt x="53" y="18"/>
                    <a:pt x="53" y="18"/>
                    <a:pt x="53" y="18"/>
                  </a:cubicBezTo>
                  <a:cubicBezTo>
                    <a:pt x="44" y="9"/>
                    <a:pt x="44" y="9"/>
                    <a:pt x="44" y="9"/>
                  </a:cubicBezTo>
                  <a:cubicBezTo>
                    <a:pt x="44" y="9"/>
                    <a:pt x="34" y="11"/>
                    <a:pt x="33" y="11"/>
                  </a:cubicBezTo>
                  <a:cubicBezTo>
                    <a:pt x="32" y="11"/>
                    <a:pt x="25" y="2"/>
                    <a:pt x="25" y="2"/>
                  </a:cubicBezTo>
                  <a:cubicBezTo>
                    <a:pt x="25" y="2"/>
                    <a:pt x="18" y="16"/>
                    <a:pt x="12" y="20"/>
                  </a:cubicBezTo>
                  <a:cubicBezTo>
                    <a:pt x="6" y="24"/>
                    <a:pt x="1" y="31"/>
                    <a:pt x="1" y="31"/>
                  </a:cubicBezTo>
                  <a:cubicBezTo>
                    <a:pt x="0" y="30"/>
                    <a:pt x="0" y="30"/>
                    <a:pt x="0" y="30"/>
                  </a:cubicBezTo>
                  <a:cubicBezTo>
                    <a:pt x="0" y="36"/>
                    <a:pt x="0" y="36"/>
                    <a:pt x="0" y="36"/>
                  </a:cubicBezTo>
                  <a:cubicBezTo>
                    <a:pt x="0" y="36"/>
                    <a:pt x="12" y="36"/>
                    <a:pt x="12" y="40"/>
                  </a:cubicBezTo>
                  <a:cubicBezTo>
                    <a:pt x="12" y="44"/>
                    <a:pt x="12" y="45"/>
                    <a:pt x="12" y="45"/>
                  </a:cubicBezTo>
                  <a:cubicBezTo>
                    <a:pt x="12" y="45"/>
                    <a:pt x="21" y="45"/>
                    <a:pt x="26" y="47"/>
                  </a:cubicBezTo>
                  <a:cubicBezTo>
                    <a:pt x="31" y="50"/>
                    <a:pt x="42" y="57"/>
                    <a:pt x="42" y="57"/>
                  </a:cubicBezTo>
                  <a:cubicBezTo>
                    <a:pt x="52" y="59"/>
                    <a:pt x="52" y="59"/>
                    <a:pt x="52" y="59"/>
                  </a:cubicBezTo>
                  <a:cubicBezTo>
                    <a:pt x="52" y="59"/>
                    <a:pt x="57" y="66"/>
                    <a:pt x="63" y="67"/>
                  </a:cubicBezTo>
                  <a:cubicBezTo>
                    <a:pt x="68" y="69"/>
                    <a:pt x="74" y="72"/>
                    <a:pt x="74" y="72"/>
                  </a:cubicBezTo>
                  <a:cubicBezTo>
                    <a:pt x="74" y="72"/>
                    <a:pt x="72" y="79"/>
                    <a:pt x="80" y="84"/>
                  </a:cubicBezTo>
                  <a:cubicBezTo>
                    <a:pt x="88" y="88"/>
                    <a:pt x="98" y="88"/>
                    <a:pt x="98" y="88"/>
                  </a:cubicBezTo>
                  <a:cubicBezTo>
                    <a:pt x="98" y="88"/>
                    <a:pt x="103" y="94"/>
                    <a:pt x="102" y="94"/>
                  </a:cubicBezTo>
                  <a:cubicBezTo>
                    <a:pt x="102" y="94"/>
                    <a:pt x="102" y="97"/>
                    <a:pt x="102" y="100"/>
                  </a:cubicBezTo>
                  <a:cubicBezTo>
                    <a:pt x="106" y="99"/>
                    <a:pt x="109" y="101"/>
                    <a:pt x="109" y="101"/>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5" name="Freeform 344">
              <a:extLst>
                <a:ext uri="{FF2B5EF4-FFF2-40B4-BE49-F238E27FC236}">
                  <a16:creationId xmlns:a16="http://schemas.microsoft.com/office/drawing/2014/main" id="{F0485E8C-72C4-4606-9323-6E1083590969}"/>
                </a:ext>
              </a:extLst>
            </p:cNvPr>
            <p:cNvSpPr>
              <a:spLocks noChangeAspect="1"/>
            </p:cNvSpPr>
            <p:nvPr/>
          </p:nvSpPr>
          <p:spPr bwMode="auto">
            <a:xfrm>
              <a:off x="14426" y="1984"/>
              <a:ext cx="206" cy="251"/>
            </a:xfrm>
            <a:custGeom>
              <a:avLst/>
              <a:gdLst/>
              <a:ahLst/>
              <a:cxnLst>
                <a:cxn ang="0">
                  <a:pos x="102" y="59"/>
                </a:cxn>
                <a:cxn ang="0">
                  <a:pos x="102" y="53"/>
                </a:cxn>
                <a:cxn ang="0">
                  <a:pos x="98" y="47"/>
                </a:cxn>
                <a:cxn ang="0">
                  <a:pos x="80" y="43"/>
                </a:cxn>
                <a:cxn ang="0">
                  <a:pos x="74" y="31"/>
                </a:cxn>
                <a:cxn ang="0">
                  <a:pos x="63" y="26"/>
                </a:cxn>
                <a:cxn ang="0">
                  <a:pos x="52" y="18"/>
                </a:cxn>
                <a:cxn ang="0">
                  <a:pos x="42" y="16"/>
                </a:cxn>
                <a:cxn ang="0">
                  <a:pos x="26" y="6"/>
                </a:cxn>
                <a:cxn ang="0">
                  <a:pos x="12" y="4"/>
                </a:cxn>
                <a:cxn ang="0">
                  <a:pos x="12" y="0"/>
                </a:cxn>
                <a:cxn ang="0">
                  <a:pos x="8" y="5"/>
                </a:cxn>
                <a:cxn ang="0">
                  <a:pos x="12" y="9"/>
                </a:cxn>
                <a:cxn ang="0">
                  <a:pos x="7" y="13"/>
                </a:cxn>
                <a:cxn ang="0">
                  <a:pos x="12" y="19"/>
                </a:cxn>
                <a:cxn ang="0">
                  <a:pos x="13" y="27"/>
                </a:cxn>
                <a:cxn ang="0">
                  <a:pos x="21" y="31"/>
                </a:cxn>
                <a:cxn ang="0">
                  <a:pos x="31" y="40"/>
                </a:cxn>
                <a:cxn ang="0">
                  <a:pos x="28" y="51"/>
                </a:cxn>
                <a:cxn ang="0">
                  <a:pos x="19" y="56"/>
                </a:cxn>
                <a:cxn ang="0">
                  <a:pos x="24" y="62"/>
                </a:cxn>
                <a:cxn ang="0">
                  <a:pos x="23" y="70"/>
                </a:cxn>
                <a:cxn ang="0">
                  <a:pos x="13" y="76"/>
                </a:cxn>
                <a:cxn ang="0">
                  <a:pos x="7" y="70"/>
                </a:cxn>
                <a:cxn ang="0">
                  <a:pos x="0" y="72"/>
                </a:cxn>
                <a:cxn ang="0">
                  <a:pos x="1" y="88"/>
                </a:cxn>
                <a:cxn ang="0">
                  <a:pos x="4" y="95"/>
                </a:cxn>
                <a:cxn ang="0">
                  <a:pos x="10" y="102"/>
                </a:cxn>
                <a:cxn ang="0">
                  <a:pos x="10" y="114"/>
                </a:cxn>
                <a:cxn ang="0">
                  <a:pos x="21" y="116"/>
                </a:cxn>
                <a:cxn ang="0">
                  <a:pos x="26" y="124"/>
                </a:cxn>
                <a:cxn ang="0">
                  <a:pos x="49" y="125"/>
                </a:cxn>
                <a:cxn ang="0">
                  <a:pos x="89" y="66"/>
                </a:cxn>
                <a:cxn ang="0">
                  <a:pos x="102" y="59"/>
                </a:cxn>
              </a:cxnLst>
              <a:rect l="0" t="0" r="r" b="b"/>
              <a:pathLst>
                <a:path w="103" h="125">
                  <a:moveTo>
                    <a:pt x="102" y="59"/>
                  </a:moveTo>
                  <a:cubicBezTo>
                    <a:pt x="102" y="56"/>
                    <a:pt x="102" y="53"/>
                    <a:pt x="102" y="53"/>
                  </a:cubicBezTo>
                  <a:cubicBezTo>
                    <a:pt x="103" y="53"/>
                    <a:pt x="98" y="47"/>
                    <a:pt x="98" y="47"/>
                  </a:cubicBezTo>
                  <a:cubicBezTo>
                    <a:pt x="98" y="47"/>
                    <a:pt x="88" y="47"/>
                    <a:pt x="80" y="43"/>
                  </a:cubicBezTo>
                  <a:cubicBezTo>
                    <a:pt x="72" y="38"/>
                    <a:pt x="74" y="31"/>
                    <a:pt x="74" y="31"/>
                  </a:cubicBezTo>
                  <a:cubicBezTo>
                    <a:pt x="74" y="31"/>
                    <a:pt x="68" y="28"/>
                    <a:pt x="63" y="26"/>
                  </a:cubicBezTo>
                  <a:cubicBezTo>
                    <a:pt x="57" y="25"/>
                    <a:pt x="52" y="18"/>
                    <a:pt x="52" y="18"/>
                  </a:cubicBezTo>
                  <a:cubicBezTo>
                    <a:pt x="42" y="16"/>
                    <a:pt x="42" y="16"/>
                    <a:pt x="42" y="16"/>
                  </a:cubicBezTo>
                  <a:cubicBezTo>
                    <a:pt x="42" y="16"/>
                    <a:pt x="31" y="9"/>
                    <a:pt x="26" y="6"/>
                  </a:cubicBezTo>
                  <a:cubicBezTo>
                    <a:pt x="21" y="4"/>
                    <a:pt x="12" y="4"/>
                    <a:pt x="12" y="4"/>
                  </a:cubicBezTo>
                  <a:cubicBezTo>
                    <a:pt x="12" y="4"/>
                    <a:pt x="12" y="3"/>
                    <a:pt x="12" y="0"/>
                  </a:cubicBezTo>
                  <a:cubicBezTo>
                    <a:pt x="8" y="5"/>
                    <a:pt x="8" y="5"/>
                    <a:pt x="8" y="5"/>
                  </a:cubicBezTo>
                  <a:cubicBezTo>
                    <a:pt x="12" y="9"/>
                    <a:pt x="12" y="9"/>
                    <a:pt x="12" y="9"/>
                  </a:cubicBezTo>
                  <a:cubicBezTo>
                    <a:pt x="7" y="13"/>
                    <a:pt x="7" y="13"/>
                    <a:pt x="7" y="13"/>
                  </a:cubicBezTo>
                  <a:cubicBezTo>
                    <a:pt x="12" y="19"/>
                    <a:pt x="12" y="19"/>
                    <a:pt x="12" y="19"/>
                  </a:cubicBezTo>
                  <a:cubicBezTo>
                    <a:pt x="13" y="27"/>
                    <a:pt x="13" y="27"/>
                    <a:pt x="13" y="27"/>
                  </a:cubicBezTo>
                  <a:cubicBezTo>
                    <a:pt x="21" y="31"/>
                    <a:pt x="21" y="31"/>
                    <a:pt x="21" y="31"/>
                  </a:cubicBezTo>
                  <a:cubicBezTo>
                    <a:pt x="31" y="40"/>
                    <a:pt x="31" y="40"/>
                    <a:pt x="31" y="40"/>
                  </a:cubicBezTo>
                  <a:cubicBezTo>
                    <a:pt x="28" y="51"/>
                    <a:pt x="28" y="51"/>
                    <a:pt x="28" y="51"/>
                  </a:cubicBezTo>
                  <a:cubicBezTo>
                    <a:pt x="19" y="56"/>
                    <a:pt x="19" y="56"/>
                    <a:pt x="19" y="56"/>
                  </a:cubicBezTo>
                  <a:cubicBezTo>
                    <a:pt x="24" y="62"/>
                    <a:pt x="24" y="62"/>
                    <a:pt x="24" y="62"/>
                  </a:cubicBezTo>
                  <a:cubicBezTo>
                    <a:pt x="23" y="70"/>
                    <a:pt x="23" y="70"/>
                    <a:pt x="23" y="70"/>
                  </a:cubicBezTo>
                  <a:cubicBezTo>
                    <a:pt x="13" y="76"/>
                    <a:pt x="13" y="76"/>
                    <a:pt x="13" y="76"/>
                  </a:cubicBezTo>
                  <a:cubicBezTo>
                    <a:pt x="7" y="70"/>
                    <a:pt x="7" y="70"/>
                    <a:pt x="7" y="70"/>
                  </a:cubicBezTo>
                  <a:cubicBezTo>
                    <a:pt x="0" y="72"/>
                    <a:pt x="0" y="72"/>
                    <a:pt x="0" y="72"/>
                  </a:cubicBezTo>
                  <a:cubicBezTo>
                    <a:pt x="1" y="88"/>
                    <a:pt x="1" y="88"/>
                    <a:pt x="1" y="88"/>
                  </a:cubicBezTo>
                  <a:cubicBezTo>
                    <a:pt x="1" y="88"/>
                    <a:pt x="4" y="93"/>
                    <a:pt x="4" y="95"/>
                  </a:cubicBezTo>
                  <a:cubicBezTo>
                    <a:pt x="4" y="98"/>
                    <a:pt x="10" y="102"/>
                    <a:pt x="10" y="102"/>
                  </a:cubicBezTo>
                  <a:cubicBezTo>
                    <a:pt x="10" y="114"/>
                    <a:pt x="10" y="114"/>
                    <a:pt x="10" y="114"/>
                  </a:cubicBezTo>
                  <a:cubicBezTo>
                    <a:pt x="21" y="116"/>
                    <a:pt x="21" y="116"/>
                    <a:pt x="21" y="116"/>
                  </a:cubicBezTo>
                  <a:cubicBezTo>
                    <a:pt x="26" y="124"/>
                    <a:pt x="26" y="124"/>
                    <a:pt x="26" y="124"/>
                  </a:cubicBezTo>
                  <a:cubicBezTo>
                    <a:pt x="49" y="125"/>
                    <a:pt x="49" y="125"/>
                    <a:pt x="49" y="125"/>
                  </a:cubicBezTo>
                  <a:cubicBezTo>
                    <a:pt x="64" y="100"/>
                    <a:pt x="82" y="74"/>
                    <a:pt x="89" y="66"/>
                  </a:cubicBezTo>
                  <a:cubicBezTo>
                    <a:pt x="94" y="61"/>
                    <a:pt x="98" y="59"/>
                    <a:pt x="102" y="59"/>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6" name="Freeform 323">
              <a:extLst>
                <a:ext uri="{FF2B5EF4-FFF2-40B4-BE49-F238E27FC236}">
                  <a16:creationId xmlns:a16="http://schemas.microsoft.com/office/drawing/2014/main" id="{8F331686-52A3-4712-9D91-BE469EBE1568}"/>
                </a:ext>
              </a:extLst>
            </p:cNvPr>
            <p:cNvSpPr>
              <a:spLocks noChangeAspect="1"/>
            </p:cNvSpPr>
            <p:nvPr/>
          </p:nvSpPr>
          <p:spPr bwMode="auto">
            <a:xfrm>
              <a:off x="11921" y="523"/>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37" name="Freeform 324">
              <a:extLst>
                <a:ext uri="{FF2B5EF4-FFF2-40B4-BE49-F238E27FC236}">
                  <a16:creationId xmlns:a16="http://schemas.microsoft.com/office/drawing/2014/main" id="{1A0300CB-D2C5-4F19-8EB2-A1D8CC450A2B}"/>
                </a:ext>
              </a:extLst>
            </p:cNvPr>
            <p:cNvSpPr>
              <a:spLocks noChangeAspect="1"/>
            </p:cNvSpPr>
            <p:nvPr/>
          </p:nvSpPr>
          <p:spPr bwMode="auto">
            <a:xfrm>
              <a:off x="12909" y="1460"/>
              <a:ext cx="621" cy="1009"/>
            </a:xfrm>
            <a:custGeom>
              <a:avLst/>
              <a:gdLst/>
              <a:ahLst/>
              <a:cxnLst>
                <a:cxn ang="0">
                  <a:pos x="9" y="363"/>
                </a:cxn>
                <a:cxn ang="0">
                  <a:pos x="2" y="400"/>
                </a:cxn>
                <a:cxn ang="0">
                  <a:pos x="8" y="434"/>
                </a:cxn>
                <a:cxn ang="0">
                  <a:pos x="39" y="437"/>
                </a:cxn>
                <a:cxn ang="0">
                  <a:pos x="52" y="473"/>
                </a:cxn>
                <a:cxn ang="0">
                  <a:pos x="100" y="461"/>
                </a:cxn>
                <a:cxn ang="0">
                  <a:pos x="118" y="465"/>
                </a:cxn>
                <a:cxn ang="0">
                  <a:pos x="129" y="491"/>
                </a:cxn>
                <a:cxn ang="0">
                  <a:pos x="141" y="495"/>
                </a:cxn>
                <a:cxn ang="0">
                  <a:pos x="160" y="493"/>
                </a:cxn>
                <a:cxn ang="0">
                  <a:pos x="187" y="504"/>
                </a:cxn>
                <a:cxn ang="0">
                  <a:pos x="189" y="480"/>
                </a:cxn>
                <a:cxn ang="0">
                  <a:pos x="212" y="483"/>
                </a:cxn>
                <a:cxn ang="0">
                  <a:pos x="237" y="473"/>
                </a:cxn>
                <a:cxn ang="0">
                  <a:pos x="264" y="468"/>
                </a:cxn>
                <a:cxn ang="0">
                  <a:pos x="264" y="429"/>
                </a:cxn>
                <a:cxn ang="0">
                  <a:pos x="278" y="407"/>
                </a:cxn>
                <a:cxn ang="0">
                  <a:pos x="279" y="390"/>
                </a:cxn>
                <a:cxn ang="0">
                  <a:pos x="249" y="370"/>
                </a:cxn>
                <a:cxn ang="0">
                  <a:pos x="272" y="329"/>
                </a:cxn>
                <a:cxn ang="0">
                  <a:pos x="310" y="309"/>
                </a:cxn>
                <a:cxn ang="0">
                  <a:pos x="293" y="311"/>
                </a:cxn>
                <a:cxn ang="0">
                  <a:pos x="264" y="301"/>
                </a:cxn>
                <a:cxn ang="0">
                  <a:pos x="248" y="280"/>
                </a:cxn>
                <a:cxn ang="0">
                  <a:pos x="240" y="254"/>
                </a:cxn>
                <a:cxn ang="0">
                  <a:pos x="221" y="236"/>
                </a:cxn>
                <a:cxn ang="0">
                  <a:pos x="238" y="201"/>
                </a:cxn>
                <a:cxn ang="0">
                  <a:pos x="258" y="170"/>
                </a:cxn>
                <a:cxn ang="0">
                  <a:pos x="179" y="124"/>
                </a:cxn>
                <a:cxn ang="0">
                  <a:pos x="204" y="68"/>
                </a:cxn>
                <a:cxn ang="0">
                  <a:pos x="175" y="14"/>
                </a:cxn>
                <a:cxn ang="0">
                  <a:pos x="161" y="11"/>
                </a:cxn>
                <a:cxn ang="0">
                  <a:pos x="130" y="14"/>
                </a:cxn>
                <a:cxn ang="0">
                  <a:pos x="119" y="14"/>
                </a:cxn>
                <a:cxn ang="0">
                  <a:pos x="146" y="23"/>
                </a:cxn>
                <a:cxn ang="0">
                  <a:pos x="152" y="40"/>
                </a:cxn>
                <a:cxn ang="0">
                  <a:pos x="143" y="51"/>
                </a:cxn>
                <a:cxn ang="0">
                  <a:pos x="140" y="63"/>
                </a:cxn>
                <a:cxn ang="0">
                  <a:pos x="130" y="79"/>
                </a:cxn>
                <a:cxn ang="0">
                  <a:pos x="106" y="97"/>
                </a:cxn>
                <a:cxn ang="0">
                  <a:pos x="96" y="130"/>
                </a:cxn>
                <a:cxn ang="0">
                  <a:pos x="86" y="149"/>
                </a:cxn>
                <a:cxn ang="0">
                  <a:pos x="91" y="173"/>
                </a:cxn>
                <a:cxn ang="0">
                  <a:pos x="69" y="222"/>
                </a:cxn>
                <a:cxn ang="0">
                  <a:pos x="53" y="240"/>
                </a:cxn>
                <a:cxn ang="0">
                  <a:pos x="31" y="283"/>
                </a:cxn>
                <a:cxn ang="0">
                  <a:pos x="10" y="332"/>
                </a:cxn>
              </a:cxnLst>
              <a:rect l="0" t="0" r="r" b="b"/>
              <a:pathLst>
                <a:path w="310" h="504">
                  <a:moveTo>
                    <a:pt x="10" y="332"/>
                  </a:moveTo>
                  <a:cubicBezTo>
                    <a:pt x="7" y="343"/>
                    <a:pt x="9" y="363"/>
                    <a:pt x="9" y="363"/>
                  </a:cubicBezTo>
                  <a:cubicBezTo>
                    <a:pt x="0" y="375"/>
                    <a:pt x="0" y="375"/>
                    <a:pt x="0" y="375"/>
                  </a:cubicBezTo>
                  <a:cubicBezTo>
                    <a:pt x="2" y="400"/>
                    <a:pt x="2" y="400"/>
                    <a:pt x="2" y="400"/>
                  </a:cubicBezTo>
                  <a:cubicBezTo>
                    <a:pt x="3" y="430"/>
                    <a:pt x="3" y="430"/>
                    <a:pt x="3" y="430"/>
                  </a:cubicBezTo>
                  <a:cubicBezTo>
                    <a:pt x="8" y="434"/>
                    <a:pt x="8" y="434"/>
                    <a:pt x="8" y="434"/>
                  </a:cubicBezTo>
                  <a:cubicBezTo>
                    <a:pt x="11" y="463"/>
                    <a:pt x="11" y="463"/>
                    <a:pt x="11" y="463"/>
                  </a:cubicBezTo>
                  <a:cubicBezTo>
                    <a:pt x="39" y="437"/>
                    <a:pt x="39" y="437"/>
                    <a:pt x="39" y="437"/>
                  </a:cubicBezTo>
                  <a:cubicBezTo>
                    <a:pt x="27" y="468"/>
                    <a:pt x="27" y="468"/>
                    <a:pt x="27" y="468"/>
                  </a:cubicBezTo>
                  <a:cubicBezTo>
                    <a:pt x="52" y="473"/>
                    <a:pt x="52" y="473"/>
                    <a:pt x="52" y="473"/>
                  </a:cubicBezTo>
                  <a:cubicBezTo>
                    <a:pt x="85" y="492"/>
                    <a:pt x="85" y="492"/>
                    <a:pt x="85" y="492"/>
                  </a:cubicBezTo>
                  <a:cubicBezTo>
                    <a:pt x="100" y="461"/>
                    <a:pt x="100" y="461"/>
                    <a:pt x="100" y="461"/>
                  </a:cubicBezTo>
                  <a:cubicBezTo>
                    <a:pt x="108" y="472"/>
                    <a:pt x="108" y="472"/>
                    <a:pt x="108" y="472"/>
                  </a:cubicBezTo>
                  <a:cubicBezTo>
                    <a:pt x="118" y="465"/>
                    <a:pt x="118" y="465"/>
                    <a:pt x="118" y="465"/>
                  </a:cubicBezTo>
                  <a:cubicBezTo>
                    <a:pt x="133" y="481"/>
                    <a:pt x="133" y="481"/>
                    <a:pt x="133" y="481"/>
                  </a:cubicBezTo>
                  <a:cubicBezTo>
                    <a:pt x="129" y="491"/>
                    <a:pt x="129" y="491"/>
                    <a:pt x="129" y="491"/>
                  </a:cubicBezTo>
                  <a:cubicBezTo>
                    <a:pt x="140" y="488"/>
                    <a:pt x="140" y="488"/>
                    <a:pt x="140" y="488"/>
                  </a:cubicBezTo>
                  <a:cubicBezTo>
                    <a:pt x="141" y="495"/>
                    <a:pt x="141" y="495"/>
                    <a:pt x="141" y="495"/>
                  </a:cubicBezTo>
                  <a:cubicBezTo>
                    <a:pt x="152" y="486"/>
                    <a:pt x="152" y="486"/>
                    <a:pt x="152" y="486"/>
                  </a:cubicBezTo>
                  <a:cubicBezTo>
                    <a:pt x="160" y="493"/>
                    <a:pt x="160" y="493"/>
                    <a:pt x="160" y="493"/>
                  </a:cubicBezTo>
                  <a:cubicBezTo>
                    <a:pt x="172" y="492"/>
                    <a:pt x="172" y="492"/>
                    <a:pt x="172" y="492"/>
                  </a:cubicBezTo>
                  <a:cubicBezTo>
                    <a:pt x="187" y="504"/>
                    <a:pt x="187" y="504"/>
                    <a:pt x="187" y="504"/>
                  </a:cubicBezTo>
                  <a:cubicBezTo>
                    <a:pt x="193" y="497"/>
                    <a:pt x="193" y="497"/>
                    <a:pt x="193" y="497"/>
                  </a:cubicBezTo>
                  <a:cubicBezTo>
                    <a:pt x="189" y="480"/>
                    <a:pt x="189" y="480"/>
                    <a:pt x="189" y="480"/>
                  </a:cubicBezTo>
                  <a:cubicBezTo>
                    <a:pt x="205" y="489"/>
                    <a:pt x="205" y="489"/>
                    <a:pt x="205" y="489"/>
                  </a:cubicBezTo>
                  <a:cubicBezTo>
                    <a:pt x="212" y="483"/>
                    <a:pt x="212" y="483"/>
                    <a:pt x="212" y="483"/>
                  </a:cubicBezTo>
                  <a:cubicBezTo>
                    <a:pt x="224" y="485"/>
                    <a:pt x="224" y="485"/>
                    <a:pt x="224" y="485"/>
                  </a:cubicBezTo>
                  <a:cubicBezTo>
                    <a:pt x="237" y="473"/>
                    <a:pt x="237" y="473"/>
                    <a:pt x="237" y="473"/>
                  </a:cubicBezTo>
                  <a:cubicBezTo>
                    <a:pt x="266" y="468"/>
                    <a:pt x="266" y="468"/>
                    <a:pt x="266" y="468"/>
                  </a:cubicBezTo>
                  <a:cubicBezTo>
                    <a:pt x="265" y="468"/>
                    <a:pt x="265" y="468"/>
                    <a:pt x="264" y="468"/>
                  </a:cubicBezTo>
                  <a:cubicBezTo>
                    <a:pt x="263" y="468"/>
                    <a:pt x="274" y="453"/>
                    <a:pt x="276" y="444"/>
                  </a:cubicBezTo>
                  <a:cubicBezTo>
                    <a:pt x="279" y="436"/>
                    <a:pt x="264" y="429"/>
                    <a:pt x="264" y="429"/>
                  </a:cubicBezTo>
                  <a:cubicBezTo>
                    <a:pt x="266" y="413"/>
                    <a:pt x="266" y="413"/>
                    <a:pt x="266" y="413"/>
                  </a:cubicBezTo>
                  <a:cubicBezTo>
                    <a:pt x="278" y="407"/>
                    <a:pt x="278" y="407"/>
                    <a:pt x="278" y="407"/>
                  </a:cubicBezTo>
                  <a:cubicBezTo>
                    <a:pt x="268" y="401"/>
                    <a:pt x="268" y="401"/>
                    <a:pt x="268" y="401"/>
                  </a:cubicBezTo>
                  <a:cubicBezTo>
                    <a:pt x="279" y="390"/>
                    <a:pt x="279" y="390"/>
                    <a:pt x="279" y="390"/>
                  </a:cubicBezTo>
                  <a:cubicBezTo>
                    <a:pt x="279" y="390"/>
                    <a:pt x="269" y="387"/>
                    <a:pt x="259" y="386"/>
                  </a:cubicBezTo>
                  <a:cubicBezTo>
                    <a:pt x="250" y="386"/>
                    <a:pt x="249" y="370"/>
                    <a:pt x="249" y="370"/>
                  </a:cubicBezTo>
                  <a:cubicBezTo>
                    <a:pt x="269" y="348"/>
                    <a:pt x="269" y="348"/>
                    <a:pt x="269" y="348"/>
                  </a:cubicBezTo>
                  <a:cubicBezTo>
                    <a:pt x="272" y="329"/>
                    <a:pt x="272" y="329"/>
                    <a:pt x="272" y="329"/>
                  </a:cubicBezTo>
                  <a:cubicBezTo>
                    <a:pt x="272" y="329"/>
                    <a:pt x="275" y="329"/>
                    <a:pt x="281" y="329"/>
                  </a:cubicBezTo>
                  <a:cubicBezTo>
                    <a:pt x="287" y="329"/>
                    <a:pt x="310" y="309"/>
                    <a:pt x="310" y="309"/>
                  </a:cubicBezTo>
                  <a:cubicBezTo>
                    <a:pt x="307" y="301"/>
                    <a:pt x="307" y="301"/>
                    <a:pt x="307" y="301"/>
                  </a:cubicBezTo>
                  <a:cubicBezTo>
                    <a:pt x="293" y="311"/>
                    <a:pt x="293" y="311"/>
                    <a:pt x="293" y="311"/>
                  </a:cubicBezTo>
                  <a:cubicBezTo>
                    <a:pt x="287" y="306"/>
                    <a:pt x="287" y="306"/>
                    <a:pt x="287" y="306"/>
                  </a:cubicBezTo>
                  <a:cubicBezTo>
                    <a:pt x="287" y="306"/>
                    <a:pt x="283" y="310"/>
                    <a:pt x="264" y="301"/>
                  </a:cubicBezTo>
                  <a:cubicBezTo>
                    <a:pt x="244" y="292"/>
                    <a:pt x="258" y="283"/>
                    <a:pt x="258" y="283"/>
                  </a:cubicBezTo>
                  <a:cubicBezTo>
                    <a:pt x="248" y="280"/>
                    <a:pt x="248" y="280"/>
                    <a:pt x="248" y="280"/>
                  </a:cubicBezTo>
                  <a:cubicBezTo>
                    <a:pt x="257" y="267"/>
                    <a:pt x="257" y="267"/>
                    <a:pt x="257" y="267"/>
                  </a:cubicBezTo>
                  <a:cubicBezTo>
                    <a:pt x="240" y="254"/>
                    <a:pt x="240" y="254"/>
                    <a:pt x="240" y="254"/>
                  </a:cubicBezTo>
                  <a:cubicBezTo>
                    <a:pt x="238" y="243"/>
                    <a:pt x="238" y="243"/>
                    <a:pt x="238" y="243"/>
                  </a:cubicBezTo>
                  <a:cubicBezTo>
                    <a:pt x="221" y="236"/>
                    <a:pt x="221" y="236"/>
                    <a:pt x="221" y="236"/>
                  </a:cubicBezTo>
                  <a:cubicBezTo>
                    <a:pt x="233" y="225"/>
                    <a:pt x="233" y="225"/>
                    <a:pt x="233" y="225"/>
                  </a:cubicBezTo>
                  <a:cubicBezTo>
                    <a:pt x="233" y="225"/>
                    <a:pt x="232" y="211"/>
                    <a:pt x="238" y="201"/>
                  </a:cubicBezTo>
                  <a:cubicBezTo>
                    <a:pt x="244" y="192"/>
                    <a:pt x="249" y="195"/>
                    <a:pt x="249" y="195"/>
                  </a:cubicBezTo>
                  <a:cubicBezTo>
                    <a:pt x="249" y="195"/>
                    <a:pt x="263" y="184"/>
                    <a:pt x="258" y="170"/>
                  </a:cubicBezTo>
                  <a:cubicBezTo>
                    <a:pt x="253" y="156"/>
                    <a:pt x="226" y="176"/>
                    <a:pt x="226" y="176"/>
                  </a:cubicBezTo>
                  <a:cubicBezTo>
                    <a:pt x="179" y="124"/>
                    <a:pt x="179" y="124"/>
                    <a:pt x="179" y="124"/>
                  </a:cubicBezTo>
                  <a:cubicBezTo>
                    <a:pt x="179" y="124"/>
                    <a:pt x="183" y="122"/>
                    <a:pt x="189" y="120"/>
                  </a:cubicBezTo>
                  <a:cubicBezTo>
                    <a:pt x="194" y="118"/>
                    <a:pt x="204" y="68"/>
                    <a:pt x="204" y="68"/>
                  </a:cubicBezTo>
                  <a:cubicBezTo>
                    <a:pt x="204" y="68"/>
                    <a:pt x="196" y="22"/>
                    <a:pt x="196" y="20"/>
                  </a:cubicBezTo>
                  <a:cubicBezTo>
                    <a:pt x="196" y="19"/>
                    <a:pt x="175" y="14"/>
                    <a:pt x="175" y="14"/>
                  </a:cubicBezTo>
                  <a:cubicBezTo>
                    <a:pt x="173" y="5"/>
                    <a:pt x="173" y="5"/>
                    <a:pt x="173" y="5"/>
                  </a:cubicBezTo>
                  <a:cubicBezTo>
                    <a:pt x="173" y="5"/>
                    <a:pt x="167" y="9"/>
                    <a:pt x="161" y="11"/>
                  </a:cubicBezTo>
                  <a:cubicBezTo>
                    <a:pt x="155" y="14"/>
                    <a:pt x="144" y="0"/>
                    <a:pt x="144" y="0"/>
                  </a:cubicBezTo>
                  <a:cubicBezTo>
                    <a:pt x="130" y="14"/>
                    <a:pt x="130" y="14"/>
                    <a:pt x="130" y="14"/>
                  </a:cubicBezTo>
                  <a:cubicBezTo>
                    <a:pt x="123" y="10"/>
                    <a:pt x="123" y="10"/>
                    <a:pt x="123" y="10"/>
                  </a:cubicBezTo>
                  <a:cubicBezTo>
                    <a:pt x="120" y="12"/>
                    <a:pt x="119" y="14"/>
                    <a:pt x="119" y="14"/>
                  </a:cubicBezTo>
                  <a:cubicBezTo>
                    <a:pt x="146" y="18"/>
                    <a:pt x="146" y="18"/>
                    <a:pt x="146" y="18"/>
                  </a:cubicBezTo>
                  <a:cubicBezTo>
                    <a:pt x="146" y="23"/>
                    <a:pt x="146" y="23"/>
                    <a:pt x="146" y="23"/>
                  </a:cubicBezTo>
                  <a:cubicBezTo>
                    <a:pt x="159" y="33"/>
                    <a:pt x="159" y="33"/>
                    <a:pt x="159" y="33"/>
                  </a:cubicBezTo>
                  <a:cubicBezTo>
                    <a:pt x="159" y="33"/>
                    <a:pt x="152" y="37"/>
                    <a:pt x="152" y="40"/>
                  </a:cubicBezTo>
                  <a:cubicBezTo>
                    <a:pt x="151" y="44"/>
                    <a:pt x="155" y="50"/>
                    <a:pt x="155" y="50"/>
                  </a:cubicBezTo>
                  <a:cubicBezTo>
                    <a:pt x="143" y="51"/>
                    <a:pt x="143" y="51"/>
                    <a:pt x="143" y="51"/>
                  </a:cubicBezTo>
                  <a:cubicBezTo>
                    <a:pt x="151" y="62"/>
                    <a:pt x="151" y="62"/>
                    <a:pt x="151" y="62"/>
                  </a:cubicBezTo>
                  <a:cubicBezTo>
                    <a:pt x="140" y="63"/>
                    <a:pt x="140" y="63"/>
                    <a:pt x="140" y="63"/>
                  </a:cubicBezTo>
                  <a:cubicBezTo>
                    <a:pt x="140" y="74"/>
                    <a:pt x="140" y="74"/>
                    <a:pt x="140" y="74"/>
                  </a:cubicBezTo>
                  <a:cubicBezTo>
                    <a:pt x="140" y="74"/>
                    <a:pt x="143" y="77"/>
                    <a:pt x="130" y="79"/>
                  </a:cubicBezTo>
                  <a:cubicBezTo>
                    <a:pt x="117" y="81"/>
                    <a:pt x="130" y="87"/>
                    <a:pt x="123" y="93"/>
                  </a:cubicBezTo>
                  <a:cubicBezTo>
                    <a:pt x="116" y="99"/>
                    <a:pt x="106" y="97"/>
                    <a:pt x="106" y="97"/>
                  </a:cubicBezTo>
                  <a:cubicBezTo>
                    <a:pt x="93" y="103"/>
                    <a:pt x="93" y="103"/>
                    <a:pt x="93" y="103"/>
                  </a:cubicBezTo>
                  <a:cubicBezTo>
                    <a:pt x="96" y="130"/>
                    <a:pt x="96" y="130"/>
                    <a:pt x="96" y="130"/>
                  </a:cubicBezTo>
                  <a:cubicBezTo>
                    <a:pt x="86" y="135"/>
                    <a:pt x="86" y="135"/>
                    <a:pt x="86" y="135"/>
                  </a:cubicBezTo>
                  <a:cubicBezTo>
                    <a:pt x="86" y="149"/>
                    <a:pt x="86" y="149"/>
                    <a:pt x="86" y="149"/>
                  </a:cubicBezTo>
                  <a:cubicBezTo>
                    <a:pt x="99" y="162"/>
                    <a:pt x="99" y="162"/>
                    <a:pt x="99" y="162"/>
                  </a:cubicBezTo>
                  <a:cubicBezTo>
                    <a:pt x="91" y="173"/>
                    <a:pt x="91" y="173"/>
                    <a:pt x="91" y="173"/>
                  </a:cubicBezTo>
                  <a:cubicBezTo>
                    <a:pt x="91" y="173"/>
                    <a:pt x="91" y="185"/>
                    <a:pt x="91" y="191"/>
                  </a:cubicBezTo>
                  <a:cubicBezTo>
                    <a:pt x="91" y="197"/>
                    <a:pt x="69" y="222"/>
                    <a:pt x="69" y="222"/>
                  </a:cubicBezTo>
                  <a:cubicBezTo>
                    <a:pt x="66" y="222"/>
                    <a:pt x="66" y="222"/>
                    <a:pt x="66" y="222"/>
                  </a:cubicBezTo>
                  <a:cubicBezTo>
                    <a:pt x="53" y="240"/>
                    <a:pt x="53" y="240"/>
                    <a:pt x="53" y="240"/>
                  </a:cubicBezTo>
                  <a:cubicBezTo>
                    <a:pt x="53" y="240"/>
                    <a:pt x="40" y="255"/>
                    <a:pt x="38" y="270"/>
                  </a:cubicBezTo>
                  <a:cubicBezTo>
                    <a:pt x="37" y="276"/>
                    <a:pt x="34" y="280"/>
                    <a:pt x="31" y="283"/>
                  </a:cubicBezTo>
                  <a:cubicBezTo>
                    <a:pt x="32" y="283"/>
                    <a:pt x="32" y="283"/>
                    <a:pt x="32" y="283"/>
                  </a:cubicBezTo>
                  <a:cubicBezTo>
                    <a:pt x="32" y="283"/>
                    <a:pt x="14" y="321"/>
                    <a:pt x="10" y="332"/>
                  </a:cubicBez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8" name="Freeform 329">
              <a:extLst>
                <a:ext uri="{FF2B5EF4-FFF2-40B4-BE49-F238E27FC236}">
                  <a16:creationId xmlns:a16="http://schemas.microsoft.com/office/drawing/2014/main" id="{26BD73A7-B039-4F6C-BC1D-A2F3214F160B}"/>
                </a:ext>
              </a:extLst>
            </p:cNvPr>
            <p:cNvSpPr>
              <a:spLocks noChangeAspect="1"/>
            </p:cNvSpPr>
            <p:nvPr/>
          </p:nvSpPr>
          <p:spPr bwMode="auto">
            <a:xfrm>
              <a:off x="12081" y="4108"/>
              <a:ext cx="962" cy="802"/>
            </a:xfrm>
            <a:custGeom>
              <a:avLst/>
              <a:gdLst/>
              <a:ahLst/>
              <a:cxnLst>
                <a:cxn ang="0">
                  <a:pos x="455" y="134"/>
                </a:cxn>
                <a:cxn ang="0">
                  <a:pos x="451" y="129"/>
                </a:cxn>
                <a:cxn ang="0">
                  <a:pos x="460" y="123"/>
                </a:cxn>
                <a:cxn ang="0">
                  <a:pos x="462" y="108"/>
                </a:cxn>
                <a:cxn ang="0">
                  <a:pos x="476" y="92"/>
                </a:cxn>
                <a:cxn ang="0">
                  <a:pos x="477" y="83"/>
                </a:cxn>
                <a:cxn ang="0">
                  <a:pos x="429" y="83"/>
                </a:cxn>
                <a:cxn ang="0">
                  <a:pos x="389" y="42"/>
                </a:cxn>
                <a:cxn ang="0">
                  <a:pos x="371" y="23"/>
                </a:cxn>
                <a:cxn ang="0">
                  <a:pos x="352" y="25"/>
                </a:cxn>
                <a:cxn ang="0">
                  <a:pos x="299" y="8"/>
                </a:cxn>
                <a:cxn ang="0">
                  <a:pos x="283" y="9"/>
                </a:cxn>
                <a:cxn ang="0">
                  <a:pos x="276" y="0"/>
                </a:cxn>
                <a:cxn ang="0">
                  <a:pos x="264" y="8"/>
                </a:cxn>
                <a:cxn ang="0">
                  <a:pos x="256" y="0"/>
                </a:cxn>
                <a:cxn ang="0">
                  <a:pos x="246" y="8"/>
                </a:cxn>
                <a:cxn ang="0">
                  <a:pos x="233" y="0"/>
                </a:cxn>
                <a:cxn ang="0">
                  <a:pos x="228" y="7"/>
                </a:cxn>
                <a:cxn ang="0">
                  <a:pos x="206" y="21"/>
                </a:cxn>
                <a:cxn ang="0">
                  <a:pos x="188" y="21"/>
                </a:cxn>
                <a:cxn ang="0">
                  <a:pos x="181" y="31"/>
                </a:cxn>
                <a:cxn ang="0">
                  <a:pos x="172" y="30"/>
                </a:cxn>
                <a:cxn ang="0">
                  <a:pos x="160" y="48"/>
                </a:cxn>
                <a:cxn ang="0">
                  <a:pos x="151" y="47"/>
                </a:cxn>
                <a:cxn ang="0">
                  <a:pos x="111" y="68"/>
                </a:cxn>
                <a:cxn ang="0">
                  <a:pos x="115" y="79"/>
                </a:cxn>
                <a:cxn ang="0">
                  <a:pos x="100" y="82"/>
                </a:cxn>
                <a:cxn ang="0">
                  <a:pos x="74" y="110"/>
                </a:cxn>
                <a:cxn ang="0">
                  <a:pos x="73" y="123"/>
                </a:cxn>
                <a:cxn ang="0">
                  <a:pos x="60" y="123"/>
                </a:cxn>
                <a:cxn ang="0">
                  <a:pos x="54" y="135"/>
                </a:cxn>
                <a:cxn ang="0">
                  <a:pos x="38" y="155"/>
                </a:cxn>
                <a:cxn ang="0">
                  <a:pos x="18" y="166"/>
                </a:cxn>
                <a:cxn ang="0">
                  <a:pos x="17" y="175"/>
                </a:cxn>
                <a:cxn ang="0">
                  <a:pos x="0" y="187"/>
                </a:cxn>
                <a:cxn ang="0">
                  <a:pos x="8" y="195"/>
                </a:cxn>
                <a:cxn ang="0">
                  <a:pos x="25" y="195"/>
                </a:cxn>
                <a:cxn ang="0">
                  <a:pos x="34" y="179"/>
                </a:cxn>
                <a:cxn ang="0">
                  <a:pos x="48" y="181"/>
                </a:cxn>
                <a:cxn ang="0">
                  <a:pos x="97" y="225"/>
                </a:cxn>
                <a:cxn ang="0">
                  <a:pos x="99" y="242"/>
                </a:cxn>
                <a:cxn ang="0">
                  <a:pos x="123" y="226"/>
                </a:cxn>
                <a:cxn ang="0">
                  <a:pos x="145" y="251"/>
                </a:cxn>
                <a:cxn ang="0">
                  <a:pos x="167" y="263"/>
                </a:cxn>
                <a:cxn ang="0">
                  <a:pos x="190" y="264"/>
                </a:cxn>
                <a:cxn ang="0">
                  <a:pos x="191" y="272"/>
                </a:cxn>
                <a:cxn ang="0">
                  <a:pos x="214" y="290"/>
                </a:cxn>
                <a:cxn ang="0">
                  <a:pos x="236" y="305"/>
                </a:cxn>
                <a:cxn ang="0">
                  <a:pos x="245" y="324"/>
                </a:cxn>
                <a:cxn ang="0">
                  <a:pos x="265" y="333"/>
                </a:cxn>
                <a:cxn ang="0">
                  <a:pos x="277" y="342"/>
                </a:cxn>
                <a:cxn ang="0">
                  <a:pos x="247" y="364"/>
                </a:cxn>
                <a:cxn ang="0">
                  <a:pos x="248" y="396"/>
                </a:cxn>
                <a:cxn ang="0">
                  <a:pos x="259" y="400"/>
                </a:cxn>
                <a:cxn ang="0">
                  <a:pos x="301" y="361"/>
                </a:cxn>
                <a:cxn ang="0">
                  <a:pos x="316" y="325"/>
                </a:cxn>
                <a:cxn ang="0">
                  <a:pos x="344" y="295"/>
                </a:cxn>
                <a:cxn ang="0">
                  <a:pos x="393" y="261"/>
                </a:cxn>
                <a:cxn ang="0">
                  <a:pos x="436" y="210"/>
                </a:cxn>
                <a:cxn ang="0">
                  <a:pos x="471" y="142"/>
                </a:cxn>
                <a:cxn ang="0">
                  <a:pos x="476" y="135"/>
                </a:cxn>
                <a:cxn ang="0">
                  <a:pos x="464" y="128"/>
                </a:cxn>
                <a:cxn ang="0">
                  <a:pos x="455" y="134"/>
                </a:cxn>
              </a:cxnLst>
              <a:rect l="0" t="0" r="r" b="b"/>
              <a:pathLst>
                <a:path w="481" h="400">
                  <a:moveTo>
                    <a:pt x="455" y="134"/>
                  </a:moveTo>
                  <a:cubicBezTo>
                    <a:pt x="451" y="129"/>
                    <a:pt x="451" y="129"/>
                    <a:pt x="451" y="129"/>
                  </a:cubicBezTo>
                  <a:cubicBezTo>
                    <a:pt x="460" y="123"/>
                    <a:pt x="460" y="123"/>
                    <a:pt x="460" y="123"/>
                  </a:cubicBezTo>
                  <a:cubicBezTo>
                    <a:pt x="462" y="108"/>
                    <a:pt x="462" y="108"/>
                    <a:pt x="462" y="108"/>
                  </a:cubicBezTo>
                  <a:cubicBezTo>
                    <a:pt x="462" y="108"/>
                    <a:pt x="471" y="94"/>
                    <a:pt x="476" y="92"/>
                  </a:cubicBezTo>
                  <a:cubicBezTo>
                    <a:pt x="481" y="90"/>
                    <a:pt x="477" y="84"/>
                    <a:pt x="477" y="83"/>
                  </a:cubicBezTo>
                  <a:cubicBezTo>
                    <a:pt x="478" y="83"/>
                    <a:pt x="429" y="83"/>
                    <a:pt x="429" y="83"/>
                  </a:cubicBezTo>
                  <a:cubicBezTo>
                    <a:pt x="389" y="42"/>
                    <a:pt x="389" y="42"/>
                    <a:pt x="389" y="42"/>
                  </a:cubicBezTo>
                  <a:cubicBezTo>
                    <a:pt x="389" y="42"/>
                    <a:pt x="380" y="31"/>
                    <a:pt x="371" y="23"/>
                  </a:cubicBezTo>
                  <a:cubicBezTo>
                    <a:pt x="363" y="14"/>
                    <a:pt x="352" y="25"/>
                    <a:pt x="352" y="25"/>
                  </a:cubicBezTo>
                  <a:cubicBezTo>
                    <a:pt x="299" y="8"/>
                    <a:pt x="299" y="8"/>
                    <a:pt x="299" y="8"/>
                  </a:cubicBezTo>
                  <a:cubicBezTo>
                    <a:pt x="299" y="8"/>
                    <a:pt x="284" y="9"/>
                    <a:pt x="283" y="9"/>
                  </a:cubicBezTo>
                  <a:cubicBezTo>
                    <a:pt x="283" y="9"/>
                    <a:pt x="276" y="0"/>
                    <a:pt x="276" y="0"/>
                  </a:cubicBezTo>
                  <a:cubicBezTo>
                    <a:pt x="264" y="8"/>
                    <a:pt x="264" y="8"/>
                    <a:pt x="264" y="8"/>
                  </a:cubicBezTo>
                  <a:cubicBezTo>
                    <a:pt x="256" y="0"/>
                    <a:pt x="256" y="0"/>
                    <a:pt x="256" y="0"/>
                  </a:cubicBezTo>
                  <a:cubicBezTo>
                    <a:pt x="256" y="0"/>
                    <a:pt x="250" y="8"/>
                    <a:pt x="246" y="8"/>
                  </a:cubicBezTo>
                  <a:cubicBezTo>
                    <a:pt x="243" y="8"/>
                    <a:pt x="237" y="4"/>
                    <a:pt x="233" y="0"/>
                  </a:cubicBezTo>
                  <a:cubicBezTo>
                    <a:pt x="232" y="4"/>
                    <a:pt x="230" y="6"/>
                    <a:pt x="228" y="7"/>
                  </a:cubicBezTo>
                  <a:cubicBezTo>
                    <a:pt x="223" y="9"/>
                    <a:pt x="206" y="21"/>
                    <a:pt x="206" y="21"/>
                  </a:cubicBezTo>
                  <a:cubicBezTo>
                    <a:pt x="188" y="21"/>
                    <a:pt x="188" y="21"/>
                    <a:pt x="188" y="21"/>
                  </a:cubicBezTo>
                  <a:cubicBezTo>
                    <a:pt x="181" y="31"/>
                    <a:pt x="181" y="31"/>
                    <a:pt x="181" y="31"/>
                  </a:cubicBezTo>
                  <a:cubicBezTo>
                    <a:pt x="181" y="31"/>
                    <a:pt x="174" y="30"/>
                    <a:pt x="172" y="30"/>
                  </a:cubicBezTo>
                  <a:cubicBezTo>
                    <a:pt x="170" y="31"/>
                    <a:pt x="160" y="47"/>
                    <a:pt x="160" y="48"/>
                  </a:cubicBezTo>
                  <a:cubicBezTo>
                    <a:pt x="160" y="49"/>
                    <a:pt x="159" y="48"/>
                    <a:pt x="151" y="47"/>
                  </a:cubicBezTo>
                  <a:cubicBezTo>
                    <a:pt x="143" y="47"/>
                    <a:pt x="111" y="68"/>
                    <a:pt x="111" y="68"/>
                  </a:cubicBezTo>
                  <a:cubicBezTo>
                    <a:pt x="115" y="79"/>
                    <a:pt x="115" y="79"/>
                    <a:pt x="115" y="79"/>
                  </a:cubicBezTo>
                  <a:cubicBezTo>
                    <a:pt x="115" y="79"/>
                    <a:pt x="101" y="82"/>
                    <a:pt x="100" y="82"/>
                  </a:cubicBezTo>
                  <a:cubicBezTo>
                    <a:pt x="99" y="81"/>
                    <a:pt x="74" y="110"/>
                    <a:pt x="74" y="110"/>
                  </a:cubicBezTo>
                  <a:cubicBezTo>
                    <a:pt x="73" y="123"/>
                    <a:pt x="73" y="123"/>
                    <a:pt x="73" y="123"/>
                  </a:cubicBezTo>
                  <a:cubicBezTo>
                    <a:pt x="60" y="123"/>
                    <a:pt x="60" y="123"/>
                    <a:pt x="60" y="123"/>
                  </a:cubicBezTo>
                  <a:cubicBezTo>
                    <a:pt x="54" y="135"/>
                    <a:pt x="54" y="135"/>
                    <a:pt x="54" y="135"/>
                  </a:cubicBezTo>
                  <a:cubicBezTo>
                    <a:pt x="54" y="135"/>
                    <a:pt x="50" y="142"/>
                    <a:pt x="38" y="155"/>
                  </a:cubicBezTo>
                  <a:cubicBezTo>
                    <a:pt x="26" y="168"/>
                    <a:pt x="18" y="166"/>
                    <a:pt x="18" y="166"/>
                  </a:cubicBezTo>
                  <a:cubicBezTo>
                    <a:pt x="17" y="166"/>
                    <a:pt x="18" y="169"/>
                    <a:pt x="17" y="175"/>
                  </a:cubicBezTo>
                  <a:cubicBezTo>
                    <a:pt x="16" y="181"/>
                    <a:pt x="0" y="187"/>
                    <a:pt x="0" y="187"/>
                  </a:cubicBezTo>
                  <a:cubicBezTo>
                    <a:pt x="8" y="195"/>
                    <a:pt x="8" y="195"/>
                    <a:pt x="8" y="195"/>
                  </a:cubicBezTo>
                  <a:cubicBezTo>
                    <a:pt x="25" y="195"/>
                    <a:pt x="25" y="195"/>
                    <a:pt x="25" y="195"/>
                  </a:cubicBezTo>
                  <a:cubicBezTo>
                    <a:pt x="25" y="195"/>
                    <a:pt x="29" y="183"/>
                    <a:pt x="34" y="179"/>
                  </a:cubicBezTo>
                  <a:cubicBezTo>
                    <a:pt x="39" y="176"/>
                    <a:pt x="48" y="181"/>
                    <a:pt x="48" y="181"/>
                  </a:cubicBezTo>
                  <a:cubicBezTo>
                    <a:pt x="97" y="225"/>
                    <a:pt x="97" y="225"/>
                    <a:pt x="97" y="225"/>
                  </a:cubicBezTo>
                  <a:cubicBezTo>
                    <a:pt x="99" y="242"/>
                    <a:pt x="99" y="242"/>
                    <a:pt x="99" y="242"/>
                  </a:cubicBezTo>
                  <a:cubicBezTo>
                    <a:pt x="123" y="226"/>
                    <a:pt x="123" y="226"/>
                    <a:pt x="123" y="226"/>
                  </a:cubicBezTo>
                  <a:cubicBezTo>
                    <a:pt x="123" y="226"/>
                    <a:pt x="144" y="246"/>
                    <a:pt x="145" y="251"/>
                  </a:cubicBezTo>
                  <a:cubicBezTo>
                    <a:pt x="146" y="256"/>
                    <a:pt x="167" y="263"/>
                    <a:pt x="167" y="263"/>
                  </a:cubicBezTo>
                  <a:cubicBezTo>
                    <a:pt x="190" y="264"/>
                    <a:pt x="190" y="264"/>
                    <a:pt x="190" y="264"/>
                  </a:cubicBezTo>
                  <a:cubicBezTo>
                    <a:pt x="190" y="264"/>
                    <a:pt x="191" y="269"/>
                    <a:pt x="191" y="272"/>
                  </a:cubicBezTo>
                  <a:cubicBezTo>
                    <a:pt x="191" y="275"/>
                    <a:pt x="201" y="284"/>
                    <a:pt x="214" y="290"/>
                  </a:cubicBezTo>
                  <a:cubicBezTo>
                    <a:pt x="228" y="296"/>
                    <a:pt x="235" y="301"/>
                    <a:pt x="236" y="305"/>
                  </a:cubicBezTo>
                  <a:cubicBezTo>
                    <a:pt x="237" y="310"/>
                    <a:pt x="240" y="317"/>
                    <a:pt x="245" y="324"/>
                  </a:cubicBezTo>
                  <a:cubicBezTo>
                    <a:pt x="250" y="331"/>
                    <a:pt x="265" y="333"/>
                    <a:pt x="265" y="333"/>
                  </a:cubicBezTo>
                  <a:cubicBezTo>
                    <a:pt x="277" y="342"/>
                    <a:pt x="277" y="342"/>
                    <a:pt x="277" y="342"/>
                  </a:cubicBezTo>
                  <a:cubicBezTo>
                    <a:pt x="247" y="364"/>
                    <a:pt x="247" y="364"/>
                    <a:pt x="247" y="364"/>
                  </a:cubicBezTo>
                  <a:cubicBezTo>
                    <a:pt x="248" y="396"/>
                    <a:pt x="248" y="396"/>
                    <a:pt x="248" y="396"/>
                  </a:cubicBezTo>
                  <a:cubicBezTo>
                    <a:pt x="259" y="400"/>
                    <a:pt x="259" y="400"/>
                    <a:pt x="259" y="400"/>
                  </a:cubicBezTo>
                  <a:cubicBezTo>
                    <a:pt x="259" y="400"/>
                    <a:pt x="286" y="377"/>
                    <a:pt x="301" y="361"/>
                  </a:cubicBezTo>
                  <a:cubicBezTo>
                    <a:pt x="317" y="346"/>
                    <a:pt x="315" y="328"/>
                    <a:pt x="316" y="325"/>
                  </a:cubicBezTo>
                  <a:cubicBezTo>
                    <a:pt x="316" y="322"/>
                    <a:pt x="334" y="302"/>
                    <a:pt x="344" y="295"/>
                  </a:cubicBezTo>
                  <a:cubicBezTo>
                    <a:pt x="354" y="288"/>
                    <a:pt x="376" y="276"/>
                    <a:pt x="393" y="261"/>
                  </a:cubicBezTo>
                  <a:cubicBezTo>
                    <a:pt x="411" y="246"/>
                    <a:pt x="420" y="235"/>
                    <a:pt x="436" y="210"/>
                  </a:cubicBezTo>
                  <a:cubicBezTo>
                    <a:pt x="452" y="184"/>
                    <a:pt x="458" y="162"/>
                    <a:pt x="471" y="142"/>
                  </a:cubicBezTo>
                  <a:cubicBezTo>
                    <a:pt x="472" y="140"/>
                    <a:pt x="474" y="137"/>
                    <a:pt x="476" y="135"/>
                  </a:cubicBezTo>
                  <a:cubicBezTo>
                    <a:pt x="464" y="128"/>
                    <a:pt x="464" y="128"/>
                    <a:pt x="464" y="128"/>
                  </a:cubicBezTo>
                  <a:lnTo>
                    <a:pt x="455" y="134"/>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39" name="Freeform 336">
              <a:extLst>
                <a:ext uri="{FF2B5EF4-FFF2-40B4-BE49-F238E27FC236}">
                  <a16:creationId xmlns:a16="http://schemas.microsoft.com/office/drawing/2014/main" id="{02C3779E-4041-4CF4-A97D-B8A1B2BE6503}"/>
                </a:ext>
              </a:extLst>
            </p:cNvPr>
            <p:cNvSpPr>
              <a:spLocks noChangeAspect="1"/>
            </p:cNvSpPr>
            <p:nvPr/>
          </p:nvSpPr>
          <p:spPr bwMode="auto">
            <a:xfrm>
              <a:off x="13151" y="964"/>
              <a:ext cx="841" cy="1106"/>
            </a:xfrm>
            <a:custGeom>
              <a:avLst/>
              <a:gdLst/>
              <a:ahLst/>
              <a:cxnLst>
                <a:cxn ang="0">
                  <a:pos x="182" y="506"/>
                </a:cxn>
                <a:cxn ang="0">
                  <a:pos x="172" y="488"/>
                </a:cxn>
                <a:cxn ang="0">
                  <a:pos x="176" y="462"/>
                </a:cxn>
                <a:cxn ang="0">
                  <a:pos x="194" y="426"/>
                </a:cxn>
                <a:cxn ang="0">
                  <a:pos x="216" y="389"/>
                </a:cxn>
                <a:cxn ang="0">
                  <a:pos x="234" y="382"/>
                </a:cxn>
                <a:cxn ang="0">
                  <a:pos x="252" y="371"/>
                </a:cxn>
                <a:cxn ang="0">
                  <a:pos x="287" y="342"/>
                </a:cxn>
                <a:cxn ang="0">
                  <a:pos x="318" y="348"/>
                </a:cxn>
                <a:cxn ang="0">
                  <a:pos x="349" y="342"/>
                </a:cxn>
                <a:cxn ang="0">
                  <a:pos x="345" y="304"/>
                </a:cxn>
                <a:cxn ang="0">
                  <a:pos x="346" y="289"/>
                </a:cxn>
                <a:cxn ang="0">
                  <a:pos x="350" y="269"/>
                </a:cxn>
                <a:cxn ang="0">
                  <a:pos x="358" y="258"/>
                </a:cxn>
                <a:cxn ang="0">
                  <a:pos x="351" y="221"/>
                </a:cxn>
                <a:cxn ang="0">
                  <a:pos x="349" y="192"/>
                </a:cxn>
                <a:cxn ang="0">
                  <a:pos x="375" y="147"/>
                </a:cxn>
                <a:cxn ang="0">
                  <a:pos x="403" y="129"/>
                </a:cxn>
                <a:cxn ang="0">
                  <a:pos x="420" y="115"/>
                </a:cxn>
                <a:cxn ang="0">
                  <a:pos x="406" y="94"/>
                </a:cxn>
                <a:cxn ang="0">
                  <a:pos x="396" y="96"/>
                </a:cxn>
                <a:cxn ang="0">
                  <a:pos x="336" y="77"/>
                </a:cxn>
                <a:cxn ang="0">
                  <a:pos x="310" y="69"/>
                </a:cxn>
                <a:cxn ang="0">
                  <a:pos x="283" y="84"/>
                </a:cxn>
                <a:cxn ang="0">
                  <a:pos x="276" y="85"/>
                </a:cxn>
                <a:cxn ang="0">
                  <a:pos x="262" y="66"/>
                </a:cxn>
                <a:cxn ang="0">
                  <a:pos x="236" y="32"/>
                </a:cxn>
                <a:cxn ang="0">
                  <a:pos x="207" y="35"/>
                </a:cxn>
                <a:cxn ang="0">
                  <a:pos x="193" y="10"/>
                </a:cxn>
                <a:cxn ang="0">
                  <a:pos x="170" y="3"/>
                </a:cxn>
                <a:cxn ang="0">
                  <a:pos x="156" y="0"/>
                </a:cxn>
                <a:cxn ang="0">
                  <a:pos x="149" y="39"/>
                </a:cxn>
                <a:cxn ang="0">
                  <a:pos x="140" y="75"/>
                </a:cxn>
                <a:cxn ang="0">
                  <a:pos x="126" y="97"/>
                </a:cxn>
                <a:cxn ang="0">
                  <a:pos x="103" y="150"/>
                </a:cxn>
                <a:cxn ang="0">
                  <a:pos x="83" y="184"/>
                </a:cxn>
                <a:cxn ang="0">
                  <a:pos x="51" y="213"/>
                </a:cxn>
                <a:cxn ang="0">
                  <a:pos x="9" y="260"/>
                </a:cxn>
                <a:cxn ang="0">
                  <a:pos x="40" y="257"/>
                </a:cxn>
                <a:cxn ang="0">
                  <a:pos x="54" y="260"/>
                </a:cxn>
                <a:cxn ang="0">
                  <a:pos x="83" y="314"/>
                </a:cxn>
                <a:cxn ang="0">
                  <a:pos x="58" y="370"/>
                </a:cxn>
                <a:cxn ang="0">
                  <a:pos x="137" y="416"/>
                </a:cxn>
                <a:cxn ang="0">
                  <a:pos x="117" y="447"/>
                </a:cxn>
                <a:cxn ang="0">
                  <a:pos x="100" y="482"/>
                </a:cxn>
                <a:cxn ang="0">
                  <a:pos x="119" y="500"/>
                </a:cxn>
                <a:cxn ang="0">
                  <a:pos x="127" y="526"/>
                </a:cxn>
                <a:cxn ang="0">
                  <a:pos x="143" y="547"/>
                </a:cxn>
                <a:cxn ang="0">
                  <a:pos x="175" y="538"/>
                </a:cxn>
              </a:cxnLst>
              <a:rect l="0" t="0" r="r" b="b"/>
              <a:pathLst>
                <a:path w="420" h="553">
                  <a:moveTo>
                    <a:pt x="175" y="509"/>
                  </a:moveTo>
                  <a:cubicBezTo>
                    <a:pt x="182" y="506"/>
                    <a:pt x="182" y="506"/>
                    <a:pt x="182" y="506"/>
                  </a:cubicBezTo>
                  <a:cubicBezTo>
                    <a:pt x="182" y="506"/>
                    <a:pt x="174" y="502"/>
                    <a:pt x="173" y="501"/>
                  </a:cubicBezTo>
                  <a:cubicBezTo>
                    <a:pt x="173" y="500"/>
                    <a:pt x="172" y="488"/>
                    <a:pt x="172" y="488"/>
                  </a:cubicBezTo>
                  <a:cubicBezTo>
                    <a:pt x="172" y="488"/>
                    <a:pt x="166" y="476"/>
                    <a:pt x="167" y="471"/>
                  </a:cubicBezTo>
                  <a:cubicBezTo>
                    <a:pt x="168" y="467"/>
                    <a:pt x="176" y="462"/>
                    <a:pt x="176" y="462"/>
                  </a:cubicBezTo>
                  <a:cubicBezTo>
                    <a:pt x="176" y="462"/>
                    <a:pt x="178" y="444"/>
                    <a:pt x="180" y="441"/>
                  </a:cubicBezTo>
                  <a:cubicBezTo>
                    <a:pt x="183" y="439"/>
                    <a:pt x="194" y="426"/>
                    <a:pt x="194" y="426"/>
                  </a:cubicBezTo>
                  <a:cubicBezTo>
                    <a:pt x="194" y="426"/>
                    <a:pt x="189" y="410"/>
                    <a:pt x="199" y="402"/>
                  </a:cubicBezTo>
                  <a:cubicBezTo>
                    <a:pt x="209" y="393"/>
                    <a:pt x="216" y="389"/>
                    <a:pt x="216" y="389"/>
                  </a:cubicBezTo>
                  <a:cubicBezTo>
                    <a:pt x="229" y="389"/>
                    <a:pt x="229" y="389"/>
                    <a:pt x="229" y="389"/>
                  </a:cubicBezTo>
                  <a:cubicBezTo>
                    <a:pt x="234" y="382"/>
                    <a:pt x="234" y="382"/>
                    <a:pt x="234" y="382"/>
                  </a:cubicBezTo>
                  <a:cubicBezTo>
                    <a:pt x="245" y="382"/>
                    <a:pt x="245" y="382"/>
                    <a:pt x="245" y="382"/>
                  </a:cubicBezTo>
                  <a:cubicBezTo>
                    <a:pt x="245" y="382"/>
                    <a:pt x="251" y="373"/>
                    <a:pt x="252" y="371"/>
                  </a:cubicBezTo>
                  <a:cubicBezTo>
                    <a:pt x="253" y="369"/>
                    <a:pt x="266" y="372"/>
                    <a:pt x="274" y="360"/>
                  </a:cubicBezTo>
                  <a:cubicBezTo>
                    <a:pt x="282" y="349"/>
                    <a:pt x="287" y="342"/>
                    <a:pt x="287" y="342"/>
                  </a:cubicBezTo>
                  <a:cubicBezTo>
                    <a:pt x="287" y="342"/>
                    <a:pt x="307" y="339"/>
                    <a:pt x="310" y="341"/>
                  </a:cubicBezTo>
                  <a:cubicBezTo>
                    <a:pt x="313" y="344"/>
                    <a:pt x="318" y="348"/>
                    <a:pt x="318" y="348"/>
                  </a:cubicBezTo>
                  <a:cubicBezTo>
                    <a:pt x="318" y="348"/>
                    <a:pt x="326" y="344"/>
                    <a:pt x="330" y="344"/>
                  </a:cubicBezTo>
                  <a:cubicBezTo>
                    <a:pt x="334" y="344"/>
                    <a:pt x="348" y="346"/>
                    <a:pt x="349" y="342"/>
                  </a:cubicBezTo>
                  <a:cubicBezTo>
                    <a:pt x="350" y="339"/>
                    <a:pt x="358" y="315"/>
                    <a:pt x="358" y="315"/>
                  </a:cubicBezTo>
                  <a:cubicBezTo>
                    <a:pt x="345" y="304"/>
                    <a:pt x="345" y="304"/>
                    <a:pt x="345" y="304"/>
                  </a:cubicBezTo>
                  <a:cubicBezTo>
                    <a:pt x="340" y="294"/>
                    <a:pt x="340" y="294"/>
                    <a:pt x="340" y="294"/>
                  </a:cubicBezTo>
                  <a:cubicBezTo>
                    <a:pt x="346" y="289"/>
                    <a:pt x="346" y="289"/>
                    <a:pt x="346" y="289"/>
                  </a:cubicBezTo>
                  <a:cubicBezTo>
                    <a:pt x="346" y="289"/>
                    <a:pt x="337" y="281"/>
                    <a:pt x="341" y="277"/>
                  </a:cubicBezTo>
                  <a:cubicBezTo>
                    <a:pt x="345" y="273"/>
                    <a:pt x="350" y="269"/>
                    <a:pt x="350" y="269"/>
                  </a:cubicBezTo>
                  <a:cubicBezTo>
                    <a:pt x="350" y="262"/>
                    <a:pt x="350" y="262"/>
                    <a:pt x="350" y="262"/>
                  </a:cubicBezTo>
                  <a:cubicBezTo>
                    <a:pt x="358" y="258"/>
                    <a:pt x="358" y="258"/>
                    <a:pt x="358" y="258"/>
                  </a:cubicBezTo>
                  <a:cubicBezTo>
                    <a:pt x="355" y="240"/>
                    <a:pt x="355" y="240"/>
                    <a:pt x="355" y="240"/>
                  </a:cubicBezTo>
                  <a:cubicBezTo>
                    <a:pt x="355" y="240"/>
                    <a:pt x="350" y="229"/>
                    <a:pt x="351" y="221"/>
                  </a:cubicBezTo>
                  <a:cubicBezTo>
                    <a:pt x="351" y="214"/>
                    <a:pt x="358" y="205"/>
                    <a:pt x="358" y="205"/>
                  </a:cubicBezTo>
                  <a:cubicBezTo>
                    <a:pt x="358" y="205"/>
                    <a:pt x="349" y="196"/>
                    <a:pt x="349" y="192"/>
                  </a:cubicBezTo>
                  <a:cubicBezTo>
                    <a:pt x="348" y="188"/>
                    <a:pt x="366" y="174"/>
                    <a:pt x="366" y="172"/>
                  </a:cubicBezTo>
                  <a:cubicBezTo>
                    <a:pt x="367" y="170"/>
                    <a:pt x="370" y="149"/>
                    <a:pt x="375" y="147"/>
                  </a:cubicBezTo>
                  <a:cubicBezTo>
                    <a:pt x="379" y="145"/>
                    <a:pt x="396" y="148"/>
                    <a:pt x="399" y="143"/>
                  </a:cubicBezTo>
                  <a:cubicBezTo>
                    <a:pt x="402" y="137"/>
                    <a:pt x="403" y="129"/>
                    <a:pt x="403" y="129"/>
                  </a:cubicBezTo>
                  <a:cubicBezTo>
                    <a:pt x="414" y="128"/>
                    <a:pt x="414" y="128"/>
                    <a:pt x="414" y="128"/>
                  </a:cubicBezTo>
                  <a:cubicBezTo>
                    <a:pt x="420" y="115"/>
                    <a:pt x="420" y="115"/>
                    <a:pt x="420" y="115"/>
                  </a:cubicBezTo>
                  <a:cubicBezTo>
                    <a:pt x="416" y="98"/>
                    <a:pt x="416" y="98"/>
                    <a:pt x="416" y="98"/>
                  </a:cubicBezTo>
                  <a:cubicBezTo>
                    <a:pt x="406" y="94"/>
                    <a:pt x="406" y="94"/>
                    <a:pt x="406" y="94"/>
                  </a:cubicBezTo>
                  <a:cubicBezTo>
                    <a:pt x="403" y="101"/>
                    <a:pt x="403" y="101"/>
                    <a:pt x="403" y="101"/>
                  </a:cubicBezTo>
                  <a:cubicBezTo>
                    <a:pt x="396" y="96"/>
                    <a:pt x="396" y="96"/>
                    <a:pt x="396" y="96"/>
                  </a:cubicBezTo>
                  <a:cubicBezTo>
                    <a:pt x="382" y="100"/>
                    <a:pt x="382" y="100"/>
                    <a:pt x="382" y="100"/>
                  </a:cubicBezTo>
                  <a:cubicBezTo>
                    <a:pt x="336" y="77"/>
                    <a:pt x="336" y="77"/>
                    <a:pt x="336" y="77"/>
                  </a:cubicBezTo>
                  <a:cubicBezTo>
                    <a:pt x="318" y="81"/>
                    <a:pt x="318" y="81"/>
                    <a:pt x="318" y="81"/>
                  </a:cubicBezTo>
                  <a:cubicBezTo>
                    <a:pt x="318" y="81"/>
                    <a:pt x="321" y="69"/>
                    <a:pt x="310" y="69"/>
                  </a:cubicBezTo>
                  <a:cubicBezTo>
                    <a:pt x="299" y="69"/>
                    <a:pt x="288" y="94"/>
                    <a:pt x="288" y="95"/>
                  </a:cubicBezTo>
                  <a:cubicBezTo>
                    <a:pt x="288" y="96"/>
                    <a:pt x="283" y="84"/>
                    <a:pt x="283" y="84"/>
                  </a:cubicBezTo>
                  <a:cubicBezTo>
                    <a:pt x="282" y="76"/>
                    <a:pt x="282" y="76"/>
                    <a:pt x="282" y="76"/>
                  </a:cubicBezTo>
                  <a:cubicBezTo>
                    <a:pt x="282" y="76"/>
                    <a:pt x="278" y="83"/>
                    <a:pt x="276" y="85"/>
                  </a:cubicBezTo>
                  <a:cubicBezTo>
                    <a:pt x="275" y="86"/>
                    <a:pt x="265" y="86"/>
                    <a:pt x="265" y="86"/>
                  </a:cubicBezTo>
                  <a:cubicBezTo>
                    <a:pt x="265" y="86"/>
                    <a:pt x="264" y="73"/>
                    <a:pt x="262" y="66"/>
                  </a:cubicBezTo>
                  <a:cubicBezTo>
                    <a:pt x="261" y="58"/>
                    <a:pt x="253" y="40"/>
                    <a:pt x="246" y="33"/>
                  </a:cubicBezTo>
                  <a:cubicBezTo>
                    <a:pt x="239" y="27"/>
                    <a:pt x="236" y="32"/>
                    <a:pt x="236" y="32"/>
                  </a:cubicBezTo>
                  <a:cubicBezTo>
                    <a:pt x="229" y="15"/>
                    <a:pt x="229" y="15"/>
                    <a:pt x="229" y="15"/>
                  </a:cubicBezTo>
                  <a:cubicBezTo>
                    <a:pt x="207" y="35"/>
                    <a:pt x="207" y="35"/>
                    <a:pt x="207" y="35"/>
                  </a:cubicBezTo>
                  <a:cubicBezTo>
                    <a:pt x="207" y="35"/>
                    <a:pt x="207" y="26"/>
                    <a:pt x="207" y="21"/>
                  </a:cubicBezTo>
                  <a:cubicBezTo>
                    <a:pt x="207" y="17"/>
                    <a:pt x="193" y="10"/>
                    <a:pt x="193" y="10"/>
                  </a:cubicBezTo>
                  <a:cubicBezTo>
                    <a:pt x="183" y="17"/>
                    <a:pt x="183" y="17"/>
                    <a:pt x="183" y="17"/>
                  </a:cubicBezTo>
                  <a:cubicBezTo>
                    <a:pt x="170" y="3"/>
                    <a:pt x="170" y="3"/>
                    <a:pt x="170" y="3"/>
                  </a:cubicBezTo>
                  <a:cubicBezTo>
                    <a:pt x="161" y="7"/>
                    <a:pt x="161" y="7"/>
                    <a:pt x="161" y="7"/>
                  </a:cubicBezTo>
                  <a:cubicBezTo>
                    <a:pt x="156" y="0"/>
                    <a:pt x="156" y="0"/>
                    <a:pt x="156" y="0"/>
                  </a:cubicBezTo>
                  <a:cubicBezTo>
                    <a:pt x="158" y="32"/>
                    <a:pt x="158" y="32"/>
                    <a:pt x="158" y="32"/>
                  </a:cubicBezTo>
                  <a:cubicBezTo>
                    <a:pt x="149" y="39"/>
                    <a:pt x="149" y="39"/>
                    <a:pt x="149" y="39"/>
                  </a:cubicBezTo>
                  <a:cubicBezTo>
                    <a:pt x="156" y="49"/>
                    <a:pt x="156" y="49"/>
                    <a:pt x="156" y="49"/>
                  </a:cubicBezTo>
                  <a:cubicBezTo>
                    <a:pt x="140" y="75"/>
                    <a:pt x="140" y="75"/>
                    <a:pt x="140" y="75"/>
                  </a:cubicBezTo>
                  <a:cubicBezTo>
                    <a:pt x="140" y="95"/>
                    <a:pt x="140" y="95"/>
                    <a:pt x="140" y="95"/>
                  </a:cubicBezTo>
                  <a:cubicBezTo>
                    <a:pt x="126" y="97"/>
                    <a:pt x="126" y="97"/>
                    <a:pt x="126" y="97"/>
                  </a:cubicBezTo>
                  <a:cubicBezTo>
                    <a:pt x="129" y="116"/>
                    <a:pt x="129" y="116"/>
                    <a:pt x="129" y="116"/>
                  </a:cubicBezTo>
                  <a:cubicBezTo>
                    <a:pt x="103" y="150"/>
                    <a:pt x="103" y="150"/>
                    <a:pt x="103" y="150"/>
                  </a:cubicBezTo>
                  <a:cubicBezTo>
                    <a:pt x="106" y="166"/>
                    <a:pt x="106" y="166"/>
                    <a:pt x="106" y="166"/>
                  </a:cubicBezTo>
                  <a:cubicBezTo>
                    <a:pt x="106" y="166"/>
                    <a:pt x="90" y="173"/>
                    <a:pt x="83" y="184"/>
                  </a:cubicBezTo>
                  <a:cubicBezTo>
                    <a:pt x="77" y="195"/>
                    <a:pt x="71" y="213"/>
                    <a:pt x="71" y="213"/>
                  </a:cubicBezTo>
                  <a:cubicBezTo>
                    <a:pt x="51" y="213"/>
                    <a:pt x="51" y="213"/>
                    <a:pt x="51" y="213"/>
                  </a:cubicBezTo>
                  <a:cubicBezTo>
                    <a:pt x="0" y="255"/>
                    <a:pt x="0" y="255"/>
                    <a:pt x="0" y="255"/>
                  </a:cubicBezTo>
                  <a:cubicBezTo>
                    <a:pt x="9" y="260"/>
                    <a:pt x="9" y="260"/>
                    <a:pt x="9" y="260"/>
                  </a:cubicBezTo>
                  <a:cubicBezTo>
                    <a:pt x="23" y="246"/>
                    <a:pt x="23" y="246"/>
                    <a:pt x="23" y="246"/>
                  </a:cubicBezTo>
                  <a:cubicBezTo>
                    <a:pt x="23" y="246"/>
                    <a:pt x="34" y="260"/>
                    <a:pt x="40" y="257"/>
                  </a:cubicBezTo>
                  <a:cubicBezTo>
                    <a:pt x="46" y="255"/>
                    <a:pt x="52" y="251"/>
                    <a:pt x="52" y="251"/>
                  </a:cubicBezTo>
                  <a:cubicBezTo>
                    <a:pt x="54" y="260"/>
                    <a:pt x="54" y="260"/>
                    <a:pt x="54" y="260"/>
                  </a:cubicBezTo>
                  <a:cubicBezTo>
                    <a:pt x="54" y="260"/>
                    <a:pt x="75" y="265"/>
                    <a:pt x="75" y="266"/>
                  </a:cubicBezTo>
                  <a:cubicBezTo>
                    <a:pt x="75" y="268"/>
                    <a:pt x="83" y="314"/>
                    <a:pt x="83" y="314"/>
                  </a:cubicBezTo>
                  <a:cubicBezTo>
                    <a:pt x="83" y="314"/>
                    <a:pt x="73" y="364"/>
                    <a:pt x="68" y="366"/>
                  </a:cubicBezTo>
                  <a:cubicBezTo>
                    <a:pt x="62" y="368"/>
                    <a:pt x="58" y="370"/>
                    <a:pt x="58" y="370"/>
                  </a:cubicBezTo>
                  <a:cubicBezTo>
                    <a:pt x="105" y="422"/>
                    <a:pt x="105" y="422"/>
                    <a:pt x="105" y="422"/>
                  </a:cubicBezTo>
                  <a:cubicBezTo>
                    <a:pt x="105" y="422"/>
                    <a:pt x="132" y="402"/>
                    <a:pt x="137" y="416"/>
                  </a:cubicBezTo>
                  <a:cubicBezTo>
                    <a:pt x="142" y="430"/>
                    <a:pt x="128" y="441"/>
                    <a:pt x="128" y="441"/>
                  </a:cubicBezTo>
                  <a:cubicBezTo>
                    <a:pt x="128" y="441"/>
                    <a:pt x="123" y="438"/>
                    <a:pt x="117" y="447"/>
                  </a:cubicBezTo>
                  <a:cubicBezTo>
                    <a:pt x="111" y="457"/>
                    <a:pt x="112" y="471"/>
                    <a:pt x="112" y="471"/>
                  </a:cubicBezTo>
                  <a:cubicBezTo>
                    <a:pt x="100" y="482"/>
                    <a:pt x="100" y="482"/>
                    <a:pt x="100" y="482"/>
                  </a:cubicBezTo>
                  <a:cubicBezTo>
                    <a:pt x="117" y="489"/>
                    <a:pt x="117" y="489"/>
                    <a:pt x="117" y="489"/>
                  </a:cubicBezTo>
                  <a:cubicBezTo>
                    <a:pt x="119" y="500"/>
                    <a:pt x="119" y="500"/>
                    <a:pt x="119" y="500"/>
                  </a:cubicBezTo>
                  <a:cubicBezTo>
                    <a:pt x="136" y="513"/>
                    <a:pt x="136" y="513"/>
                    <a:pt x="136" y="513"/>
                  </a:cubicBezTo>
                  <a:cubicBezTo>
                    <a:pt x="127" y="526"/>
                    <a:pt x="127" y="526"/>
                    <a:pt x="127" y="526"/>
                  </a:cubicBezTo>
                  <a:cubicBezTo>
                    <a:pt x="137" y="529"/>
                    <a:pt x="137" y="529"/>
                    <a:pt x="137" y="529"/>
                  </a:cubicBezTo>
                  <a:cubicBezTo>
                    <a:pt x="137" y="529"/>
                    <a:pt x="123" y="538"/>
                    <a:pt x="143" y="547"/>
                  </a:cubicBezTo>
                  <a:cubicBezTo>
                    <a:pt x="156" y="553"/>
                    <a:pt x="162" y="553"/>
                    <a:pt x="164" y="552"/>
                  </a:cubicBezTo>
                  <a:cubicBezTo>
                    <a:pt x="175" y="538"/>
                    <a:pt x="175" y="538"/>
                    <a:pt x="175" y="538"/>
                  </a:cubicBezTo>
                  <a:lnTo>
                    <a:pt x="175" y="509"/>
                  </a:ln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40" name="Freeform 343">
              <a:extLst>
                <a:ext uri="{FF2B5EF4-FFF2-40B4-BE49-F238E27FC236}">
                  <a16:creationId xmlns:a16="http://schemas.microsoft.com/office/drawing/2014/main" id="{9EC3A1C8-4493-4DA6-AB5B-7DE829260DB9}"/>
                </a:ext>
              </a:extLst>
            </p:cNvPr>
            <p:cNvSpPr>
              <a:spLocks noChangeAspect="1"/>
            </p:cNvSpPr>
            <p:nvPr/>
          </p:nvSpPr>
          <p:spPr bwMode="auto">
            <a:xfrm>
              <a:off x="13407" y="1865"/>
              <a:ext cx="1118" cy="1185"/>
            </a:xfrm>
            <a:custGeom>
              <a:avLst/>
              <a:gdLst>
                <a:gd name="T0" fmla="*/ 1040 w 558"/>
                <a:gd name="T1" fmla="*/ 324 h 592"/>
                <a:gd name="T2" fmla="*/ 1020 w 558"/>
                <a:gd name="T3" fmla="*/ 264 h 592"/>
                <a:gd name="T4" fmla="*/ 1066 w 558"/>
                <a:gd name="T5" fmla="*/ 260 h 592"/>
                <a:gd name="T6" fmla="*/ 1076 w 558"/>
                <a:gd name="T7" fmla="*/ 222 h 592"/>
                <a:gd name="T8" fmla="*/ 1046 w 558"/>
                <a:gd name="T9" fmla="*/ 174 h 592"/>
                <a:gd name="T10" fmla="*/ 1044 w 558"/>
                <a:gd name="T11" fmla="*/ 138 h 592"/>
                <a:gd name="T12" fmla="*/ 1044 w 558"/>
                <a:gd name="T13" fmla="*/ 118 h 592"/>
                <a:gd name="T14" fmla="*/ 1006 w 558"/>
                <a:gd name="T15" fmla="*/ 80 h 592"/>
                <a:gd name="T16" fmla="*/ 990 w 558"/>
                <a:gd name="T17" fmla="*/ 66 h 592"/>
                <a:gd name="T18" fmla="*/ 910 w 558"/>
                <a:gd name="T19" fmla="*/ 24 h 592"/>
                <a:gd name="T20" fmla="*/ 837 w 558"/>
                <a:gd name="T21" fmla="*/ 34 h 592"/>
                <a:gd name="T22" fmla="*/ 791 w 558"/>
                <a:gd name="T23" fmla="*/ 68 h 592"/>
                <a:gd name="T24" fmla="*/ 725 w 558"/>
                <a:gd name="T25" fmla="*/ 120 h 592"/>
                <a:gd name="T26" fmla="*/ 639 w 558"/>
                <a:gd name="T27" fmla="*/ 66 h 592"/>
                <a:gd name="T28" fmla="*/ 461 w 558"/>
                <a:gd name="T29" fmla="*/ 126 h 592"/>
                <a:gd name="T30" fmla="*/ 381 w 558"/>
                <a:gd name="T31" fmla="*/ 88 h 592"/>
                <a:gd name="T32" fmla="*/ 343 w 558"/>
                <a:gd name="T33" fmla="*/ 224 h 592"/>
                <a:gd name="T34" fmla="*/ 276 w 558"/>
                <a:gd name="T35" fmla="*/ 246 h 592"/>
                <a:gd name="T36" fmla="*/ 210 w 558"/>
                <a:gd name="T37" fmla="*/ 290 h 592"/>
                <a:gd name="T38" fmla="*/ 130 w 558"/>
                <a:gd name="T39" fmla="*/ 198 h 592"/>
                <a:gd name="T40" fmla="*/ 64 w 558"/>
                <a:gd name="T41" fmla="*/ 252 h 592"/>
                <a:gd name="T42" fmla="*/ 0 w 558"/>
                <a:gd name="T43" fmla="*/ 334 h 592"/>
                <a:gd name="T44" fmla="*/ 38 w 558"/>
                <a:gd name="T45" fmla="*/ 396 h 592"/>
                <a:gd name="T46" fmla="*/ 30 w 558"/>
                <a:gd name="T47" fmla="*/ 452 h 592"/>
                <a:gd name="T48" fmla="*/ 62 w 558"/>
                <a:gd name="T49" fmla="*/ 536 h 592"/>
                <a:gd name="T50" fmla="*/ 52 w 558"/>
                <a:gd name="T51" fmla="*/ 635 h 592"/>
                <a:gd name="T52" fmla="*/ 74 w 558"/>
                <a:gd name="T53" fmla="*/ 723 h 592"/>
                <a:gd name="T54" fmla="*/ 64 w 558"/>
                <a:gd name="T55" fmla="*/ 803 h 592"/>
                <a:gd name="T56" fmla="*/ 198 w 558"/>
                <a:gd name="T57" fmla="*/ 745 h 592"/>
                <a:gd name="T58" fmla="*/ 329 w 558"/>
                <a:gd name="T59" fmla="*/ 733 h 592"/>
                <a:gd name="T60" fmla="*/ 513 w 558"/>
                <a:gd name="T61" fmla="*/ 801 h 592"/>
                <a:gd name="T62" fmla="*/ 643 w 558"/>
                <a:gd name="T63" fmla="*/ 847 h 592"/>
                <a:gd name="T64" fmla="*/ 699 w 558"/>
                <a:gd name="T65" fmla="*/ 861 h 592"/>
                <a:gd name="T66" fmla="*/ 771 w 558"/>
                <a:gd name="T67" fmla="*/ 975 h 592"/>
                <a:gd name="T68" fmla="*/ 741 w 558"/>
                <a:gd name="T69" fmla="*/ 1019 h 592"/>
                <a:gd name="T70" fmla="*/ 775 w 558"/>
                <a:gd name="T71" fmla="*/ 1143 h 592"/>
                <a:gd name="T72" fmla="*/ 844 w 558"/>
                <a:gd name="T73" fmla="*/ 1183 h 592"/>
                <a:gd name="T74" fmla="*/ 866 w 558"/>
                <a:gd name="T75" fmla="*/ 1149 h 592"/>
                <a:gd name="T76" fmla="*/ 922 w 558"/>
                <a:gd name="T77" fmla="*/ 939 h 592"/>
                <a:gd name="T78" fmla="*/ 926 w 558"/>
                <a:gd name="T79" fmla="*/ 765 h 592"/>
                <a:gd name="T80" fmla="*/ 936 w 558"/>
                <a:gd name="T81" fmla="*/ 653 h 592"/>
                <a:gd name="T82" fmla="*/ 932 w 558"/>
                <a:gd name="T83" fmla="*/ 566 h 592"/>
                <a:gd name="T84" fmla="*/ 1080 w 558"/>
                <a:gd name="T85" fmla="*/ 434 h 592"/>
                <a:gd name="T86" fmla="*/ 1062 w 558"/>
                <a:gd name="T87" fmla="*/ 352 h 5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8"/>
                <a:gd name="T133" fmla="*/ 0 h 592"/>
                <a:gd name="T134" fmla="*/ 558 w 558"/>
                <a:gd name="T135" fmla="*/ 592 h 5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8" h="592">
                  <a:moveTo>
                    <a:pt x="530" y="176"/>
                  </a:moveTo>
                  <a:cubicBezTo>
                    <a:pt x="519" y="174"/>
                    <a:pt x="519" y="174"/>
                    <a:pt x="519" y="174"/>
                  </a:cubicBezTo>
                  <a:cubicBezTo>
                    <a:pt x="519" y="162"/>
                    <a:pt x="519" y="162"/>
                    <a:pt x="519" y="162"/>
                  </a:cubicBezTo>
                  <a:cubicBezTo>
                    <a:pt x="519" y="162"/>
                    <a:pt x="513" y="158"/>
                    <a:pt x="513" y="155"/>
                  </a:cubicBezTo>
                  <a:cubicBezTo>
                    <a:pt x="513" y="153"/>
                    <a:pt x="510" y="148"/>
                    <a:pt x="510" y="148"/>
                  </a:cubicBezTo>
                  <a:cubicBezTo>
                    <a:pt x="509" y="132"/>
                    <a:pt x="509" y="132"/>
                    <a:pt x="509" y="132"/>
                  </a:cubicBezTo>
                  <a:cubicBezTo>
                    <a:pt x="516" y="130"/>
                    <a:pt x="516" y="130"/>
                    <a:pt x="516" y="130"/>
                  </a:cubicBezTo>
                  <a:cubicBezTo>
                    <a:pt x="522" y="136"/>
                    <a:pt x="522" y="136"/>
                    <a:pt x="522" y="136"/>
                  </a:cubicBezTo>
                  <a:cubicBezTo>
                    <a:pt x="532" y="130"/>
                    <a:pt x="532" y="130"/>
                    <a:pt x="532" y="130"/>
                  </a:cubicBezTo>
                  <a:cubicBezTo>
                    <a:pt x="533" y="122"/>
                    <a:pt x="533" y="122"/>
                    <a:pt x="533" y="122"/>
                  </a:cubicBezTo>
                  <a:cubicBezTo>
                    <a:pt x="528" y="116"/>
                    <a:pt x="528" y="116"/>
                    <a:pt x="528" y="116"/>
                  </a:cubicBezTo>
                  <a:cubicBezTo>
                    <a:pt x="537" y="111"/>
                    <a:pt x="537" y="111"/>
                    <a:pt x="537" y="111"/>
                  </a:cubicBezTo>
                  <a:cubicBezTo>
                    <a:pt x="540" y="100"/>
                    <a:pt x="540" y="100"/>
                    <a:pt x="540" y="100"/>
                  </a:cubicBezTo>
                  <a:cubicBezTo>
                    <a:pt x="530" y="91"/>
                    <a:pt x="530" y="91"/>
                    <a:pt x="530" y="91"/>
                  </a:cubicBezTo>
                  <a:cubicBezTo>
                    <a:pt x="522" y="87"/>
                    <a:pt x="522" y="87"/>
                    <a:pt x="522" y="87"/>
                  </a:cubicBezTo>
                  <a:cubicBezTo>
                    <a:pt x="521" y="79"/>
                    <a:pt x="521" y="79"/>
                    <a:pt x="521" y="79"/>
                  </a:cubicBezTo>
                  <a:cubicBezTo>
                    <a:pt x="516" y="73"/>
                    <a:pt x="516" y="73"/>
                    <a:pt x="516" y="73"/>
                  </a:cubicBezTo>
                  <a:cubicBezTo>
                    <a:pt x="521" y="69"/>
                    <a:pt x="521" y="69"/>
                    <a:pt x="521" y="69"/>
                  </a:cubicBezTo>
                  <a:cubicBezTo>
                    <a:pt x="517" y="65"/>
                    <a:pt x="517" y="65"/>
                    <a:pt x="517" y="65"/>
                  </a:cubicBezTo>
                  <a:cubicBezTo>
                    <a:pt x="521" y="60"/>
                    <a:pt x="521" y="60"/>
                    <a:pt x="521" y="60"/>
                  </a:cubicBezTo>
                  <a:cubicBezTo>
                    <a:pt x="521" y="60"/>
                    <a:pt x="521" y="59"/>
                    <a:pt x="521" y="59"/>
                  </a:cubicBezTo>
                  <a:cubicBezTo>
                    <a:pt x="521" y="55"/>
                    <a:pt x="509" y="55"/>
                    <a:pt x="509" y="55"/>
                  </a:cubicBezTo>
                  <a:cubicBezTo>
                    <a:pt x="509" y="49"/>
                    <a:pt x="509" y="49"/>
                    <a:pt x="509" y="49"/>
                  </a:cubicBezTo>
                  <a:cubicBezTo>
                    <a:pt x="502" y="40"/>
                    <a:pt x="502" y="40"/>
                    <a:pt x="502" y="40"/>
                  </a:cubicBezTo>
                  <a:cubicBezTo>
                    <a:pt x="505" y="34"/>
                    <a:pt x="505" y="34"/>
                    <a:pt x="505" y="34"/>
                  </a:cubicBezTo>
                  <a:cubicBezTo>
                    <a:pt x="503" y="30"/>
                    <a:pt x="503" y="30"/>
                    <a:pt x="503" y="30"/>
                  </a:cubicBezTo>
                  <a:cubicBezTo>
                    <a:pt x="494" y="33"/>
                    <a:pt x="494" y="33"/>
                    <a:pt x="494" y="33"/>
                  </a:cubicBezTo>
                  <a:cubicBezTo>
                    <a:pt x="494" y="33"/>
                    <a:pt x="492" y="20"/>
                    <a:pt x="492" y="19"/>
                  </a:cubicBezTo>
                  <a:cubicBezTo>
                    <a:pt x="492" y="17"/>
                    <a:pt x="481" y="27"/>
                    <a:pt x="481" y="27"/>
                  </a:cubicBezTo>
                  <a:cubicBezTo>
                    <a:pt x="481" y="27"/>
                    <a:pt x="460" y="14"/>
                    <a:pt x="454" y="12"/>
                  </a:cubicBezTo>
                  <a:cubicBezTo>
                    <a:pt x="449" y="10"/>
                    <a:pt x="439" y="0"/>
                    <a:pt x="439" y="0"/>
                  </a:cubicBezTo>
                  <a:cubicBezTo>
                    <a:pt x="439" y="0"/>
                    <a:pt x="419" y="8"/>
                    <a:pt x="419" y="8"/>
                  </a:cubicBezTo>
                  <a:cubicBezTo>
                    <a:pt x="419" y="9"/>
                    <a:pt x="418" y="17"/>
                    <a:pt x="418" y="17"/>
                  </a:cubicBezTo>
                  <a:cubicBezTo>
                    <a:pt x="408" y="19"/>
                    <a:pt x="408" y="19"/>
                    <a:pt x="408" y="19"/>
                  </a:cubicBezTo>
                  <a:cubicBezTo>
                    <a:pt x="408" y="19"/>
                    <a:pt x="409" y="26"/>
                    <a:pt x="409" y="27"/>
                  </a:cubicBezTo>
                  <a:cubicBezTo>
                    <a:pt x="409" y="28"/>
                    <a:pt x="402" y="32"/>
                    <a:pt x="395" y="34"/>
                  </a:cubicBezTo>
                  <a:cubicBezTo>
                    <a:pt x="387" y="37"/>
                    <a:pt x="387" y="34"/>
                    <a:pt x="387" y="34"/>
                  </a:cubicBezTo>
                  <a:cubicBezTo>
                    <a:pt x="387" y="34"/>
                    <a:pt x="385" y="37"/>
                    <a:pt x="383" y="41"/>
                  </a:cubicBezTo>
                  <a:cubicBezTo>
                    <a:pt x="382" y="46"/>
                    <a:pt x="368" y="58"/>
                    <a:pt x="362" y="60"/>
                  </a:cubicBezTo>
                  <a:cubicBezTo>
                    <a:pt x="355" y="63"/>
                    <a:pt x="351" y="49"/>
                    <a:pt x="347" y="38"/>
                  </a:cubicBezTo>
                  <a:cubicBezTo>
                    <a:pt x="345" y="31"/>
                    <a:pt x="336" y="29"/>
                    <a:pt x="327" y="28"/>
                  </a:cubicBezTo>
                  <a:cubicBezTo>
                    <a:pt x="324" y="30"/>
                    <a:pt x="321" y="32"/>
                    <a:pt x="319" y="33"/>
                  </a:cubicBezTo>
                  <a:cubicBezTo>
                    <a:pt x="312" y="38"/>
                    <a:pt x="292" y="43"/>
                    <a:pt x="292" y="43"/>
                  </a:cubicBezTo>
                  <a:cubicBezTo>
                    <a:pt x="267" y="45"/>
                    <a:pt x="267" y="45"/>
                    <a:pt x="267" y="45"/>
                  </a:cubicBezTo>
                  <a:cubicBezTo>
                    <a:pt x="267" y="45"/>
                    <a:pt x="239" y="62"/>
                    <a:pt x="230" y="63"/>
                  </a:cubicBezTo>
                  <a:cubicBezTo>
                    <a:pt x="221" y="64"/>
                    <a:pt x="219" y="53"/>
                    <a:pt x="219" y="53"/>
                  </a:cubicBezTo>
                  <a:cubicBezTo>
                    <a:pt x="209" y="56"/>
                    <a:pt x="209" y="56"/>
                    <a:pt x="209" y="56"/>
                  </a:cubicBezTo>
                  <a:cubicBezTo>
                    <a:pt x="190" y="44"/>
                    <a:pt x="190" y="44"/>
                    <a:pt x="190" y="44"/>
                  </a:cubicBezTo>
                  <a:cubicBezTo>
                    <a:pt x="190" y="44"/>
                    <a:pt x="173" y="59"/>
                    <a:pt x="169" y="65"/>
                  </a:cubicBezTo>
                  <a:cubicBezTo>
                    <a:pt x="165" y="71"/>
                    <a:pt x="176" y="76"/>
                    <a:pt x="178" y="84"/>
                  </a:cubicBezTo>
                  <a:cubicBezTo>
                    <a:pt x="180" y="92"/>
                    <a:pt x="171" y="110"/>
                    <a:pt x="171" y="112"/>
                  </a:cubicBezTo>
                  <a:cubicBezTo>
                    <a:pt x="171" y="114"/>
                    <a:pt x="160" y="114"/>
                    <a:pt x="160" y="114"/>
                  </a:cubicBezTo>
                  <a:cubicBezTo>
                    <a:pt x="160" y="114"/>
                    <a:pt x="151" y="127"/>
                    <a:pt x="151" y="128"/>
                  </a:cubicBezTo>
                  <a:cubicBezTo>
                    <a:pt x="150" y="130"/>
                    <a:pt x="138" y="123"/>
                    <a:pt x="138" y="123"/>
                  </a:cubicBezTo>
                  <a:cubicBezTo>
                    <a:pt x="136" y="130"/>
                    <a:pt x="136" y="130"/>
                    <a:pt x="136" y="130"/>
                  </a:cubicBezTo>
                  <a:cubicBezTo>
                    <a:pt x="124" y="127"/>
                    <a:pt x="124" y="127"/>
                    <a:pt x="124" y="127"/>
                  </a:cubicBezTo>
                  <a:cubicBezTo>
                    <a:pt x="124" y="127"/>
                    <a:pt x="118" y="142"/>
                    <a:pt x="105" y="145"/>
                  </a:cubicBezTo>
                  <a:cubicBezTo>
                    <a:pt x="92" y="148"/>
                    <a:pt x="92" y="138"/>
                    <a:pt x="82" y="137"/>
                  </a:cubicBezTo>
                  <a:cubicBezTo>
                    <a:pt x="72" y="136"/>
                    <a:pt x="73" y="120"/>
                    <a:pt x="73" y="113"/>
                  </a:cubicBezTo>
                  <a:cubicBezTo>
                    <a:pt x="73" y="107"/>
                    <a:pt x="65" y="99"/>
                    <a:pt x="65" y="99"/>
                  </a:cubicBezTo>
                  <a:cubicBezTo>
                    <a:pt x="59" y="102"/>
                    <a:pt x="59" y="102"/>
                    <a:pt x="59" y="102"/>
                  </a:cubicBezTo>
                  <a:cubicBezTo>
                    <a:pt x="61" y="106"/>
                    <a:pt x="61" y="106"/>
                    <a:pt x="61" y="106"/>
                  </a:cubicBezTo>
                  <a:cubicBezTo>
                    <a:pt x="61" y="106"/>
                    <a:pt x="38" y="126"/>
                    <a:pt x="32" y="126"/>
                  </a:cubicBezTo>
                  <a:cubicBezTo>
                    <a:pt x="26" y="126"/>
                    <a:pt x="23" y="126"/>
                    <a:pt x="23" y="126"/>
                  </a:cubicBezTo>
                  <a:cubicBezTo>
                    <a:pt x="20" y="145"/>
                    <a:pt x="20" y="145"/>
                    <a:pt x="20" y="145"/>
                  </a:cubicBezTo>
                  <a:cubicBezTo>
                    <a:pt x="0" y="167"/>
                    <a:pt x="0" y="167"/>
                    <a:pt x="0" y="167"/>
                  </a:cubicBezTo>
                  <a:cubicBezTo>
                    <a:pt x="0" y="167"/>
                    <a:pt x="1" y="183"/>
                    <a:pt x="10" y="183"/>
                  </a:cubicBezTo>
                  <a:cubicBezTo>
                    <a:pt x="20" y="184"/>
                    <a:pt x="30" y="187"/>
                    <a:pt x="30" y="187"/>
                  </a:cubicBezTo>
                  <a:cubicBezTo>
                    <a:pt x="19" y="198"/>
                    <a:pt x="19" y="198"/>
                    <a:pt x="19" y="198"/>
                  </a:cubicBezTo>
                  <a:cubicBezTo>
                    <a:pt x="29" y="204"/>
                    <a:pt x="29" y="204"/>
                    <a:pt x="29" y="204"/>
                  </a:cubicBezTo>
                  <a:cubicBezTo>
                    <a:pt x="17" y="210"/>
                    <a:pt x="17" y="210"/>
                    <a:pt x="17" y="210"/>
                  </a:cubicBezTo>
                  <a:cubicBezTo>
                    <a:pt x="15" y="226"/>
                    <a:pt x="15" y="226"/>
                    <a:pt x="15" y="226"/>
                  </a:cubicBezTo>
                  <a:cubicBezTo>
                    <a:pt x="15" y="226"/>
                    <a:pt x="30" y="233"/>
                    <a:pt x="27" y="241"/>
                  </a:cubicBezTo>
                  <a:cubicBezTo>
                    <a:pt x="25" y="250"/>
                    <a:pt x="14" y="265"/>
                    <a:pt x="15" y="265"/>
                  </a:cubicBezTo>
                  <a:cubicBezTo>
                    <a:pt x="17" y="265"/>
                    <a:pt x="31" y="268"/>
                    <a:pt x="31" y="268"/>
                  </a:cubicBezTo>
                  <a:cubicBezTo>
                    <a:pt x="19" y="276"/>
                    <a:pt x="19" y="276"/>
                    <a:pt x="19" y="276"/>
                  </a:cubicBezTo>
                  <a:cubicBezTo>
                    <a:pt x="37" y="291"/>
                    <a:pt x="37" y="291"/>
                    <a:pt x="37" y="291"/>
                  </a:cubicBezTo>
                  <a:cubicBezTo>
                    <a:pt x="37" y="291"/>
                    <a:pt x="29" y="307"/>
                    <a:pt x="26" y="317"/>
                  </a:cubicBezTo>
                  <a:cubicBezTo>
                    <a:pt x="23" y="327"/>
                    <a:pt x="21" y="330"/>
                    <a:pt x="21" y="330"/>
                  </a:cubicBezTo>
                  <a:cubicBezTo>
                    <a:pt x="46" y="355"/>
                    <a:pt x="46" y="355"/>
                    <a:pt x="46" y="355"/>
                  </a:cubicBezTo>
                  <a:cubicBezTo>
                    <a:pt x="37" y="361"/>
                    <a:pt x="37" y="361"/>
                    <a:pt x="37" y="361"/>
                  </a:cubicBezTo>
                  <a:cubicBezTo>
                    <a:pt x="36" y="387"/>
                    <a:pt x="36" y="387"/>
                    <a:pt x="36" y="387"/>
                  </a:cubicBezTo>
                  <a:cubicBezTo>
                    <a:pt x="44" y="393"/>
                    <a:pt x="44" y="393"/>
                    <a:pt x="44" y="393"/>
                  </a:cubicBezTo>
                  <a:cubicBezTo>
                    <a:pt x="44" y="393"/>
                    <a:pt x="32" y="400"/>
                    <a:pt x="32" y="401"/>
                  </a:cubicBezTo>
                  <a:cubicBezTo>
                    <a:pt x="32" y="402"/>
                    <a:pt x="35" y="409"/>
                    <a:pt x="35" y="409"/>
                  </a:cubicBezTo>
                  <a:cubicBezTo>
                    <a:pt x="35" y="409"/>
                    <a:pt x="55" y="390"/>
                    <a:pt x="61" y="390"/>
                  </a:cubicBezTo>
                  <a:cubicBezTo>
                    <a:pt x="67" y="389"/>
                    <a:pt x="93" y="378"/>
                    <a:pt x="99" y="372"/>
                  </a:cubicBezTo>
                  <a:cubicBezTo>
                    <a:pt x="104" y="366"/>
                    <a:pt x="128" y="351"/>
                    <a:pt x="128" y="351"/>
                  </a:cubicBezTo>
                  <a:cubicBezTo>
                    <a:pt x="128" y="351"/>
                    <a:pt x="168" y="338"/>
                    <a:pt x="169" y="350"/>
                  </a:cubicBezTo>
                  <a:cubicBezTo>
                    <a:pt x="169" y="363"/>
                    <a:pt x="164" y="366"/>
                    <a:pt x="164" y="366"/>
                  </a:cubicBezTo>
                  <a:cubicBezTo>
                    <a:pt x="192" y="379"/>
                    <a:pt x="192" y="379"/>
                    <a:pt x="192" y="379"/>
                  </a:cubicBezTo>
                  <a:cubicBezTo>
                    <a:pt x="192" y="379"/>
                    <a:pt x="200" y="370"/>
                    <a:pt x="211" y="372"/>
                  </a:cubicBezTo>
                  <a:cubicBezTo>
                    <a:pt x="222" y="374"/>
                    <a:pt x="256" y="400"/>
                    <a:pt x="256" y="400"/>
                  </a:cubicBezTo>
                  <a:cubicBezTo>
                    <a:pt x="256" y="400"/>
                    <a:pt x="281" y="406"/>
                    <a:pt x="282" y="404"/>
                  </a:cubicBezTo>
                  <a:cubicBezTo>
                    <a:pt x="283" y="403"/>
                    <a:pt x="287" y="397"/>
                    <a:pt x="287" y="397"/>
                  </a:cubicBezTo>
                  <a:cubicBezTo>
                    <a:pt x="321" y="423"/>
                    <a:pt x="321" y="423"/>
                    <a:pt x="321" y="423"/>
                  </a:cubicBezTo>
                  <a:cubicBezTo>
                    <a:pt x="321" y="436"/>
                    <a:pt x="321" y="436"/>
                    <a:pt x="321" y="436"/>
                  </a:cubicBezTo>
                  <a:cubicBezTo>
                    <a:pt x="338" y="436"/>
                    <a:pt x="338" y="436"/>
                    <a:pt x="338" y="436"/>
                  </a:cubicBezTo>
                  <a:cubicBezTo>
                    <a:pt x="338" y="436"/>
                    <a:pt x="341" y="427"/>
                    <a:pt x="349" y="430"/>
                  </a:cubicBezTo>
                  <a:cubicBezTo>
                    <a:pt x="357" y="432"/>
                    <a:pt x="410" y="452"/>
                    <a:pt x="407" y="461"/>
                  </a:cubicBezTo>
                  <a:cubicBezTo>
                    <a:pt x="405" y="470"/>
                    <a:pt x="392" y="487"/>
                    <a:pt x="392" y="487"/>
                  </a:cubicBezTo>
                  <a:cubicBezTo>
                    <a:pt x="385" y="487"/>
                    <a:pt x="385" y="487"/>
                    <a:pt x="385" y="487"/>
                  </a:cubicBezTo>
                  <a:cubicBezTo>
                    <a:pt x="380" y="498"/>
                    <a:pt x="380" y="498"/>
                    <a:pt x="380" y="498"/>
                  </a:cubicBezTo>
                  <a:cubicBezTo>
                    <a:pt x="388" y="508"/>
                    <a:pt x="388" y="508"/>
                    <a:pt x="388" y="508"/>
                  </a:cubicBezTo>
                  <a:cubicBezTo>
                    <a:pt x="370" y="509"/>
                    <a:pt x="370" y="509"/>
                    <a:pt x="370" y="509"/>
                  </a:cubicBezTo>
                  <a:cubicBezTo>
                    <a:pt x="364" y="535"/>
                    <a:pt x="364" y="535"/>
                    <a:pt x="364" y="535"/>
                  </a:cubicBezTo>
                  <a:cubicBezTo>
                    <a:pt x="392" y="562"/>
                    <a:pt x="392" y="562"/>
                    <a:pt x="392" y="562"/>
                  </a:cubicBezTo>
                  <a:cubicBezTo>
                    <a:pt x="387" y="571"/>
                    <a:pt x="387" y="571"/>
                    <a:pt x="387" y="571"/>
                  </a:cubicBezTo>
                  <a:cubicBezTo>
                    <a:pt x="417" y="589"/>
                    <a:pt x="417" y="589"/>
                    <a:pt x="417" y="589"/>
                  </a:cubicBezTo>
                  <a:cubicBezTo>
                    <a:pt x="417" y="589"/>
                    <a:pt x="417" y="589"/>
                    <a:pt x="417" y="589"/>
                  </a:cubicBezTo>
                  <a:cubicBezTo>
                    <a:pt x="421" y="591"/>
                    <a:pt x="421" y="591"/>
                    <a:pt x="421" y="591"/>
                  </a:cubicBezTo>
                  <a:cubicBezTo>
                    <a:pt x="421" y="592"/>
                    <a:pt x="421" y="592"/>
                    <a:pt x="421" y="592"/>
                  </a:cubicBezTo>
                  <a:cubicBezTo>
                    <a:pt x="421" y="592"/>
                    <a:pt x="422" y="592"/>
                    <a:pt x="423" y="592"/>
                  </a:cubicBezTo>
                  <a:cubicBezTo>
                    <a:pt x="424" y="589"/>
                    <a:pt x="427" y="581"/>
                    <a:pt x="432" y="574"/>
                  </a:cubicBezTo>
                  <a:cubicBezTo>
                    <a:pt x="438" y="566"/>
                    <a:pt x="453" y="555"/>
                    <a:pt x="453" y="555"/>
                  </a:cubicBezTo>
                  <a:cubicBezTo>
                    <a:pt x="453" y="555"/>
                    <a:pt x="445" y="530"/>
                    <a:pt x="446" y="530"/>
                  </a:cubicBezTo>
                  <a:cubicBezTo>
                    <a:pt x="447" y="530"/>
                    <a:pt x="460" y="475"/>
                    <a:pt x="460" y="469"/>
                  </a:cubicBezTo>
                  <a:cubicBezTo>
                    <a:pt x="461" y="463"/>
                    <a:pt x="471" y="440"/>
                    <a:pt x="471" y="440"/>
                  </a:cubicBezTo>
                  <a:cubicBezTo>
                    <a:pt x="464" y="432"/>
                    <a:pt x="464" y="432"/>
                    <a:pt x="464" y="432"/>
                  </a:cubicBezTo>
                  <a:cubicBezTo>
                    <a:pt x="464" y="432"/>
                    <a:pt x="461" y="382"/>
                    <a:pt x="462" y="382"/>
                  </a:cubicBezTo>
                  <a:cubicBezTo>
                    <a:pt x="463" y="381"/>
                    <a:pt x="456" y="377"/>
                    <a:pt x="456" y="372"/>
                  </a:cubicBezTo>
                  <a:cubicBezTo>
                    <a:pt x="456" y="366"/>
                    <a:pt x="460" y="364"/>
                    <a:pt x="460" y="364"/>
                  </a:cubicBezTo>
                  <a:cubicBezTo>
                    <a:pt x="467" y="326"/>
                    <a:pt x="467" y="326"/>
                    <a:pt x="467" y="326"/>
                  </a:cubicBezTo>
                  <a:cubicBezTo>
                    <a:pt x="461" y="316"/>
                    <a:pt x="461" y="316"/>
                    <a:pt x="461" y="316"/>
                  </a:cubicBezTo>
                  <a:cubicBezTo>
                    <a:pt x="469" y="309"/>
                    <a:pt x="469" y="309"/>
                    <a:pt x="469" y="309"/>
                  </a:cubicBezTo>
                  <a:cubicBezTo>
                    <a:pt x="465" y="283"/>
                    <a:pt x="465" y="283"/>
                    <a:pt x="465" y="283"/>
                  </a:cubicBezTo>
                  <a:cubicBezTo>
                    <a:pt x="485" y="266"/>
                    <a:pt x="485" y="266"/>
                    <a:pt x="485" y="266"/>
                  </a:cubicBezTo>
                  <a:cubicBezTo>
                    <a:pt x="496" y="271"/>
                    <a:pt x="496" y="271"/>
                    <a:pt x="496" y="271"/>
                  </a:cubicBezTo>
                  <a:cubicBezTo>
                    <a:pt x="496" y="271"/>
                    <a:pt x="526" y="242"/>
                    <a:pt x="539" y="217"/>
                  </a:cubicBezTo>
                  <a:cubicBezTo>
                    <a:pt x="544" y="209"/>
                    <a:pt x="551" y="197"/>
                    <a:pt x="558" y="185"/>
                  </a:cubicBezTo>
                  <a:cubicBezTo>
                    <a:pt x="535" y="184"/>
                    <a:pt x="535" y="184"/>
                    <a:pt x="535" y="184"/>
                  </a:cubicBezTo>
                  <a:lnTo>
                    <a:pt x="530" y="17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41" name="Freeform 325">
              <a:extLst>
                <a:ext uri="{FF2B5EF4-FFF2-40B4-BE49-F238E27FC236}">
                  <a16:creationId xmlns:a16="http://schemas.microsoft.com/office/drawing/2014/main" id="{F06A57AB-759B-4F7B-AD25-BBE1AD1F34EF}"/>
                </a:ext>
              </a:extLst>
            </p:cNvPr>
            <p:cNvSpPr>
              <a:spLocks noChangeAspect="1"/>
            </p:cNvSpPr>
            <p:nvPr/>
          </p:nvSpPr>
          <p:spPr bwMode="auto">
            <a:xfrm>
              <a:off x="11527" y="1760"/>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42" name="Freeform 323">
              <a:extLst>
                <a:ext uri="{FF2B5EF4-FFF2-40B4-BE49-F238E27FC236}">
                  <a16:creationId xmlns:a16="http://schemas.microsoft.com/office/drawing/2014/main" id="{FD974179-A538-436A-BCDA-AC56ACF0C320}"/>
                </a:ext>
              </a:extLst>
            </p:cNvPr>
            <p:cNvSpPr>
              <a:spLocks noChangeAspect="1"/>
            </p:cNvSpPr>
            <p:nvPr/>
          </p:nvSpPr>
          <p:spPr bwMode="auto">
            <a:xfrm>
              <a:off x="11848" y="564"/>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grpSp>
      <p:sp>
        <p:nvSpPr>
          <p:cNvPr id="43" name="Retângulo 42">
            <a:extLst>
              <a:ext uri="{FF2B5EF4-FFF2-40B4-BE49-F238E27FC236}">
                <a16:creationId xmlns:a16="http://schemas.microsoft.com/office/drawing/2014/main" id="{67EBF97B-8EAA-4DF3-9858-8997A4D5E309}"/>
              </a:ext>
            </a:extLst>
          </p:cNvPr>
          <p:cNvSpPr/>
          <p:nvPr/>
        </p:nvSpPr>
        <p:spPr>
          <a:xfrm>
            <a:off x="2189902" y="3195313"/>
            <a:ext cx="943727" cy="191484"/>
          </a:xfrm>
          <a:prstGeom prst="rect">
            <a:avLst/>
          </a:prstGeom>
        </p:spPr>
        <p:txBody>
          <a:bodyPr wrap="none">
            <a:spAutoFit/>
          </a:bodyPr>
          <a:lstStyle/>
          <a:p>
            <a:r>
              <a:rPr lang="pt-BR" sz="800" dirty="0" err="1"/>
              <a:t>Current</a:t>
            </a:r>
            <a:r>
              <a:rPr lang="pt-BR" sz="800" dirty="0"/>
              <a:t> business VDB</a:t>
            </a:r>
            <a:endParaRPr lang="en-US" sz="500" dirty="0"/>
          </a:p>
        </p:txBody>
      </p:sp>
      <p:sp>
        <p:nvSpPr>
          <p:cNvPr id="44" name="Retângulo 43">
            <a:extLst>
              <a:ext uri="{FF2B5EF4-FFF2-40B4-BE49-F238E27FC236}">
                <a16:creationId xmlns:a16="http://schemas.microsoft.com/office/drawing/2014/main" id="{FABF1375-6ED8-46BF-97C8-451FB5FD2870}"/>
              </a:ext>
            </a:extLst>
          </p:cNvPr>
          <p:cNvSpPr/>
          <p:nvPr/>
        </p:nvSpPr>
        <p:spPr>
          <a:xfrm>
            <a:off x="2149104" y="3251002"/>
            <a:ext cx="39805" cy="63527"/>
          </a:xfrm>
          <a:prstGeom prst="rect">
            <a:avLst/>
          </a:prstGeom>
          <a:solidFill>
            <a:srgbClr val="2097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5" name="Retângulo 44">
            <a:extLst>
              <a:ext uri="{FF2B5EF4-FFF2-40B4-BE49-F238E27FC236}">
                <a16:creationId xmlns:a16="http://schemas.microsoft.com/office/drawing/2014/main" id="{FDF3F3F8-3D99-451C-A49B-BDCC64B70891}"/>
              </a:ext>
            </a:extLst>
          </p:cNvPr>
          <p:cNvSpPr/>
          <p:nvPr/>
        </p:nvSpPr>
        <p:spPr>
          <a:xfrm>
            <a:off x="2144205" y="3378957"/>
            <a:ext cx="39805" cy="63527"/>
          </a:xfrm>
          <a:prstGeom prst="rect">
            <a:avLst/>
          </a:prstGeom>
          <a:solidFill>
            <a:srgbClr val="92D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6" name="Retângulo 45">
            <a:extLst>
              <a:ext uri="{FF2B5EF4-FFF2-40B4-BE49-F238E27FC236}">
                <a16:creationId xmlns:a16="http://schemas.microsoft.com/office/drawing/2014/main" id="{63AF410E-B77D-4353-A79B-E2B1D9E3A7AE}"/>
              </a:ext>
            </a:extLst>
          </p:cNvPr>
          <p:cNvSpPr/>
          <p:nvPr/>
        </p:nvSpPr>
        <p:spPr>
          <a:xfrm>
            <a:off x="2191490" y="3316490"/>
            <a:ext cx="1139115" cy="191484"/>
          </a:xfrm>
          <a:prstGeom prst="rect">
            <a:avLst/>
          </a:prstGeom>
        </p:spPr>
        <p:txBody>
          <a:bodyPr wrap="none">
            <a:spAutoFit/>
          </a:bodyPr>
          <a:lstStyle/>
          <a:p>
            <a:r>
              <a:rPr lang="pt-BR" sz="800" dirty="0"/>
              <a:t>New business </a:t>
            </a:r>
            <a:r>
              <a:rPr lang="pt-BR" sz="800" dirty="0" err="1"/>
              <a:t>regions</a:t>
            </a:r>
            <a:r>
              <a:rPr lang="pt-BR" sz="800" dirty="0"/>
              <a:t> VDB</a:t>
            </a:r>
            <a:endParaRPr lang="en-US" sz="500" dirty="0"/>
          </a:p>
        </p:txBody>
      </p:sp>
      <p:sp>
        <p:nvSpPr>
          <p:cNvPr id="47" name="Rectangle 166">
            <a:extLst>
              <a:ext uri="{FF2B5EF4-FFF2-40B4-BE49-F238E27FC236}">
                <a16:creationId xmlns:a16="http://schemas.microsoft.com/office/drawing/2014/main" id="{14959EE3-FFE1-423F-A013-8EA99B9E829E}"/>
              </a:ext>
            </a:extLst>
          </p:cNvPr>
          <p:cNvSpPr>
            <a:spLocks noChangeArrowheads="1"/>
          </p:cNvSpPr>
          <p:nvPr>
            <p:custDataLst>
              <p:tags r:id="rId3"/>
            </p:custDataLst>
          </p:nvPr>
        </p:nvSpPr>
        <p:spPr bwMode="gray">
          <a:xfrm>
            <a:off x="3755807" y="1328608"/>
            <a:ext cx="1644670" cy="221705"/>
          </a:xfrm>
          <a:prstGeom prst="rect">
            <a:avLst/>
          </a:prstGeom>
          <a:solidFill>
            <a:srgbClr val="DCDCDC"/>
          </a:solidFill>
          <a:ln w="12700">
            <a:solidFill>
              <a:schemeClr val="bg1"/>
            </a:solidFill>
            <a:miter lim="800000"/>
            <a:headEnd/>
            <a:tailEnd/>
          </a:ln>
        </p:spPr>
        <p:txBody>
          <a:bodyPr lIns="0" tIns="0" rIns="0" bIns="0" anchor="ctr"/>
          <a:lstStyle/>
          <a:p>
            <a:pPr algn="ctr" defTabSz="940621" eaLnBrk="0" hangingPunct="0"/>
            <a:r>
              <a:rPr lang="en-US" sz="1400" b="1" dirty="0">
                <a:solidFill>
                  <a:srgbClr val="000000"/>
                </a:solidFill>
              </a:rPr>
              <a:t>2019</a:t>
            </a:r>
          </a:p>
        </p:txBody>
      </p:sp>
      <p:sp>
        <p:nvSpPr>
          <p:cNvPr id="48" name="Rectangle 2">
            <a:extLst>
              <a:ext uri="{FF2B5EF4-FFF2-40B4-BE49-F238E27FC236}">
                <a16:creationId xmlns:a16="http://schemas.microsoft.com/office/drawing/2014/main" id="{77C01FC3-A873-4E67-B306-71FE58AAA04F}"/>
              </a:ext>
            </a:extLst>
          </p:cNvPr>
          <p:cNvSpPr>
            <a:spLocks noChangeArrowheads="1"/>
          </p:cNvSpPr>
          <p:nvPr>
            <p:custDataLst>
              <p:tags r:id="rId4"/>
            </p:custDataLst>
          </p:nvPr>
        </p:nvSpPr>
        <p:spPr bwMode="gray">
          <a:xfrm>
            <a:off x="3766387" y="1601101"/>
            <a:ext cx="1634090" cy="1921823"/>
          </a:xfrm>
          <a:prstGeom prst="rect">
            <a:avLst/>
          </a:prstGeom>
          <a:noFill/>
          <a:ln w="12700">
            <a:solidFill>
              <a:srgbClr val="C0C0C0"/>
            </a:solidFill>
            <a:miter lim="800000"/>
            <a:headEnd/>
            <a:tailEnd/>
          </a:ln>
        </p:spPr>
        <p:txBody>
          <a:bodyPr lIns="0" tIns="0" rIns="0" bIns="0" anchor="ctr"/>
          <a:lstStyle/>
          <a:p>
            <a:pPr algn="ctr" defTabSz="940621" eaLnBrk="0" hangingPunct="0"/>
            <a:endParaRPr lang="en-US" sz="2100" b="1" dirty="0">
              <a:solidFill>
                <a:srgbClr val="000000"/>
              </a:solidFill>
            </a:endParaRPr>
          </a:p>
        </p:txBody>
      </p:sp>
      <p:sp>
        <p:nvSpPr>
          <p:cNvPr id="49" name="Rectangle 166">
            <a:extLst>
              <a:ext uri="{FF2B5EF4-FFF2-40B4-BE49-F238E27FC236}">
                <a16:creationId xmlns:a16="http://schemas.microsoft.com/office/drawing/2014/main" id="{AAAB92BF-0CB9-4EF0-8AD1-D81DE20A187D}"/>
              </a:ext>
            </a:extLst>
          </p:cNvPr>
          <p:cNvSpPr>
            <a:spLocks noChangeArrowheads="1"/>
          </p:cNvSpPr>
          <p:nvPr>
            <p:custDataLst>
              <p:tags r:id="rId5"/>
            </p:custDataLst>
          </p:nvPr>
        </p:nvSpPr>
        <p:spPr bwMode="gray">
          <a:xfrm>
            <a:off x="5458745" y="1330025"/>
            <a:ext cx="1666826" cy="221705"/>
          </a:xfrm>
          <a:prstGeom prst="rect">
            <a:avLst/>
          </a:prstGeom>
          <a:solidFill>
            <a:srgbClr val="DCDCDC"/>
          </a:solidFill>
          <a:ln w="12700">
            <a:solidFill>
              <a:schemeClr val="bg1"/>
            </a:solidFill>
            <a:miter lim="800000"/>
            <a:headEnd/>
            <a:tailEnd/>
          </a:ln>
        </p:spPr>
        <p:txBody>
          <a:bodyPr lIns="0" tIns="0" rIns="0" bIns="0" anchor="ctr"/>
          <a:lstStyle/>
          <a:p>
            <a:pPr algn="ctr" defTabSz="940621" eaLnBrk="0" hangingPunct="0"/>
            <a:r>
              <a:rPr lang="en-US" sz="1400" b="1" dirty="0">
                <a:solidFill>
                  <a:srgbClr val="000000"/>
                </a:solidFill>
              </a:rPr>
              <a:t>2020</a:t>
            </a:r>
          </a:p>
        </p:txBody>
      </p:sp>
      <p:sp>
        <p:nvSpPr>
          <p:cNvPr id="50" name="Rectangle 2">
            <a:extLst>
              <a:ext uri="{FF2B5EF4-FFF2-40B4-BE49-F238E27FC236}">
                <a16:creationId xmlns:a16="http://schemas.microsoft.com/office/drawing/2014/main" id="{FB0A571C-FEB7-411C-952A-13AA2A8B4F4B}"/>
              </a:ext>
            </a:extLst>
          </p:cNvPr>
          <p:cNvSpPr>
            <a:spLocks noChangeArrowheads="1"/>
          </p:cNvSpPr>
          <p:nvPr>
            <p:custDataLst>
              <p:tags r:id="rId6"/>
            </p:custDataLst>
          </p:nvPr>
        </p:nvSpPr>
        <p:spPr bwMode="gray">
          <a:xfrm>
            <a:off x="5469326" y="1588375"/>
            <a:ext cx="1656243" cy="1921823"/>
          </a:xfrm>
          <a:prstGeom prst="rect">
            <a:avLst/>
          </a:prstGeom>
          <a:noFill/>
          <a:ln w="12700">
            <a:solidFill>
              <a:srgbClr val="C0C0C0"/>
            </a:solidFill>
            <a:miter lim="800000"/>
            <a:headEnd/>
            <a:tailEnd/>
          </a:ln>
        </p:spPr>
        <p:txBody>
          <a:bodyPr lIns="0" tIns="0" rIns="0" bIns="0" anchor="ctr"/>
          <a:lstStyle/>
          <a:p>
            <a:pPr algn="ctr" defTabSz="940621" eaLnBrk="0" hangingPunct="0"/>
            <a:endParaRPr lang="en-US" sz="2100" b="1" dirty="0">
              <a:solidFill>
                <a:srgbClr val="000000"/>
              </a:solidFill>
            </a:endParaRPr>
          </a:p>
        </p:txBody>
      </p:sp>
      <p:sp>
        <p:nvSpPr>
          <p:cNvPr id="51" name="Rectangle 166">
            <a:extLst>
              <a:ext uri="{FF2B5EF4-FFF2-40B4-BE49-F238E27FC236}">
                <a16:creationId xmlns:a16="http://schemas.microsoft.com/office/drawing/2014/main" id="{97ABACC4-6791-4728-8D89-9B3971DD5600}"/>
              </a:ext>
            </a:extLst>
          </p:cNvPr>
          <p:cNvSpPr>
            <a:spLocks noChangeArrowheads="1"/>
          </p:cNvSpPr>
          <p:nvPr>
            <p:custDataLst>
              <p:tags r:id="rId7"/>
            </p:custDataLst>
          </p:nvPr>
        </p:nvSpPr>
        <p:spPr bwMode="gray">
          <a:xfrm>
            <a:off x="7172596" y="1326351"/>
            <a:ext cx="1666826" cy="221705"/>
          </a:xfrm>
          <a:prstGeom prst="rect">
            <a:avLst/>
          </a:prstGeom>
          <a:solidFill>
            <a:srgbClr val="DCDCDC"/>
          </a:solidFill>
          <a:ln w="12700">
            <a:solidFill>
              <a:schemeClr val="bg1"/>
            </a:solidFill>
            <a:miter lim="800000"/>
            <a:headEnd/>
            <a:tailEnd/>
          </a:ln>
        </p:spPr>
        <p:txBody>
          <a:bodyPr lIns="0" tIns="0" rIns="0" bIns="0" anchor="ctr"/>
          <a:lstStyle/>
          <a:p>
            <a:pPr algn="ctr" defTabSz="940621" eaLnBrk="0" hangingPunct="0"/>
            <a:r>
              <a:rPr lang="en-US" sz="1400" b="1" dirty="0">
                <a:solidFill>
                  <a:srgbClr val="000000"/>
                </a:solidFill>
              </a:rPr>
              <a:t>2021</a:t>
            </a:r>
          </a:p>
        </p:txBody>
      </p:sp>
      <p:sp>
        <p:nvSpPr>
          <p:cNvPr id="52" name="Rectangle 2">
            <a:extLst>
              <a:ext uri="{FF2B5EF4-FFF2-40B4-BE49-F238E27FC236}">
                <a16:creationId xmlns:a16="http://schemas.microsoft.com/office/drawing/2014/main" id="{3C22CDCF-ECA8-4B48-9BF5-8BCA0663A702}"/>
              </a:ext>
            </a:extLst>
          </p:cNvPr>
          <p:cNvSpPr>
            <a:spLocks noChangeArrowheads="1"/>
          </p:cNvSpPr>
          <p:nvPr>
            <p:custDataLst>
              <p:tags r:id="rId8"/>
            </p:custDataLst>
          </p:nvPr>
        </p:nvSpPr>
        <p:spPr bwMode="gray">
          <a:xfrm>
            <a:off x="7183177" y="1584699"/>
            <a:ext cx="1656243" cy="1921823"/>
          </a:xfrm>
          <a:prstGeom prst="rect">
            <a:avLst/>
          </a:prstGeom>
          <a:noFill/>
          <a:ln w="12700">
            <a:solidFill>
              <a:srgbClr val="C0C0C0"/>
            </a:solidFill>
            <a:miter lim="800000"/>
            <a:headEnd/>
            <a:tailEnd/>
          </a:ln>
        </p:spPr>
        <p:txBody>
          <a:bodyPr lIns="0" tIns="0" rIns="0" bIns="0" anchor="ctr"/>
          <a:lstStyle/>
          <a:p>
            <a:pPr algn="ctr" defTabSz="940621" eaLnBrk="0" hangingPunct="0"/>
            <a:endParaRPr lang="en-US" sz="2100" b="1" dirty="0">
              <a:solidFill>
                <a:srgbClr val="000000"/>
              </a:solidFill>
            </a:endParaRPr>
          </a:p>
        </p:txBody>
      </p:sp>
      <p:sp>
        <p:nvSpPr>
          <p:cNvPr id="53" name="Rectangle 2">
            <a:extLst>
              <a:ext uri="{FF2B5EF4-FFF2-40B4-BE49-F238E27FC236}">
                <a16:creationId xmlns:a16="http://schemas.microsoft.com/office/drawing/2014/main" id="{F2191A40-F848-4FCC-B1EA-EDB04148745B}"/>
              </a:ext>
            </a:extLst>
          </p:cNvPr>
          <p:cNvSpPr>
            <a:spLocks noChangeArrowheads="1"/>
          </p:cNvSpPr>
          <p:nvPr>
            <p:custDataLst>
              <p:tags r:id="rId9"/>
            </p:custDataLst>
          </p:nvPr>
        </p:nvSpPr>
        <p:spPr bwMode="gray">
          <a:xfrm>
            <a:off x="8912247" y="1584699"/>
            <a:ext cx="1605534" cy="1905305"/>
          </a:xfrm>
          <a:prstGeom prst="rect">
            <a:avLst/>
          </a:prstGeom>
          <a:noFill/>
          <a:ln w="12700">
            <a:solidFill>
              <a:srgbClr val="C0C0C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p>
            <a:pPr algn="ctr" defTabSz="939800" eaLnBrk="0" hangingPunct="0"/>
            <a:endParaRPr lang="en-US" sz="2100" b="1" dirty="0">
              <a:solidFill>
                <a:srgbClr val="000000"/>
              </a:solidFill>
            </a:endParaRPr>
          </a:p>
        </p:txBody>
      </p:sp>
      <p:sp>
        <p:nvSpPr>
          <p:cNvPr id="54" name="Rectangle 166">
            <a:extLst>
              <a:ext uri="{FF2B5EF4-FFF2-40B4-BE49-F238E27FC236}">
                <a16:creationId xmlns:a16="http://schemas.microsoft.com/office/drawing/2014/main" id="{D29C3303-72AF-4E10-8F88-7A0096E51569}"/>
              </a:ext>
            </a:extLst>
          </p:cNvPr>
          <p:cNvSpPr>
            <a:spLocks noChangeArrowheads="1"/>
          </p:cNvSpPr>
          <p:nvPr>
            <p:custDataLst>
              <p:tags r:id="rId10"/>
            </p:custDataLst>
          </p:nvPr>
        </p:nvSpPr>
        <p:spPr bwMode="gray">
          <a:xfrm>
            <a:off x="8877028" y="1326349"/>
            <a:ext cx="1647294" cy="225382"/>
          </a:xfrm>
          <a:prstGeom prst="rect">
            <a:avLst/>
          </a:prstGeom>
          <a:solidFill>
            <a:srgbClr val="DCDCDC"/>
          </a:solidFill>
          <a:ln w="12700">
            <a:solidFill>
              <a:schemeClr val="bg1"/>
            </a:solidFill>
            <a:miter lim="800000"/>
            <a:headEnd/>
            <a:tailEnd/>
          </a:ln>
        </p:spPr>
        <p:txBody>
          <a:bodyPr lIns="0" tIns="0" rIns="0" bIns="0" anchor="ctr"/>
          <a:lstStyle/>
          <a:p>
            <a:pPr algn="ctr" defTabSz="940621" eaLnBrk="0" hangingPunct="0"/>
            <a:r>
              <a:rPr lang="en-US" sz="1400" b="1" dirty="0">
                <a:solidFill>
                  <a:srgbClr val="000000"/>
                </a:solidFill>
              </a:rPr>
              <a:t>2022</a:t>
            </a:r>
          </a:p>
        </p:txBody>
      </p:sp>
      <p:grpSp>
        <p:nvGrpSpPr>
          <p:cNvPr id="55" name="Group 345">
            <a:extLst>
              <a:ext uri="{FF2B5EF4-FFF2-40B4-BE49-F238E27FC236}">
                <a16:creationId xmlns:a16="http://schemas.microsoft.com/office/drawing/2014/main" id="{4DF621BD-8B59-4AE8-9CF1-0CFD48B1BEA5}"/>
              </a:ext>
            </a:extLst>
          </p:cNvPr>
          <p:cNvGrpSpPr>
            <a:grpSpLocks noChangeAspect="1"/>
          </p:cNvGrpSpPr>
          <p:nvPr/>
        </p:nvGrpSpPr>
        <p:grpSpPr bwMode="auto">
          <a:xfrm>
            <a:off x="3836570" y="1661229"/>
            <a:ext cx="1392425" cy="1597569"/>
            <a:chOff x="10105" y="200"/>
            <a:chExt cx="4730" cy="4710"/>
          </a:xfrm>
          <a:solidFill>
            <a:schemeClr val="bg1">
              <a:lumMod val="75000"/>
            </a:schemeClr>
          </a:solidFill>
        </p:grpSpPr>
        <p:sp>
          <p:nvSpPr>
            <p:cNvPr id="56" name="Freeform 318">
              <a:extLst>
                <a:ext uri="{FF2B5EF4-FFF2-40B4-BE49-F238E27FC236}">
                  <a16:creationId xmlns:a16="http://schemas.microsoft.com/office/drawing/2014/main" id="{AD75A87C-95B5-4A3F-87B6-31654EDA0CBD}"/>
                </a:ext>
              </a:extLst>
            </p:cNvPr>
            <p:cNvSpPr>
              <a:spLocks noChangeAspect="1"/>
            </p:cNvSpPr>
            <p:nvPr/>
          </p:nvSpPr>
          <p:spPr bwMode="auto">
            <a:xfrm>
              <a:off x="10105" y="1698"/>
              <a:ext cx="878" cy="494"/>
            </a:xfrm>
            <a:custGeom>
              <a:avLst/>
              <a:gdLst/>
              <a:ahLst/>
              <a:cxnLst>
                <a:cxn ang="0">
                  <a:pos x="364" y="133"/>
                </a:cxn>
                <a:cxn ang="0">
                  <a:pos x="353" y="134"/>
                </a:cxn>
                <a:cxn ang="0">
                  <a:pos x="296" y="101"/>
                </a:cxn>
                <a:cxn ang="0">
                  <a:pos x="216" y="58"/>
                </a:cxn>
                <a:cxn ang="0">
                  <a:pos x="87" y="31"/>
                </a:cxn>
                <a:cxn ang="0">
                  <a:pos x="13" y="0"/>
                </a:cxn>
                <a:cxn ang="0">
                  <a:pos x="15" y="9"/>
                </a:cxn>
                <a:cxn ang="0">
                  <a:pos x="2" y="14"/>
                </a:cxn>
                <a:cxn ang="0">
                  <a:pos x="0" y="25"/>
                </a:cxn>
                <a:cxn ang="0">
                  <a:pos x="18" y="39"/>
                </a:cxn>
                <a:cxn ang="0">
                  <a:pos x="10" y="47"/>
                </a:cxn>
                <a:cxn ang="0">
                  <a:pos x="21" y="55"/>
                </a:cxn>
                <a:cxn ang="0">
                  <a:pos x="23" y="66"/>
                </a:cxn>
                <a:cxn ang="0">
                  <a:pos x="39" y="81"/>
                </a:cxn>
                <a:cxn ang="0">
                  <a:pos x="40" y="92"/>
                </a:cxn>
                <a:cxn ang="0">
                  <a:pos x="51" y="97"/>
                </a:cxn>
                <a:cxn ang="0">
                  <a:pos x="65" y="117"/>
                </a:cxn>
                <a:cxn ang="0">
                  <a:pos x="48" y="137"/>
                </a:cxn>
                <a:cxn ang="0">
                  <a:pos x="99" y="145"/>
                </a:cxn>
                <a:cxn ang="0">
                  <a:pos x="108" y="173"/>
                </a:cxn>
                <a:cxn ang="0">
                  <a:pos x="163" y="173"/>
                </a:cxn>
                <a:cxn ang="0">
                  <a:pos x="206" y="140"/>
                </a:cxn>
                <a:cxn ang="0">
                  <a:pos x="206" y="151"/>
                </a:cxn>
                <a:cxn ang="0">
                  <a:pos x="208" y="158"/>
                </a:cxn>
                <a:cxn ang="0">
                  <a:pos x="202" y="165"/>
                </a:cxn>
                <a:cxn ang="0">
                  <a:pos x="200" y="233"/>
                </a:cxn>
                <a:cxn ang="0">
                  <a:pos x="207" y="228"/>
                </a:cxn>
                <a:cxn ang="0">
                  <a:pos x="218" y="238"/>
                </a:cxn>
                <a:cxn ang="0">
                  <a:pos x="242" y="229"/>
                </a:cxn>
                <a:cxn ang="0">
                  <a:pos x="276" y="229"/>
                </a:cxn>
                <a:cxn ang="0">
                  <a:pos x="313" y="233"/>
                </a:cxn>
                <a:cxn ang="0">
                  <a:pos x="320" y="247"/>
                </a:cxn>
                <a:cxn ang="0">
                  <a:pos x="345" y="232"/>
                </a:cxn>
                <a:cxn ang="0">
                  <a:pos x="355" y="214"/>
                </a:cxn>
                <a:cxn ang="0">
                  <a:pos x="373" y="216"/>
                </a:cxn>
                <a:cxn ang="0">
                  <a:pos x="398" y="196"/>
                </a:cxn>
                <a:cxn ang="0">
                  <a:pos x="419" y="192"/>
                </a:cxn>
                <a:cxn ang="0">
                  <a:pos x="439" y="170"/>
                </a:cxn>
                <a:cxn ang="0">
                  <a:pos x="439" y="170"/>
                </a:cxn>
                <a:cxn ang="0">
                  <a:pos x="433" y="163"/>
                </a:cxn>
                <a:cxn ang="0">
                  <a:pos x="364" y="133"/>
                </a:cxn>
              </a:cxnLst>
              <a:rect l="0" t="0" r="r" b="b"/>
              <a:pathLst>
                <a:path w="439" h="247">
                  <a:moveTo>
                    <a:pt x="364" y="133"/>
                  </a:moveTo>
                  <a:cubicBezTo>
                    <a:pt x="364" y="133"/>
                    <a:pt x="355" y="134"/>
                    <a:pt x="353" y="134"/>
                  </a:cubicBezTo>
                  <a:cubicBezTo>
                    <a:pt x="352" y="134"/>
                    <a:pt x="312" y="108"/>
                    <a:pt x="296" y="101"/>
                  </a:cubicBezTo>
                  <a:cubicBezTo>
                    <a:pt x="280" y="94"/>
                    <a:pt x="216" y="58"/>
                    <a:pt x="216" y="58"/>
                  </a:cubicBezTo>
                  <a:cubicBezTo>
                    <a:pt x="216" y="58"/>
                    <a:pt x="104" y="34"/>
                    <a:pt x="87" y="31"/>
                  </a:cubicBezTo>
                  <a:cubicBezTo>
                    <a:pt x="74" y="29"/>
                    <a:pt x="32" y="9"/>
                    <a:pt x="13" y="0"/>
                  </a:cubicBezTo>
                  <a:cubicBezTo>
                    <a:pt x="14" y="4"/>
                    <a:pt x="15" y="8"/>
                    <a:pt x="15" y="9"/>
                  </a:cubicBezTo>
                  <a:cubicBezTo>
                    <a:pt x="2" y="14"/>
                    <a:pt x="2" y="14"/>
                    <a:pt x="2" y="14"/>
                  </a:cubicBezTo>
                  <a:cubicBezTo>
                    <a:pt x="2" y="14"/>
                    <a:pt x="0" y="19"/>
                    <a:pt x="0" y="25"/>
                  </a:cubicBezTo>
                  <a:cubicBezTo>
                    <a:pt x="0" y="32"/>
                    <a:pt x="18" y="39"/>
                    <a:pt x="18" y="39"/>
                  </a:cubicBezTo>
                  <a:cubicBezTo>
                    <a:pt x="18" y="39"/>
                    <a:pt x="11" y="46"/>
                    <a:pt x="10" y="47"/>
                  </a:cubicBezTo>
                  <a:cubicBezTo>
                    <a:pt x="10" y="48"/>
                    <a:pt x="21" y="55"/>
                    <a:pt x="21" y="55"/>
                  </a:cubicBezTo>
                  <a:cubicBezTo>
                    <a:pt x="21" y="55"/>
                    <a:pt x="20" y="57"/>
                    <a:pt x="23" y="66"/>
                  </a:cubicBezTo>
                  <a:cubicBezTo>
                    <a:pt x="25" y="76"/>
                    <a:pt x="39" y="81"/>
                    <a:pt x="39" y="81"/>
                  </a:cubicBezTo>
                  <a:cubicBezTo>
                    <a:pt x="40" y="92"/>
                    <a:pt x="40" y="92"/>
                    <a:pt x="40" y="92"/>
                  </a:cubicBezTo>
                  <a:cubicBezTo>
                    <a:pt x="51" y="97"/>
                    <a:pt x="51" y="97"/>
                    <a:pt x="51" y="97"/>
                  </a:cubicBezTo>
                  <a:cubicBezTo>
                    <a:pt x="65" y="117"/>
                    <a:pt x="65" y="117"/>
                    <a:pt x="65" y="117"/>
                  </a:cubicBezTo>
                  <a:cubicBezTo>
                    <a:pt x="48" y="137"/>
                    <a:pt x="48" y="137"/>
                    <a:pt x="48" y="137"/>
                  </a:cubicBezTo>
                  <a:cubicBezTo>
                    <a:pt x="48" y="137"/>
                    <a:pt x="86" y="141"/>
                    <a:pt x="99" y="145"/>
                  </a:cubicBezTo>
                  <a:cubicBezTo>
                    <a:pt x="112" y="149"/>
                    <a:pt x="108" y="173"/>
                    <a:pt x="108" y="173"/>
                  </a:cubicBezTo>
                  <a:cubicBezTo>
                    <a:pt x="163" y="173"/>
                    <a:pt x="163" y="173"/>
                    <a:pt x="163" y="173"/>
                  </a:cubicBezTo>
                  <a:cubicBezTo>
                    <a:pt x="206" y="140"/>
                    <a:pt x="206" y="140"/>
                    <a:pt x="206" y="140"/>
                  </a:cubicBezTo>
                  <a:cubicBezTo>
                    <a:pt x="206" y="151"/>
                    <a:pt x="206" y="151"/>
                    <a:pt x="206" y="151"/>
                  </a:cubicBezTo>
                  <a:cubicBezTo>
                    <a:pt x="208" y="158"/>
                    <a:pt x="208" y="158"/>
                    <a:pt x="208" y="158"/>
                  </a:cubicBezTo>
                  <a:cubicBezTo>
                    <a:pt x="202" y="165"/>
                    <a:pt x="202" y="165"/>
                    <a:pt x="202" y="165"/>
                  </a:cubicBezTo>
                  <a:cubicBezTo>
                    <a:pt x="200" y="233"/>
                    <a:pt x="200" y="233"/>
                    <a:pt x="200" y="233"/>
                  </a:cubicBezTo>
                  <a:cubicBezTo>
                    <a:pt x="207" y="228"/>
                    <a:pt x="207" y="228"/>
                    <a:pt x="207" y="228"/>
                  </a:cubicBezTo>
                  <a:cubicBezTo>
                    <a:pt x="218" y="238"/>
                    <a:pt x="218" y="238"/>
                    <a:pt x="218" y="238"/>
                  </a:cubicBezTo>
                  <a:cubicBezTo>
                    <a:pt x="242" y="229"/>
                    <a:pt x="242" y="229"/>
                    <a:pt x="242" y="229"/>
                  </a:cubicBezTo>
                  <a:cubicBezTo>
                    <a:pt x="242" y="229"/>
                    <a:pt x="270" y="229"/>
                    <a:pt x="276" y="229"/>
                  </a:cubicBezTo>
                  <a:cubicBezTo>
                    <a:pt x="281" y="229"/>
                    <a:pt x="312" y="233"/>
                    <a:pt x="313" y="233"/>
                  </a:cubicBezTo>
                  <a:cubicBezTo>
                    <a:pt x="314" y="232"/>
                    <a:pt x="320" y="247"/>
                    <a:pt x="320" y="247"/>
                  </a:cubicBezTo>
                  <a:cubicBezTo>
                    <a:pt x="320" y="247"/>
                    <a:pt x="327" y="238"/>
                    <a:pt x="345" y="232"/>
                  </a:cubicBezTo>
                  <a:cubicBezTo>
                    <a:pt x="364" y="225"/>
                    <a:pt x="355" y="214"/>
                    <a:pt x="355" y="214"/>
                  </a:cubicBezTo>
                  <a:cubicBezTo>
                    <a:pt x="355" y="214"/>
                    <a:pt x="372" y="215"/>
                    <a:pt x="373" y="216"/>
                  </a:cubicBezTo>
                  <a:cubicBezTo>
                    <a:pt x="374" y="215"/>
                    <a:pt x="390" y="201"/>
                    <a:pt x="398" y="196"/>
                  </a:cubicBezTo>
                  <a:cubicBezTo>
                    <a:pt x="407" y="190"/>
                    <a:pt x="419" y="192"/>
                    <a:pt x="419" y="192"/>
                  </a:cubicBezTo>
                  <a:cubicBezTo>
                    <a:pt x="419" y="192"/>
                    <a:pt x="435" y="173"/>
                    <a:pt x="439" y="170"/>
                  </a:cubicBezTo>
                  <a:cubicBezTo>
                    <a:pt x="439" y="170"/>
                    <a:pt x="439" y="170"/>
                    <a:pt x="439" y="170"/>
                  </a:cubicBezTo>
                  <a:cubicBezTo>
                    <a:pt x="433" y="163"/>
                    <a:pt x="433" y="163"/>
                    <a:pt x="433" y="163"/>
                  </a:cubicBezTo>
                  <a:lnTo>
                    <a:pt x="364" y="133"/>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57" name="Freeform 319">
              <a:extLst>
                <a:ext uri="{FF2B5EF4-FFF2-40B4-BE49-F238E27FC236}">
                  <a16:creationId xmlns:a16="http://schemas.microsoft.com/office/drawing/2014/main" id="{6B4A1E43-E4B1-4A54-BBAB-E784AF47819B}"/>
                </a:ext>
              </a:extLst>
            </p:cNvPr>
            <p:cNvSpPr>
              <a:spLocks noChangeAspect="1"/>
            </p:cNvSpPr>
            <p:nvPr/>
          </p:nvSpPr>
          <p:spPr bwMode="auto">
            <a:xfrm>
              <a:off x="10967" y="1795"/>
              <a:ext cx="858" cy="692"/>
            </a:xfrm>
            <a:custGeom>
              <a:avLst/>
              <a:gdLst/>
              <a:ahLst/>
              <a:cxnLst>
                <a:cxn ang="0">
                  <a:pos x="279" y="40"/>
                </a:cxn>
                <a:cxn ang="0">
                  <a:pos x="272" y="28"/>
                </a:cxn>
                <a:cxn ang="0">
                  <a:pos x="251" y="20"/>
                </a:cxn>
                <a:cxn ang="0">
                  <a:pos x="191" y="0"/>
                </a:cxn>
                <a:cxn ang="0">
                  <a:pos x="187" y="22"/>
                </a:cxn>
                <a:cxn ang="0">
                  <a:pos x="174" y="43"/>
                </a:cxn>
                <a:cxn ang="0">
                  <a:pos x="162" y="64"/>
                </a:cxn>
                <a:cxn ang="0">
                  <a:pos x="132" y="68"/>
                </a:cxn>
                <a:cxn ang="0">
                  <a:pos x="115" y="72"/>
                </a:cxn>
                <a:cxn ang="0">
                  <a:pos x="102" y="90"/>
                </a:cxn>
                <a:cxn ang="0">
                  <a:pos x="84" y="81"/>
                </a:cxn>
                <a:cxn ang="0">
                  <a:pos x="75" y="91"/>
                </a:cxn>
                <a:cxn ang="0">
                  <a:pos x="50" y="86"/>
                </a:cxn>
                <a:cxn ang="0">
                  <a:pos x="24" y="97"/>
                </a:cxn>
                <a:cxn ang="0">
                  <a:pos x="0" y="113"/>
                </a:cxn>
                <a:cxn ang="0">
                  <a:pos x="9" y="121"/>
                </a:cxn>
                <a:cxn ang="0">
                  <a:pos x="74" y="115"/>
                </a:cxn>
                <a:cxn ang="0">
                  <a:pos x="98" y="114"/>
                </a:cxn>
                <a:cxn ang="0">
                  <a:pos x="96" y="136"/>
                </a:cxn>
                <a:cxn ang="0">
                  <a:pos x="98" y="183"/>
                </a:cxn>
                <a:cxn ang="0">
                  <a:pos x="96" y="227"/>
                </a:cxn>
                <a:cxn ang="0">
                  <a:pos x="104" y="241"/>
                </a:cxn>
                <a:cxn ang="0">
                  <a:pos x="138" y="258"/>
                </a:cxn>
                <a:cxn ang="0">
                  <a:pos x="164" y="274"/>
                </a:cxn>
                <a:cxn ang="0">
                  <a:pos x="207" y="287"/>
                </a:cxn>
                <a:cxn ang="0">
                  <a:pos x="258" y="309"/>
                </a:cxn>
                <a:cxn ang="0">
                  <a:pos x="299" y="336"/>
                </a:cxn>
                <a:cxn ang="0">
                  <a:pos x="369" y="346"/>
                </a:cxn>
                <a:cxn ang="0">
                  <a:pos x="392" y="309"/>
                </a:cxn>
                <a:cxn ang="0">
                  <a:pos x="406" y="281"/>
                </a:cxn>
                <a:cxn ang="0">
                  <a:pos x="417" y="250"/>
                </a:cxn>
                <a:cxn ang="0">
                  <a:pos x="406" y="236"/>
                </a:cxn>
                <a:cxn ang="0">
                  <a:pos x="422" y="206"/>
                </a:cxn>
                <a:cxn ang="0">
                  <a:pos x="394" y="190"/>
                </a:cxn>
                <a:cxn ang="0">
                  <a:pos x="319" y="180"/>
                </a:cxn>
                <a:cxn ang="0">
                  <a:pos x="316" y="133"/>
                </a:cxn>
                <a:cxn ang="0">
                  <a:pos x="318" y="108"/>
                </a:cxn>
                <a:cxn ang="0">
                  <a:pos x="319" y="91"/>
                </a:cxn>
                <a:cxn ang="0">
                  <a:pos x="321" y="78"/>
                </a:cxn>
                <a:cxn ang="0">
                  <a:pos x="318" y="54"/>
                </a:cxn>
                <a:cxn ang="0">
                  <a:pos x="290" y="52"/>
                </a:cxn>
              </a:cxnLst>
              <a:rect l="0" t="0" r="r" b="b"/>
              <a:pathLst>
                <a:path w="429" h="346">
                  <a:moveTo>
                    <a:pt x="290" y="52"/>
                  </a:moveTo>
                  <a:cubicBezTo>
                    <a:pt x="284" y="50"/>
                    <a:pt x="279" y="40"/>
                    <a:pt x="279" y="40"/>
                  </a:cubicBezTo>
                  <a:cubicBezTo>
                    <a:pt x="273" y="42"/>
                    <a:pt x="273" y="42"/>
                    <a:pt x="273" y="42"/>
                  </a:cubicBezTo>
                  <a:cubicBezTo>
                    <a:pt x="272" y="28"/>
                    <a:pt x="272" y="28"/>
                    <a:pt x="272" y="28"/>
                  </a:cubicBezTo>
                  <a:cubicBezTo>
                    <a:pt x="261" y="28"/>
                    <a:pt x="261" y="28"/>
                    <a:pt x="261" y="28"/>
                  </a:cubicBezTo>
                  <a:cubicBezTo>
                    <a:pt x="261" y="28"/>
                    <a:pt x="257" y="21"/>
                    <a:pt x="251" y="20"/>
                  </a:cubicBezTo>
                  <a:cubicBezTo>
                    <a:pt x="245" y="20"/>
                    <a:pt x="240" y="2"/>
                    <a:pt x="240" y="2"/>
                  </a:cubicBezTo>
                  <a:cubicBezTo>
                    <a:pt x="191" y="0"/>
                    <a:pt x="191" y="0"/>
                    <a:pt x="191" y="0"/>
                  </a:cubicBezTo>
                  <a:cubicBezTo>
                    <a:pt x="192" y="9"/>
                    <a:pt x="192" y="9"/>
                    <a:pt x="192" y="9"/>
                  </a:cubicBezTo>
                  <a:cubicBezTo>
                    <a:pt x="192" y="9"/>
                    <a:pt x="187" y="20"/>
                    <a:pt x="187" y="22"/>
                  </a:cubicBezTo>
                  <a:cubicBezTo>
                    <a:pt x="186" y="23"/>
                    <a:pt x="172" y="22"/>
                    <a:pt x="172" y="24"/>
                  </a:cubicBezTo>
                  <a:cubicBezTo>
                    <a:pt x="172" y="27"/>
                    <a:pt x="172" y="36"/>
                    <a:pt x="174" y="43"/>
                  </a:cubicBezTo>
                  <a:cubicBezTo>
                    <a:pt x="175" y="50"/>
                    <a:pt x="162" y="49"/>
                    <a:pt x="162" y="49"/>
                  </a:cubicBezTo>
                  <a:cubicBezTo>
                    <a:pt x="162" y="64"/>
                    <a:pt x="162" y="64"/>
                    <a:pt x="162" y="64"/>
                  </a:cubicBezTo>
                  <a:cubicBezTo>
                    <a:pt x="153" y="60"/>
                    <a:pt x="153" y="60"/>
                    <a:pt x="153" y="60"/>
                  </a:cubicBezTo>
                  <a:cubicBezTo>
                    <a:pt x="132" y="68"/>
                    <a:pt x="132" y="68"/>
                    <a:pt x="132" y="68"/>
                  </a:cubicBezTo>
                  <a:cubicBezTo>
                    <a:pt x="126" y="60"/>
                    <a:pt x="126" y="60"/>
                    <a:pt x="126" y="60"/>
                  </a:cubicBezTo>
                  <a:cubicBezTo>
                    <a:pt x="115" y="72"/>
                    <a:pt x="115" y="72"/>
                    <a:pt x="115" y="72"/>
                  </a:cubicBezTo>
                  <a:cubicBezTo>
                    <a:pt x="116" y="79"/>
                    <a:pt x="116" y="79"/>
                    <a:pt x="116" y="79"/>
                  </a:cubicBezTo>
                  <a:cubicBezTo>
                    <a:pt x="102" y="90"/>
                    <a:pt x="102" y="90"/>
                    <a:pt x="102" y="90"/>
                  </a:cubicBezTo>
                  <a:cubicBezTo>
                    <a:pt x="98" y="79"/>
                    <a:pt x="98" y="79"/>
                    <a:pt x="98" y="79"/>
                  </a:cubicBezTo>
                  <a:cubicBezTo>
                    <a:pt x="84" y="81"/>
                    <a:pt x="84" y="81"/>
                    <a:pt x="84" y="81"/>
                  </a:cubicBezTo>
                  <a:cubicBezTo>
                    <a:pt x="85" y="95"/>
                    <a:pt x="85" y="95"/>
                    <a:pt x="85" y="95"/>
                  </a:cubicBezTo>
                  <a:cubicBezTo>
                    <a:pt x="85" y="95"/>
                    <a:pt x="84" y="92"/>
                    <a:pt x="75" y="91"/>
                  </a:cubicBezTo>
                  <a:cubicBezTo>
                    <a:pt x="66" y="89"/>
                    <a:pt x="62" y="98"/>
                    <a:pt x="60" y="99"/>
                  </a:cubicBezTo>
                  <a:cubicBezTo>
                    <a:pt x="59" y="100"/>
                    <a:pt x="50" y="86"/>
                    <a:pt x="50" y="86"/>
                  </a:cubicBezTo>
                  <a:cubicBezTo>
                    <a:pt x="24" y="88"/>
                    <a:pt x="24" y="88"/>
                    <a:pt x="24" y="88"/>
                  </a:cubicBezTo>
                  <a:cubicBezTo>
                    <a:pt x="24" y="97"/>
                    <a:pt x="24" y="97"/>
                    <a:pt x="24" y="97"/>
                  </a:cubicBezTo>
                  <a:cubicBezTo>
                    <a:pt x="24" y="97"/>
                    <a:pt x="12" y="106"/>
                    <a:pt x="6" y="109"/>
                  </a:cubicBezTo>
                  <a:cubicBezTo>
                    <a:pt x="4" y="110"/>
                    <a:pt x="2" y="111"/>
                    <a:pt x="0" y="113"/>
                  </a:cubicBezTo>
                  <a:cubicBezTo>
                    <a:pt x="3" y="114"/>
                    <a:pt x="3" y="114"/>
                    <a:pt x="3" y="114"/>
                  </a:cubicBezTo>
                  <a:cubicBezTo>
                    <a:pt x="9" y="121"/>
                    <a:pt x="9" y="121"/>
                    <a:pt x="9" y="121"/>
                  </a:cubicBezTo>
                  <a:cubicBezTo>
                    <a:pt x="14" y="118"/>
                    <a:pt x="41" y="115"/>
                    <a:pt x="41" y="115"/>
                  </a:cubicBezTo>
                  <a:cubicBezTo>
                    <a:pt x="41" y="115"/>
                    <a:pt x="65" y="112"/>
                    <a:pt x="74" y="115"/>
                  </a:cubicBezTo>
                  <a:cubicBezTo>
                    <a:pt x="83" y="117"/>
                    <a:pt x="84" y="104"/>
                    <a:pt x="84" y="104"/>
                  </a:cubicBezTo>
                  <a:cubicBezTo>
                    <a:pt x="98" y="114"/>
                    <a:pt x="98" y="114"/>
                    <a:pt x="98" y="114"/>
                  </a:cubicBezTo>
                  <a:cubicBezTo>
                    <a:pt x="88" y="126"/>
                    <a:pt x="88" y="126"/>
                    <a:pt x="88" y="126"/>
                  </a:cubicBezTo>
                  <a:cubicBezTo>
                    <a:pt x="88" y="126"/>
                    <a:pt x="96" y="131"/>
                    <a:pt x="96" y="136"/>
                  </a:cubicBezTo>
                  <a:cubicBezTo>
                    <a:pt x="96" y="141"/>
                    <a:pt x="87" y="142"/>
                    <a:pt x="86" y="153"/>
                  </a:cubicBezTo>
                  <a:cubicBezTo>
                    <a:pt x="84" y="164"/>
                    <a:pt x="98" y="183"/>
                    <a:pt x="98" y="183"/>
                  </a:cubicBezTo>
                  <a:cubicBezTo>
                    <a:pt x="98" y="183"/>
                    <a:pt x="89" y="192"/>
                    <a:pt x="87" y="199"/>
                  </a:cubicBezTo>
                  <a:cubicBezTo>
                    <a:pt x="84" y="207"/>
                    <a:pt x="96" y="227"/>
                    <a:pt x="96" y="227"/>
                  </a:cubicBezTo>
                  <a:cubicBezTo>
                    <a:pt x="103" y="228"/>
                    <a:pt x="103" y="228"/>
                    <a:pt x="103" y="228"/>
                  </a:cubicBezTo>
                  <a:cubicBezTo>
                    <a:pt x="104" y="241"/>
                    <a:pt x="104" y="241"/>
                    <a:pt x="104" y="241"/>
                  </a:cubicBezTo>
                  <a:cubicBezTo>
                    <a:pt x="125" y="257"/>
                    <a:pt x="125" y="257"/>
                    <a:pt x="125" y="257"/>
                  </a:cubicBezTo>
                  <a:cubicBezTo>
                    <a:pt x="138" y="258"/>
                    <a:pt x="138" y="258"/>
                    <a:pt x="138" y="258"/>
                  </a:cubicBezTo>
                  <a:cubicBezTo>
                    <a:pt x="140" y="266"/>
                    <a:pt x="140" y="266"/>
                    <a:pt x="140" y="266"/>
                  </a:cubicBezTo>
                  <a:cubicBezTo>
                    <a:pt x="140" y="266"/>
                    <a:pt x="157" y="274"/>
                    <a:pt x="164" y="274"/>
                  </a:cubicBezTo>
                  <a:cubicBezTo>
                    <a:pt x="170" y="275"/>
                    <a:pt x="177" y="271"/>
                    <a:pt x="189" y="271"/>
                  </a:cubicBezTo>
                  <a:cubicBezTo>
                    <a:pt x="201" y="271"/>
                    <a:pt x="207" y="287"/>
                    <a:pt x="207" y="287"/>
                  </a:cubicBezTo>
                  <a:cubicBezTo>
                    <a:pt x="227" y="287"/>
                    <a:pt x="227" y="287"/>
                    <a:pt x="227" y="287"/>
                  </a:cubicBezTo>
                  <a:cubicBezTo>
                    <a:pt x="227" y="287"/>
                    <a:pt x="248" y="307"/>
                    <a:pt x="258" y="309"/>
                  </a:cubicBezTo>
                  <a:cubicBezTo>
                    <a:pt x="267" y="311"/>
                    <a:pt x="282" y="313"/>
                    <a:pt x="283" y="313"/>
                  </a:cubicBezTo>
                  <a:cubicBezTo>
                    <a:pt x="284" y="313"/>
                    <a:pt x="299" y="336"/>
                    <a:pt x="299" y="336"/>
                  </a:cubicBezTo>
                  <a:cubicBezTo>
                    <a:pt x="356" y="337"/>
                    <a:pt x="356" y="337"/>
                    <a:pt x="356" y="337"/>
                  </a:cubicBezTo>
                  <a:cubicBezTo>
                    <a:pt x="356" y="337"/>
                    <a:pt x="362" y="341"/>
                    <a:pt x="369" y="346"/>
                  </a:cubicBezTo>
                  <a:cubicBezTo>
                    <a:pt x="378" y="340"/>
                    <a:pt x="389" y="333"/>
                    <a:pt x="389" y="332"/>
                  </a:cubicBezTo>
                  <a:cubicBezTo>
                    <a:pt x="389" y="331"/>
                    <a:pt x="392" y="309"/>
                    <a:pt x="392" y="309"/>
                  </a:cubicBezTo>
                  <a:cubicBezTo>
                    <a:pt x="406" y="299"/>
                    <a:pt x="406" y="299"/>
                    <a:pt x="406" y="299"/>
                  </a:cubicBezTo>
                  <a:cubicBezTo>
                    <a:pt x="406" y="281"/>
                    <a:pt x="406" y="281"/>
                    <a:pt x="406" y="281"/>
                  </a:cubicBezTo>
                  <a:cubicBezTo>
                    <a:pt x="429" y="266"/>
                    <a:pt x="429" y="266"/>
                    <a:pt x="429" y="266"/>
                  </a:cubicBezTo>
                  <a:cubicBezTo>
                    <a:pt x="417" y="250"/>
                    <a:pt x="417" y="250"/>
                    <a:pt x="417" y="250"/>
                  </a:cubicBezTo>
                  <a:cubicBezTo>
                    <a:pt x="417" y="239"/>
                    <a:pt x="417" y="239"/>
                    <a:pt x="417" y="239"/>
                  </a:cubicBezTo>
                  <a:cubicBezTo>
                    <a:pt x="406" y="236"/>
                    <a:pt x="406" y="236"/>
                    <a:pt x="406" y="236"/>
                  </a:cubicBezTo>
                  <a:cubicBezTo>
                    <a:pt x="404" y="218"/>
                    <a:pt x="404" y="218"/>
                    <a:pt x="404" y="218"/>
                  </a:cubicBezTo>
                  <a:cubicBezTo>
                    <a:pt x="422" y="206"/>
                    <a:pt x="422" y="206"/>
                    <a:pt x="422" y="206"/>
                  </a:cubicBezTo>
                  <a:cubicBezTo>
                    <a:pt x="409" y="187"/>
                    <a:pt x="409" y="187"/>
                    <a:pt x="409" y="187"/>
                  </a:cubicBezTo>
                  <a:cubicBezTo>
                    <a:pt x="394" y="190"/>
                    <a:pt x="394" y="190"/>
                    <a:pt x="394" y="190"/>
                  </a:cubicBezTo>
                  <a:cubicBezTo>
                    <a:pt x="384" y="183"/>
                    <a:pt x="384" y="183"/>
                    <a:pt x="384" y="183"/>
                  </a:cubicBezTo>
                  <a:cubicBezTo>
                    <a:pt x="319" y="180"/>
                    <a:pt x="319" y="180"/>
                    <a:pt x="319" y="180"/>
                  </a:cubicBezTo>
                  <a:cubicBezTo>
                    <a:pt x="319" y="180"/>
                    <a:pt x="326" y="158"/>
                    <a:pt x="325" y="155"/>
                  </a:cubicBezTo>
                  <a:cubicBezTo>
                    <a:pt x="324" y="151"/>
                    <a:pt x="316" y="140"/>
                    <a:pt x="316" y="133"/>
                  </a:cubicBezTo>
                  <a:cubicBezTo>
                    <a:pt x="316" y="127"/>
                    <a:pt x="326" y="118"/>
                    <a:pt x="326" y="118"/>
                  </a:cubicBezTo>
                  <a:cubicBezTo>
                    <a:pt x="318" y="108"/>
                    <a:pt x="318" y="108"/>
                    <a:pt x="318" y="108"/>
                  </a:cubicBezTo>
                  <a:cubicBezTo>
                    <a:pt x="325" y="99"/>
                    <a:pt x="325" y="99"/>
                    <a:pt x="325" y="99"/>
                  </a:cubicBezTo>
                  <a:cubicBezTo>
                    <a:pt x="319" y="91"/>
                    <a:pt x="319" y="91"/>
                    <a:pt x="319" y="91"/>
                  </a:cubicBezTo>
                  <a:cubicBezTo>
                    <a:pt x="317" y="83"/>
                    <a:pt x="317" y="83"/>
                    <a:pt x="317" y="83"/>
                  </a:cubicBezTo>
                  <a:cubicBezTo>
                    <a:pt x="321" y="78"/>
                    <a:pt x="321" y="78"/>
                    <a:pt x="321" y="78"/>
                  </a:cubicBezTo>
                  <a:cubicBezTo>
                    <a:pt x="317" y="54"/>
                    <a:pt x="317" y="54"/>
                    <a:pt x="317" y="54"/>
                  </a:cubicBezTo>
                  <a:cubicBezTo>
                    <a:pt x="318" y="54"/>
                    <a:pt x="318" y="54"/>
                    <a:pt x="318" y="54"/>
                  </a:cubicBezTo>
                  <a:cubicBezTo>
                    <a:pt x="312" y="50"/>
                    <a:pt x="308" y="47"/>
                    <a:pt x="308" y="47"/>
                  </a:cubicBezTo>
                  <a:cubicBezTo>
                    <a:pt x="308" y="47"/>
                    <a:pt x="297" y="55"/>
                    <a:pt x="290" y="52"/>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58" name="Freeform 320">
              <a:extLst>
                <a:ext uri="{FF2B5EF4-FFF2-40B4-BE49-F238E27FC236}">
                  <a16:creationId xmlns:a16="http://schemas.microsoft.com/office/drawing/2014/main" id="{6B6DA1A3-A585-4C19-85EE-86449F8AD5B2}"/>
                </a:ext>
              </a:extLst>
            </p:cNvPr>
            <p:cNvSpPr>
              <a:spLocks noChangeAspect="1"/>
            </p:cNvSpPr>
            <p:nvPr/>
          </p:nvSpPr>
          <p:spPr bwMode="auto">
            <a:xfrm>
              <a:off x="10129" y="564"/>
              <a:ext cx="2141" cy="1459"/>
            </a:xfrm>
            <a:custGeom>
              <a:avLst/>
              <a:gdLst/>
              <a:ahLst/>
              <a:cxnLst>
                <a:cxn ang="0">
                  <a:pos x="953" y="493"/>
                </a:cxn>
                <a:cxn ang="0">
                  <a:pos x="1049" y="274"/>
                </a:cxn>
                <a:cxn ang="0">
                  <a:pos x="1060" y="257"/>
                </a:cxn>
                <a:cxn ang="0">
                  <a:pos x="1030" y="258"/>
                </a:cxn>
                <a:cxn ang="0">
                  <a:pos x="992" y="241"/>
                </a:cxn>
                <a:cxn ang="0">
                  <a:pos x="962" y="225"/>
                </a:cxn>
                <a:cxn ang="0">
                  <a:pos x="942" y="210"/>
                </a:cxn>
                <a:cxn ang="0">
                  <a:pos x="918" y="189"/>
                </a:cxn>
                <a:cxn ang="0">
                  <a:pos x="901" y="159"/>
                </a:cxn>
                <a:cxn ang="0">
                  <a:pos x="814" y="141"/>
                </a:cxn>
                <a:cxn ang="0">
                  <a:pos x="807" y="171"/>
                </a:cxn>
                <a:cxn ang="0">
                  <a:pos x="793" y="190"/>
                </a:cxn>
                <a:cxn ang="0">
                  <a:pos x="733" y="190"/>
                </a:cxn>
                <a:cxn ang="0">
                  <a:pos x="745" y="230"/>
                </a:cxn>
                <a:cxn ang="0">
                  <a:pos x="701" y="199"/>
                </a:cxn>
                <a:cxn ang="0">
                  <a:pos x="689" y="168"/>
                </a:cxn>
                <a:cxn ang="0">
                  <a:pos x="678" y="99"/>
                </a:cxn>
                <a:cxn ang="0">
                  <a:pos x="673" y="53"/>
                </a:cxn>
                <a:cxn ang="0">
                  <a:pos x="647" y="12"/>
                </a:cxn>
                <a:cxn ang="0">
                  <a:pos x="611" y="16"/>
                </a:cxn>
                <a:cxn ang="0">
                  <a:pos x="571" y="52"/>
                </a:cxn>
                <a:cxn ang="0">
                  <a:pos x="532" y="66"/>
                </a:cxn>
                <a:cxn ang="0">
                  <a:pos x="500" y="81"/>
                </a:cxn>
                <a:cxn ang="0">
                  <a:pos x="420" y="65"/>
                </a:cxn>
                <a:cxn ang="0">
                  <a:pos x="387" y="14"/>
                </a:cxn>
                <a:cxn ang="0">
                  <a:pos x="362" y="11"/>
                </a:cxn>
                <a:cxn ang="0">
                  <a:pos x="339" y="33"/>
                </a:cxn>
                <a:cxn ang="0">
                  <a:pos x="238" y="30"/>
                </a:cxn>
                <a:cxn ang="0">
                  <a:pos x="279" y="94"/>
                </a:cxn>
                <a:cxn ang="0">
                  <a:pos x="243" y="100"/>
                </a:cxn>
                <a:cxn ang="0">
                  <a:pos x="224" y="147"/>
                </a:cxn>
                <a:cxn ang="0">
                  <a:pos x="260" y="193"/>
                </a:cxn>
                <a:cxn ang="0">
                  <a:pos x="213" y="397"/>
                </a:cxn>
                <a:cxn ang="0">
                  <a:pos x="155" y="397"/>
                </a:cxn>
                <a:cxn ang="0">
                  <a:pos x="102" y="420"/>
                </a:cxn>
                <a:cxn ang="0">
                  <a:pos x="56" y="445"/>
                </a:cxn>
                <a:cxn ang="0">
                  <a:pos x="29" y="501"/>
                </a:cxn>
                <a:cxn ang="0">
                  <a:pos x="22" y="536"/>
                </a:cxn>
                <a:cxn ang="0">
                  <a:pos x="75" y="597"/>
                </a:cxn>
                <a:cxn ang="0">
                  <a:pos x="341" y="700"/>
                </a:cxn>
                <a:cxn ang="0">
                  <a:pos x="424" y="724"/>
                </a:cxn>
                <a:cxn ang="0">
                  <a:pos x="468" y="701"/>
                </a:cxn>
                <a:cxn ang="0">
                  <a:pos x="503" y="710"/>
                </a:cxn>
                <a:cxn ang="0">
                  <a:pos x="520" y="705"/>
                </a:cxn>
                <a:cxn ang="0">
                  <a:pos x="544" y="675"/>
                </a:cxn>
                <a:cxn ang="0">
                  <a:pos x="580" y="679"/>
                </a:cxn>
                <a:cxn ang="0">
                  <a:pos x="590" y="639"/>
                </a:cxn>
                <a:cxn ang="0">
                  <a:pos x="609" y="615"/>
                </a:cxn>
                <a:cxn ang="0">
                  <a:pos x="679" y="643"/>
                </a:cxn>
                <a:cxn ang="0">
                  <a:pos x="697" y="655"/>
                </a:cxn>
                <a:cxn ang="0">
                  <a:pos x="736" y="669"/>
                </a:cxn>
                <a:cxn ang="0">
                  <a:pos x="926" y="651"/>
                </a:cxn>
                <a:cxn ang="0">
                  <a:pos x="942" y="600"/>
                </a:cxn>
                <a:cxn ang="0">
                  <a:pos x="943" y="575"/>
                </a:cxn>
              </a:cxnLst>
              <a:rect l="0" t="0" r="r" b="b"/>
              <a:pathLst>
                <a:path w="1069" h="728">
                  <a:moveTo>
                    <a:pt x="922" y="540"/>
                  </a:moveTo>
                  <a:cubicBezTo>
                    <a:pt x="922" y="528"/>
                    <a:pt x="930" y="530"/>
                    <a:pt x="937" y="526"/>
                  </a:cubicBezTo>
                  <a:cubicBezTo>
                    <a:pt x="943" y="522"/>
                    <a:pt x="948" y="501"/>
                    <a:pt x="953" y="493"/>
                  </a:cubicBezTo>
                  <a:cubicBezTo>
                    <a:pt x="958" y="485"/>
                    <a:pt x="999" y="386"/>
                    <a:pt x="1005" y="373"/>
                  </a:cubicBezTo>
                  <a:cubicBezTo>
                    <a:pt x="1011" y="361"/>
                    <a:pt x="1044" y="288"/>
                    <a:pt x="1044" y="288"/>
                  </a:cubicBezTo>
                  <a:cubicBezTo>
                    <a:pt x="1049" y="274"/>
                    <a:pt x="1049" y="274"/>
                    <a:pt x="1049" y="274"/>
                  </a:cubicBezTo>
                  <a:cubicBezTo>
                    <a:pt x="1055" y="274"/>
                    <a:pt x="1055" y="274"/>
                    <a:pt x="1055" y="274"/>
                  </a:cubicBezTo>
                  <a:cubicBezTo>
                    <a:pt x="1069" y="257"/>
                    <a:pt x="1069" y="257"/>
                    <a:pt x="1069" y="257"/>
                  </a:cubicBezTo>
                  <a:cubicBezTo>
                    <a:pt x="1060" y="257"/>
                    <a:pt x="1060" y="257"/>
                    <a:pt x="1060" y="257"/>
                  </a:cubicBezTo>
                  <a:cubicBezTo>
                    <a:pt x="1056" y="264"/>
                    <a:pt x="1056" y="264"/>
                    <a:pt x="1056" y="264"/>
                  </a:cubicBezTo>
                  <a:cubicBezTo>
                    <a:pt x="1056" y="264"/>
                    <a:pt x="1041" y="270"/>
                    <a:pt x="1029" y="270"/>
                  </a:cubicBezTo>
                  <a:cubicBezTo>
                    <a:pt x="1018" y="270"/>
                    <a:pt x="1030" y="258"/>
                    <a:pt x="1030" y="258"/>
                  </a:cubicBezTo>
                  <a:cubicBezTo>
                    <a:pt x="1012" y="253"/>
                    <a:pt x="1012" y="253"/>
                    <a:pt x="1012" y="253"/>
                  </a:cubicBezTo>
                  <a:cubicBezTo>
                    <a:pt x="1002" y="236"/>
                    <a:pt x="1002" y="236"/>
                    <a:pt x="1002" y="236"/>
                  </a:cubicBezTo>
                  <a:cubicBezTo>
                    <a:pt x="992" y="241"/>
                    <a:pt x="992" y="241"/>
                    <a:pt x="992" y="241"/>
                  </a:cubicBezTo>
                  <a:cubicBezTo>
                    <a:pt x="982" y="235"/>
                    <a:pt x="982" y="235"/>
                    <a:pt x="982" y="235"/>
                  </a:cubicBezTo>
                  <a:cubicBezTo>
                    <a:pt x="977" y="228"/>
                    <a:pt x="977" y="228"/>
                    <a:pt x="977" y="228"/>
                  </a:cubicBezTo>
                  <a:cubicBezTo>
                    <a:pt x="962" y="225"/>
                    <a:pt x="962" y="225"/>
                    <a:pt x="962" y="225"/>
                  </a:cubicBezTo>
                  <a:cubicBezTo>
                    <a:pt x="949" y="218"/>
                    <a:pt x="949" y="218"/>
                    <a:pt x="949" y="218"/>
                  </a:cubicBezTo>
                  <a:cubicBezTo>
                    <a:pt x="949" y="218"/>
                    <a:pt x="953" y="215"/>
                    <a:pt x="954" y="206"/>
                  </a:cubicBezTo>
                  <a:cubicBezTo>
                    <a:pt x="955" y="197"/>
                    <a:pt x="942" y="210"/>
                    <a:pt x="942" y="210"/>
                  </a:cubicBezTo>
                  <a:cubicBezTo>
                    <a:pt x="926" y="202"/>
                    <a:pt x="926" y="202"/>
                    <a:pt x="926" y="202"/>
                  </a:cubicBezTo>
                  <a:cubicBezTo>
                    <a:pt x="927" y="186"/>
                    <a:pt x="927" y="186"/>
                    <a:pt x="927" y="186"/>
                  </a:cubicBezTo>
                  <a:cubicBezTo>
                    <a:pt x="918" y="189"/>
                    <a:pt x="918" y="189"/>
                    <a:pt x="918" y="189"/>
                  </a:cubicBezTo>
                  <a:cubicBezTo>
                    <a:pt x="908" y="177"/>
                    <a:pt x="908" y="177"/>
                    <a:pt x="908" y="177"/>
                  </a:cubicBezTo>
                  <a:cubicBezTo>
                    <a:pt x="907" y="159"/>
                    <a:pt x="907" y="159"/>
                    <a:pt x="907" y="159"/>
                  </a:cubicBezTo>
                  <a:cubicBezTo>
                    <a:pt x="901" y="159"/>
                    <a:pt x="901" y="159"/>
                    <a:pt x="901" y="159"/>
                  </a:cubicBezTo>
                  <a:cubicBezTo>
                    <a:pt x="897" y="121"/>
                    <a:pt x="897" y="121"/>
                    <a:pt x="897" y="121"/>
                  </a:cubicBezTo>
                  <a:cubicBezTo>
                    <a:pt x="826" y="122"/>
                    <a:pt x="826" y="122"/>
                    <a:pt x="826" y="122"/>
                  </a:cubicBezTo>
                  <a:cubicBezTo>
                    <a:pt x="826" y="122"/>
                    <a:pt x="818" y="139"/>
                    <a:pt x="814" y="141"/>
                  </a:cubicBezTo>
                  <a:cubicBezTo>
                    <a:pt x="811" y="144"/>
                    <a:pt x="814" y="155"/>
                    <a:pt x="814" y="155"/>
                  </a:cubicBezTo>
                  <a:cubicBezTo>
                    <a:pt x="814" y="155"/>
                    <a:pt x="807" y="158"/>
                    <a:pt x="807" y="160"/>
                  </a:cubicBezTo>
                  <a:cubicBezTo>
                    <a:pt x="806" y="161"/>
                    <a:pt x="807" y="171"/>
                    <a:pt x="807" y="171"/>
                  </a:cubicBezTo>
                  <a:cubicBezTo>
                    <a:pt x="807" y="171"/>
                    <a:pt x="816" y="173"/>
                    <a:pt x="816" y="179"/>
                  </a:cubicBezTo>
                  <a:cubicBezTo>
                    <a:pt x="817" y="185"/>
                    <a:pt x="800" y="182"/>
                    <a:pt x="800" y="182"/>
                  </a:cubicBezTo>
                  <a:cubicBezTo>
                    <a:pt x="793" y="190"/>
                    <a:pt x="793" y="190"/>
                    <a:pt x="793" y="190"/>
                  </a:cubicBezTo>
                  <a:cubicBezTo>
                    <a:pt x="758" y="164"/>
                    <a:pt x="758" y="164"/>
                    <a:pt x="758" y="164"/>
                  </a:cubicBezTo>
                  <a:cubicBezTo>
                    <a:pt x="741" y="178"/>
                    <a:pt x="741" y="178"/>
                    <a:pt x="741" y="178"/>
                  </a:cubicBezTo>
                  <a:cubicBezTo>
                    <a:pt x="733" y="190"/>
                    <a:pt x="733" y="190"/>
                    <a:pt x="733" y="190"/>
                  </a:cubicBezTo>
                  <a:cubicBezTo>
                    <a:pt x="735" y="201"/>
                    <a:pt x="735" y="201"/>
                    <a:pt x="735" y="201"/>
                  </a:cubicBezTo>
                  <a:cubicBezTo>
                    <a:pt x="735" y="201"/>
                    <a:pt x="734" y="212"/>
                    <a:pt x="734" y="217"/>
                  </a:cubicBezTo>
                  <a:cubicBezTo>
                    <a:pt x="734" y="221"/>
                    <a:pt x="745" y="230"/>
                    <a:pt x="745" y="230"/>
                  </a:cubicBezTo>
                  <a:cubicBezTo>
                    <a:pt x="737" y="230"/>
                    <a:pt x="737" y="230"/>
                    <a:pt x="737" y="230"/>
                  </a:cubicBezTo>
                  <a:cubicBezTo>
                    <a:pt x="718" y="222"/>
                    <a:pt x="718" y="222"/>
                    <a:pt x="718" y="222"/>
                  </a:cubicBezTo>
                  <a:cubicBezTo>
                    <a:pt x="718" y="222"/>
                    <a:pt x="710" y="212"/>
                    <a:pt x="701" y="199"/>
                  </a:cubicBezTo>
                  <a:cubicBezTo>
                    <a:pt x="692" y="186"/>
                    <a:pt x="679" y="178"/>
                    <a:pt x="679" y="178"/>
                  </a:cubicBezTo>
                  <a:cubicBezTo>
                    <a:pt x="679" y="178"/>
                    <a:pt x="690" y="179"/>
                    <a:pt x="693" y="178"/>
                  </a:cubicBezTo>
                  <a:cubicBezTo>
                    <a:pt x="696" y="176"/>
                    <a:pt x="689" y="168"/>
                    <a:pt x="689" y="168"/>
                  </a:cubicBezTo>
                  <a:cubicBezTo>
                    <a:pt x="698" y="155"/>
                    <a:pt x="698" y="155"/>
                    <a:pt x="698" y="155"/>
                  </a:cubicBezTo>
                  <a:cubicBezTo>
                    <a:pt x="689" y="137"/>
                    <a:pt x="689" y="137"/>
                    <a:pt x="689" y="137"/>
                  </a:cubicBezTo>
                  <a:cubicBezTo>
                    <a:pt x="689" y="137"/>
                    <a:pt x="679" y="115"/>
                    <a:pt x="678" y="99"/>
                  </a:cubicBezTo>
                  <a:cubicBezTo>
                    <a:pt x="676" y="83"/>
                    <a:pt x="684" y="86"/>
                    <a:pt x="684" y="86"/>
                  </a:cubicBezTo>
                  <a:cubicBezTo>
                    <a:pt x="680" y="71"/>
                    <a:pt x="680" y="71"/>
                    <a:pt x="680" y="71"/>
                  </a:cubicBezTo>
                  <a:cubicBezTo>
                    <a:pt x="673" y="53"/>
                    <a:pt x="673" y="53"/>
                    <a:pt x="673" y="53"/>
                  </a:cubicBezTo>
                  <a:cubicBezTo>
                    <a:pt x="662" y="40"/>
                    <a:pt x="662" y="40"/>
                    <a:pt x="662" y="40"/>
                  </a:cubicBezTo>
                  <a:cubicBezTo>
                    <a:pt x="670" y="17"/>
                    <a:pt x="670" y="17"/>
                    <a:pt x="670" y="17"/>
                  </a:cubicBezTo>
                  <a:cubicBezTo>
                    <a:pt x="647" y="12"/>
                    <a:pt x="647" y="12"/>
                    <a:pt x="647" y="12"/>
                  </a:cubicBezTo>
                  <a:cubicBezTo>
                    <a:pt x="626" y="3"/>
                    <a:pt x="626" y="3"/>
                    <a:pt x="626" y="3"/>
                  </a:cubicBezTo>
                  <a:cubicBezTo>
                    <a:pt x="612" y="8"/>
                    <a:pt x="612" y="8"/>
                    <a:pt x="612" y="8"/>
                  </a:cubicBezTo>
                  <a:cubicBezTo>
                    <a:pt x="612" y="8"/>
                    <a:pt x="612" y="15"/>
                    <a:pt x="611" y="16"/>
                  </a:cubicBezTo>
                  <a:cubicBezTo>
                    <a:pt x="611" y="18"/>
                    <a:pt x="588" y="15"/>
                    <a:pt x="588" y="15"/>
                  </a:cubicBezTo>
                  <a:cubicBezTo>
                    <a:pt x="588" y="15"/>
                    <a:pt x="588" y="36"/>
                    <a:pt x="588" y="37"/>
                  </a:cubicBezTo>
                  <a:cubicBezTo>
                    <a:pt x="588" y="38"/>
                    <a:pt x="571" y="52"/>
                    <a:pt x="571" y="52"/>
                  </a:cubicBezTo>
                  <a:cubicBezTo>
                    <a:pt x="566" y="43"/>
                    <a:pt x="566" y="43"/>
                    <a:pt x="566" y="43"/>
                  </a:cubicBezTo>
                  <a:cubicBezTo>
                    <a:pt x="566" y="43"/>
                    <a:pt x="549" y="62"/>
                    <a:pt x="546" y="65"/>
                  </a:cubicBezTo>
                  <a:cubicBezTo>
                    <a:pt x="543" y="67"/>
                    <a:pt x="533" y="65"/>
                    <a:pt x="532" y="66"/>
                  </a:cubicBezTo>
                  <a:cubicBezTo>
                    <a:pt x="532" y="68"/>
                    <a:pt x="520" y="67"/>
                    <a:pt x="520" y="67"/>
                  </a:cubicBezTo>
                  <a:cubicBezTo>
                    <a:pt x="520" y="67"/>
                    <a:pt x="504" y="95"/>
                    <a:pt x="495" y="95"/>
                  </a:cubicBezTo>
                  <a:cubicBezTo>
                    <a:pt x="486" y="95"/>
                    <a:pt x="500" y="81"/>
                    <a:pt x="500" y="81"/>
                  </a:cubicBezTo>
                  <a:cubicBezTo>
                    <a:pt x="492" y="71"/>
                    <a:pt x="492" y="71"/>
                    <a:pt x="492" y="71"/>
                  </a:cubicBezTo>
                  <a:cubicBezTo>
                    <a:pt x="492" y="71"/>
                    <a:pt x="469" y="89"/>
                    <a:pt x="456" y="89"/>
                  </a:cubicBezTo>
                  <a:cubicBezTo>
                    <a:pt x="443" y="90"/>
                    <a:pt x="420" y="65"/>
                    <a:pt x="420" y="65"/>
                  </a:cubicBezTo>
                  <a:cubicBezTo>
                    <a:pt x="400" y="63"/>
                    <a:pt x="400" y="63"/>
                    <a:pt x="400" y="63"/>
                  </a:cubicBezTo>
                  <a:cubicBezTo>
                    <a:pt x="400" y="63"/>
                    <a:pt x="408" y="49"/>
                    <a:pt x="408" y="43"/>
                  </a:cubicBezTo>
                  <a:cubicBezTo>
                    <a:pt x="409" y="37"/>
                    <a:pt x="387" y="14"/>
                    <a:pt x="387" y="14"/>
                  </a:cubicBezTo>
                  <a:cubicBezTo>
                    <a:pt x="382" y="0"/>
                    <a:pt x="382" y="0"/>
                    <a:pt x="382" y="0"/>
                  </a:cubicBezTo>
                  <a:cubicBezTo>
                    <a:pt x="382" y="0"/>
                    <a:pt x="370" y="14"/>
                    <a:pt x="370" y="15"/>
                  </a:cubicBezTo>
                  <a:cubicBezTo>
                    <a:pt x="370" y="15"/>
                    <a:pt x="362" y="11"/>
                    <a:pt x="362" y="11"/>
                  </a:cubicBezTo>
                  <a:cubicBezTo>
                    <a:pt x="352" y="26"/>
                    <a:pt x="352" y="26"/>
                    <a:pt x="352" y="26"/>
                  </a:cubicBezTo>
                  <a:cubicBezTo>
                    <a:pt x="352" y="26"/>
                    <a:pt x="336" y="15"/>
                    <a:pt x="334" y="18"/>
                  </a:cubicBezTo>
                  <a:cubicBezTo>
                    <a:pt x="331" y="20"/>
                    <a:pt x="339" y="33"/>
                    <a:pt x="339" y="33"/>
                  </a:cubicBezTo>
                  <a:cubicBezTo>
                    <a:pt x="272" y="31"/>
                    <a:pt x="272" y="31"/>
                    <a:pt x="272" y="31"/>
                  </a:cubicBezTo>
                  <a:cubicBezTo>
                    <a:pt x="272" y="31"/>
                    <a:pt x="265" y="29"/>
                    <a:pt x="258" y="27"/>
                  </a:cubicBezTo>
                  <a:cubicBezTo>
                    <a:pt x="251" y="25"/>
                    <a:pt x="238" y="30"/>
                    <a:pt x="238" y="30"/>
                  </a:cubicBezTo>
                  <a:cubicBezTo>
                    <a:pt x="240" y="67"/>
                    <a:pt x="240" y="67"/>
                    <a:pt x="240" y="67"/>
                  </a:cubicBezTo>
                  <a:cubicBezTo>
                    <a:pt x="240" y="67"/>
                    <a:pt x="264" y="67"/>
                    <a:pt x="273" y="71"/>
                  </a:cubicBezTo>
                  <a:cubicBezTo>
                    <a:pt x="282" y="74"/>
                    <a:pt x="279" y="94"/>
                    <a:pt x="279" y="94"/>
                  </a:cubicBezTo>
                  <a:cubicBezTo>
                    <a:pt x="272" y="102"/>
                    <a:pt x="272" y="102"/>
                    <a:pt x="272" y="102"/>
                  </a:cubicBezTo>
                  <a:cubicBezTo>
                    <a:pt x="257" y="91"/>
                    <a:pt x="257" y="91"/>
                    <a:pt x="257" y="91"/>
                  </a:cubicBezTo>
                  <a:cubicBezTo>
                    <a:pt x="257" y="91"/>
                    <a:pt x="243" y="99"/>
                    <a:pt x="243" y="100"/>
                  </a:cubicBezTo>
                  <a:cubicBezTo>
                    <a:pt x="243" y="100"/>
                    <a:pt x="230" y="102"/>
                    <a:pt x="230" y="102"/>
                  </a:cubicBezTo>
                  <a:cubicBezTo>
                    <a:pt x="230" y="102"/>
                    <a:pt x="226" y="109"/>
                    <a:pt x="222" y="117"/>
                  </a:cubicBezTo>
                  <a:cubicBezTo>
                    <a:pt x="217" y="125"/>
                    <a:pt x="224" y="144"/>
                    <a:pt x="224" y="147"/>
                  </a:cubicBezTo>
                  <a:cubicBezTo>
                    <a:pt x="224" y="149"/>
                    <a:pt x="249" y="166"/>
                    <a:pt x="251" y="166"/>
                  </a:cubicBezTo>
                  <a:cubicBezTo>
                    <a:pt x="254" y="167"/>
                    <a:pt x="252" y="178"/>
                    <a:pt x="252" y="180"/>
                  </a:cubicBezTo>
                  <a:cubicBezTo>
                    <a:pt x="252" y="181"/>
                    <a:pt x="257" y="192"/>
                    <a:pt x="260" y="193"/>
                  </a:cubicBezTo>
                  <a:cubicBezTo>
                    <a:pt x="262" y="194"/>
                    <a:pt x="259" y="237"/>
                    <a:pt x="259" y="237"/>
                  </a:cubicBezTo>
                  <a:cubicBezTo>
                    <a:pt x="226" y="399"/>
                    <a:pt x="226" y="399"/>
                    <a:pt x="226" y="399"/>
                  </a:cubicBezTo>
                  <a:cubicBezTo>
                    <a:pt x="213" y="397"/>
                    <a:pt x="213" y="397"/>
                    <a:pt x="213" y="397"/>
                  </a:cubicBezTo>
                  <a:cubicBezTo>
                    <a:pt x="213" y="397"/>
                    <a:pt x="208" y="387"/>
                    <a:pt x="193" y="387"/>
                  </a:cubicBezTo>
                  <a:cubicBezTo>
                    <a:pt x="177" y="388"/>
                    <a:pt x="163" y="403"/>
                    <a:pt x="163" y="403"/>
                  </a:cubicBezTo>
                  <a:cubicBezTo>
                    <a:pt x="163" y="403"/>
                    <a:pt x="157" y="399"/>
                    <a:pt x="155" y="397"/>
                  </a:cubicBezTo>
                  <a:cubicBezTo>
                    <a:pt x="152" y="396"/>
                    <a:pt x="132" y="408"/>
                    <a:pt x="132" y="408"/>
                  </a:cubicBezTo>
                  <a:cubicBezTo>
                    <a:pt x="132" y="408"/>
                    <a:pt x="120" y="407"/>
                    <a:pt x="112" y="410"/>
                  </a:cubicBezTo>
                  <a:cubicBezTo>
                    <a:pt x="104" y="413"/>
                    <a:pt x="102" y="420"/>
                    <a:pt x="102" y="420"/>
                  </a:cubicBezTo>
                  <a:cubicBezTo>
                    <a:pt x="102" y="420"/>
                    <a:pt x="102" y="420"/>
                    <a:pt x="93" y="420"/>
                  </a:cubicBezTo>
                  <a:cubicBezTo>
                    <a:pt x="84" y="420"/>
                    <a:pt x="83" y="430"/>
                    <a:pt x="82" y="430"/>
                  </a:cubicBezTo>
                  <a:cubicBezTo>
                    <a:pt x="82" y="431"/>
                    <a:pt x="56" y="445"/>
                    <a:pt x="56" y="445"/>
                  </a:cubicBezTo>
                  <a:cubicBezTo>
                    <a:pt x="56" y="445"/>
                    <a:pt x="59" y="452"/>
                    <a:pt x="52" y="459"/>
                  </a:cubicBezTo>
                  <a:cubicBezTo>
                    <a:pt x="45" y="467"/>
                    <a:pt x="44" y="483"/>
                    <a:pt x="44" y="483"/>
                  </a:cubicBezTo>
                  <a:cubicBezTo>
                    <a:pt x="44" y="483"/>
                    <a:pt x="29" y="500"/>
                    <a:pt x="29" y="501"/>
                  </a:cubicBezTo>
                  <a:cubicBezTo>
                    <a:pt x="29" y="501"/>
                    <a:pt x="34" y="511"/>
                    <a:pt x="34" y="511"/>
                  </a:cubicBezTo>
                  <a:cubicBezTo>
                    <a:pt x="34" y="511"/>
                    <a:pt x="40" y="518"/>
                    <a:pt x="39" y="528"/>
                  </a:cubicBezTo>
                  <a:cubicBezTo>
                    <a:pt x="37" y="537"/>
                    <a:pt x="22" y="535"/>
                    <a:pt x="22" y="536"/>
                  </a:cubicBezTo>
                  <a:cubicBezTo>
                    <a:pt x="22" y="537"/>
                    <a:pt x="4" y="550"/>
                    <a:pt x="1" y="555"/>
                  </a:cubicBezTo>
                  <a:cubicBezTo>
                    <a:pt x="0" y="558"/>
                    <a:pt x="0" y="562"/>
                    <a:pt x="1" y="566"/>
                  </a:cubicBezTo>
                  <a:cubicBezTo>
                    <a:pt x="20" y="575"/>
                    <a:pt x="62" y="595"/>
                    <a:pt x="75" y="597"/>
                  </a:cubicBezTo>
                  <a:cubicBezTo>
                    <a:pt x="92" y="600"/>
                    <a:pt x="204" y="624"/>
                    <a:pt x="204" y="624"/>
                  </a:cubicBezTo>
                  <a:cubicBezTo>
                    <a:pt x="204" y="624"/>
                    <a:pt x="268" y="660"/>
                    <a:pt x="284" y="667"/>
                  </a:cubicBezTo>
                  <a:cubicBezTo>
                    <a:pt x="300" y="674"/>
                    <a:pt x="340" y="700"/>
                    <a:pt x="341" y="700"/>
                  </a:cubicBezTo>
                  <a:cubicBezTo>
                    <a:pt x="343" y="700"/>
                    <a:pt x="352" y="699"/>
                    <a:pt x="352" y="699"/>
                  </a:cubicBezTo>
                  <a:cubicBezTo>
                    <a:pt x="418" y="728"/>
                    <a:pt x="418" y="728"/>
                    <a:pt x="418" y="728"/>
                  </a:cubicBezTo>
                  <a:cubicBezTo>
                    <a:pt x="420" y="726"/>
                    <a:pt x="422" y="725"/>
                    <a:pt x="424" y="724"/>
                  </a:cubicBezTo>
                  <a:cubicBezTo>
                    <a:pt x="430" y="721"/>
                    <a:pt x="442" y="712"/>
                    <a:pt x="442" y="712"/>
                  </a:cubicBezTo>
                  <a:cubicBezTo>
                    <a:pt x="442" y="703"/>
                    <a:pt x="442" y="703"/>
                    <a:pt x="442" y="703"/>
                  </a:cubicBezTo>
                  <a:cubicBezTo>
                    <a:pt x="468" y="701"/>
                    <a:pt x="468" y="701"/>
                    <a:pt x="468" y="701"/>
                  </a:cubicBezTo>
                  <a:cubicBezTo>
                    <a:pt x="468" y="701"/>
                    <a:pt x="477" y="715"/>
                    <a:pt x="478" y="714"/>
                  </a:cubicBezTo>
                  <a:cubicBezTo>
                    <a:pt x="480" y="713"/>
                    <a:pt x="484" y="704"/>
                    <a:pt x="493" y="706"/>
                  </a:cubicBezTo>
                  <a:cubicBezTo>
                    <a:pt x="502" y="707"/>
                    <a:pt x="503" y="710"/>
                    <a:pt x="503" y="710"/>
                  </a:cubicBezTo>
                  <a:cubicBezTo>
                    <a:pt x="502" y="696"/>
                    <a:pt x="502" y="696"/>
                    <a:pt x="502" y="696"/>
                  </a:cubicBezTo>
                  <a:cubicBezTo>
                    <a:pt x="516" y="694"/>
                    <a:pt x="516" y="694"/>
                    <a:pt x="516" y="694"/>
                  </a:cubicBezTo>
                  <a:cubicBezTo>
                    <a:pt x="520" y="705"/>
                    <a:pt x="520" y="705"/>
                    <a:pt x="520" y="705"/>
                  </a:cubicBezTo>
                  <a:cubicBezTo>
                    <a:pt x="534" y="694"/>
                    <a:pt x="534" y="694"/>
                    <a:pt x="534" y="694"/>
                  </a:cubicBezTo>
                  <a:cubicBezTo>
                    <a:pt x="533" y="687"/>
                    <a:pt x="533" y="687"/>
                    <a:pt x="533" y="687"/>
                  </a:cubicBezTo>
                  <a:cubicBezTo>
                    <a:pt x="544" y="675"/>
                    <a:pt x="544" y="675"/>
                    <a:pt x="544" y="675"/>
                  </a:cubicBezTo>
                  <a:cubicBezTo>
                    <a:pt x="550" y="683"/>
                    <a:pt x="550" y="683"/>
                    <a:pt x="550" y="683"/>
                  </a:cubicBezTo>
                  <a:cubicBezTo>
                    <a:pt x="571" y="675"/>
                    <a:pt x="571" y="675"/>
                    <a:pt x="571" y="675"/>
                  </a:cubicBezTo>
                  <a:cubicBezTo>
                    <a:pt x="580" y="679"/>
                    <a:pt x="580" y="679"/>
                    <a:pt x="580" y="679"/>
                  </a:cubicBezTo>
                  <a:cubicBezTo>
                    <a:pt x="580" y="664"/>
                    <a:pt x="580" y="664"/>
                    <a:pt x="580" y="664"/>
                  </a:cubicBezTo>
                  <a:cubicBezTo>
                    <a:pt x="580" y="664"/>
                    <a:pt x="593" y="665"/>
                    <a:pt x="592" y="658"/>
                  </a:cubicBezTo>
                  <a:cubicBezTo>
                    <a:pt x="590" y="651"/>
                    <a:pt x="590" y="642"/>
                    <a:pt x="590" y="639"/>
                  </a:cubicBezTo>
                  <a:cubicBezTo>
                    <a:pt x="590" y="637"/>
                    <a:pt x="604" y="638"/>
                    <a:pt x="605" y="637"/>
                  </a:cubicBezTo>
                  <a:cubicBezTo>
                    <a:pt x="605" y="635"/>
                    <a:pt x="610" y="624"/>
                    <a:pt x="610" y="624"/>
                  </a:cubicBezTo>
                  <a:cubicBezTo>
                    <a:pt x="609" y="615"/>
                    <a:pt x="609" y="615"/>
                    <a:pt x="609" y="615"/>
                  </a:cubicBezTo>
                  <a:cubicBezTo>
                    <a:pt x="658" y="617"/>
                    <a:pt x="658" y="617"/>
                    <a:pt x="658" y="617"/>
                  </a:cubicBezTo>
                  <a:cubicBezTo>
                    <a:pt x="658" y="617"/>
                    <a:pt x="663" y="635"/>
                    <a:pt x="669" y="635"/>
                  </a:cubicBezTo>
                  <a:cubicBezTo>
                    <a:pt x="675" y="636"/>
                    <a:pt x="679" y="643"/>
                    <a:pt x="679" y="643"/>
                  </a:cubicBezTo>
                  <a:cubicBezTo>
                    <a:pt x="690" y="643"/>
                    <a:pt x="690" y="643"/>
                    <a:pt x="690" y="643"/>
                  </a:cubicBezTo>
                  <a:cubicBezTo>
                    <a:pt x="691" y="657"/>
                    <a:pt x="691" y="657"/>
                    <a:pt x="691" y="657"/>
                  </a:cubicBezTo>
                  <a:cubicBezTo>
                    <a:pt x="697" y="655"/>
                    <a:pt x="697" y="655"/>
                    <a:pt x="697" y="655"/>
                  </a:cubicBezTo>
                  <a:cubicBezTo>
                    <a:pt x="697" y="655"/>
                    <a:pt x="702" y="665"/>
                    <a:pt x="708" y="667"/>
                  </a:cubicBezTo>
                  <a:cubicBezTo>
                    <a:pt x="715" y="670"/>
                    <a:pt x="726" y="662"/>
                    <a:pt x="726" y="662"/>
                  </a:cubicBezTo>
                  <a:cubicBezTo>
                    <a:pt x="726" y="662"/>
                    <a:pt x="730" y="665"/>
                    <a:pt x="736" y="669"/>
                  </a:cubicBezTo>
                  <a:cubicBezTo>
                    <a:pt x="923" y="666"/>
                    <a:pt x="923" y="666"/>
                    <a:pt x="923" y="666"/>
                  </a:cubicBezTo>
                  <a:cubicBezTo>
                    <a:pt x="934" y="661"/>
                    <a:pt x="934" y="661"/>
                    <a:pt x="934" y="661"/>
                  </a:cubicBezTo>
                  <a:cubicBezTo>
                    <a:pt x="934" y="661"/>
                    <a:pt x="923" y="659"/>
                    <a:pt x="926" y="651"/>
                  </a:cubicBezTo>
                  <a:cubicBezTo>
                    <a:pt x="930" y="643"/>
                    <a:pt x="933" y="642"/>
                    <a:pt x="934" y="631"/>
                  </a:cubicBezTo>
                  <a:cubicBezTo>
                    <a:pt x="934" y="621"/>
                    <a:pt x="930" y="611"/>
                    <a:pt x="930" y="611"/>
                  </a:cubicBezTo>
                  <a:cubicBezTo>
                    <a:pt x="942" y="600"/>
                    <a:pt x="942" y="600"/>
                    <a:pt x="942" y="600"/>
                  </a:cubicBezTo>
                  <a:cubicBezTo>
                    <a:pt x="942" y="600"/>
                    <a:pt x="934" y="577"/>
                    <a:pt x="942" y="579"/>
                  </a:cubicBezTo>
                  <a:cubicBezTo>
                    <a:pt x="943" y="580"/>
                    <a:pt x="943" y="580"/>
                    <a:pt x="944" y="580"/>
                  </a:cubicBezTo>
                  <a:cubicBezTo>
                    <a:pt x="944" y="578"/>
                    <a:pt x="943" y="576"/>
                    <a:pt x="943" y="575"/>
                  </a:cubicBezTo>
                  <a:cubicBezTo>
                    <a:pt x="941" y="566"/>
                    <a:pt x="922" y="553"/>
                    <a:pt x="922" y="540"/>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59" name="Freeform 321">
              <a:extLst>
                <a:ext uri="{FF2B5EF4-FFF2-40B4-BE49-F238E27FC236}">
                  <a16:creationId xmlns:a16="http://schemas.microsoft.com/office/drawing/2014/main" id="{C0A261D0-48F5-4883-9AC9-5CB35D2CAF52}"/>
                </a:ext>
              </a:extLst>
            </p:cNvPr>
            <p:cNvSpPr>
              <a:spLocks noChangeAspect="1"/>
            </p:cNvSpPr>
            <p:nvPr/>
          </p:nvSpPr>
          <p:spPr bwMode="auto">
            <a:xfrm>
              <a:off x="11209" y="200"/>
              <a:ext cx="721" cy="825"/>
            </a:xfrm>
            <a:custGeom>
              <a:avLst/>
              <a:gdLst/>
              <a:ahLst/>
              <a:cxnLst>
                <a:cxn ang="0">
                  <a:pos x="304" y="204"/>
                </a:cxn>
                <a:cxn ang="0">
                  <a:pos x="307" y="182"/>
                </a:cxn>
                <a:cxn ang="0">
                  <a:pos x="305" y="111"/>
                </a:cxn>
                <a:cxn ang="0">
                  <a:pos x="321" y="79"/>
                </a:cxn>
                <a:cxn ang="0">
                  <a:pos x="308" y="49"/>
                </a:cxn>
                <a:cxn ang="0">
                  <a:pos x="279" y="39"/>
                </a:cxn>
                <a:cxn ang="0">
                  <a:pos x="282" y="1"/>
                </a:cxn>
                <a:cxn ang="0">
                  <a:pos x="256" y="22"/>
                </a:cxn>
                <a:cxn ang="0">
                  <a:pos x="227" y="47"/>
                </a:cxn>
                <a:cxn ang="0">
                  <a:pos x="205" y="50"/>
                </a:cxn>
                <a:cxn ang="0">
                  <a:pos x="186" y="61"/>
                </a:cxn>
                <a:cxn ang="0">
                  <a:pos x="168" y="66"/>
                </a:cxn>
                <a:cxn ang="0">
                  <a:pos x="149" y="66"/>
                </a:cxn>
                <a:cxn ang="0">
                  <a:pos x="125" y="78"/>
                </a:cxn>
                <a:cxn ang="0">
                  <a:pos x="107" y="90"/>
                </a:cxn>
                <a:cxn ang="0">
                  <a:pos x="81" y="87"/>
                </a:cxn>
                <a:cxn ang="0">
                  <a:pos x="53" y="84"/>
                </a:cxn>
                <a:cxn ang="0">
                  <a:pos x="25" y="66"/>
                </a:cxn>
                <a:cxn ang="0">
                  <a:pos x="0" y="60"/>
                </a:cxn>
                <a:cxn ang="0">
                  <a:pos x="41" y="101"/>
                </a:cxn>
                <a:cxn ang="0">
                  <a:pos x="38" y="130"/>
                </a:cxn>
                <a:cxn ang="0">
                  <a:pos x="49" y="163"/>
                </a:cxn>
                <a:cxn ang="0">
                  <a:pos x="85" y="172"/>
                </a:cxn>
                <a:cxn ang="0">
                  <a:pos x="87" y="185"/>
                </a:cxn>
                <a:cxn ang="0">
                  <a:pos x="131" y="199"/>
                </a:cxn>
                <a:cxn ang="0">
                  <a:pos x="134" y="235"/>
                </a:cxn>
                <a:cxn ang="0">
                  <a:pos x="145" y="268"/>
                </a:cxn>
                <a:cxn ang="0">
                  <a:pos x="150" y="319"/>
                </a:cxn>
                <a:cxn ang="0">
                  <a:pos x="150" y="350"/>
                </a:cxn>
                <a:cxn ang="0">
                  <a:pos x="140" y="360"/>
                </a:cxn>
                <a:cxn ang="0">
                  <a:pos x="179" y="404"/>
                </a:cxn>
                <a:cxn ang="0">
                  <a:pos x="206" y="412"/>
                </a:cxn>
                <a:cxn ang="0">
                  <a:pos x="196" y="383"/>
                </a:cxn>
                <a:cxn ang="0">
                  <a:pos x="202" y="360"/>
                </a:cxn>
                <a:cxn ang="0">
                  <a:pos x="254" y="372"/>
                </a:cxn>
                <a:cxn ang="0">
                  <a:pos x="277" y="361"/>
                </a:cxn>
                <a:cxn ang="0">
                  <a:pos x="268" y="342"/>
                </a:cxn>
                <a:cxn ang="0">
                  <a:pos x="275" y="323"/>
                </a:cxn>
                <a:cxn ang="0">
                  <a:pos x="357" y="303"/>
                </a:cxn>
                <a:cxn ang="0">
                  <a:pos x="359" y="244"/>
                </a:cxn>
              </a:cxnLst>
              <a:rect l="0" t="0" r="r" b="b"/>
              <a:pathLst>
                <a:path w="359" h="412">
                  <a:moveTo>
                    <a:pt x="359" y="244"/>
                  </a:moveTo>
                  <a:cubicBezTo>
                    <a:pt x="343" y="237"/>
                    <a:pt x="304" y="204"/>
                    <a:pt x="304" y="204"/>
                  </a:cubicBezTo>
                  <a:cubicBezTo>
                    <a:pt x="307" y="201"/>
                    <a:pt x="307" y="201"/>
                    <a:pt x="307" y="201"/>
                  </a:cubicBezTo>
                  <a:cubicBezTo>
                    <a:pt x="307" y="201"/>
                    <a:pt x="309" y="182"/>
                    <a:pt x="307" y="182"/>
                  </a:cubicBezTo>
                  <a:cubicBezTo>
                    <a:pt x="305" y="182"/>
                    <a:pt x="291" y="161"/>
                    <a:pt x="291" y="147"/>
                  </a:cubicBezTo>
                  <a:cubicBezTo>
                    <a:pt x="291" y="132"/>
                    <a:pt x="303" y="116"/>
                    <a:pt x="305" y="111"/>
                  </a:cubicBezTo>
                  <a:cubicBezTo>
                    <a:pt x="307" y="106"/>
                    <a:pt x="299" y="101"/>
                    <a:pt x="299" y="101"/>
                  </a:cubicBezTo>
                  <a:cubicBezTo>
                    <a:pt x="321" y="79"/>
                    <a:pt x="321" y="79"/>
                    <a:pt x="321" y="79"/>
                  </a:cubicBezTo>
                  <a:cubicBezTo>
                    <a:pt x="308" y="66"/>
                    <a:pt x="308" y="66"/>
                    <a:pt x="308" y="66"/>
                  </a:cubicBezTo>
                  <a:cubicBezTo>
                    <a:pt x="308" y="66"/>
                    <a:pt x="312" y="58"/>
                    <a:pt x="308" y="49"/>
                  </a:cubicBezTo>
                  <a:cubicBezTo>
                    <a:pt x="303" y="39"/>
                    <a:pt x="283" y="47"/>
                    <a:pt x="283" y="47"/>
                  </a:cubicBezTo>
                  <a:cubicBezTo>
                    <a:pt x="279" y="39"/>
                    <a:pt x="279" y="39"/>
                    <a:pt x="279" y="39"/>
                  </a:cubicBezTo>
                  <a:cubicBezTo>
                    <a:pt x="279" y="39"/>
                    <a:pt x="290" y="28"/>
                    <a:pt x="290" y="21"/>
                  </a:cubicBezTo>
                  <a:cubicBezTo>
                    <a:pt x="290" y="14"/>
                    <a:pt x="283" y="2"/>
                    <a:pt x="282" y="1"/>
                  </a:cubicBezTo>
                  <a:cubicBezTo>
                    <a:pt x="281" y="1"/>
                    <a:pt x="248" y="0"/>
                    <a:pt x="246" y="0"/>
                  </a:cubicBezTo>
                  <a:cubicBezTo>
                    <a:pt x="245" y="0"/>
                    <a:pt x="259" y="11"/>
                    <a:pt x="256" y="22"/>
                  </a:cubicBezTo>
                  <a:cubicBezTo>
                    <a:pt x="253" y="33"/>
                    <a:pt x="235" y="34"/>
                    <a:pt x="235" y="34"/>
                  </a:cubicBezTo>
                  <a:cubicBezTo>
                    <a:pt x="235" y="34"/>
                    <a:pt x="236" y="46"/>
                    <a:pt x="227" y="47"/>
                  </a:cubicBezTo>
                  <a:cubicBezTo>
                    <a:pt x="217" y="48"/>
                    <a:pt x="216" y="39"/>
                    <a:pt x="216" y="39"/>
                  </a:cubicBezTo>
                  <a:cubicBezTo>
                    <a:pt x="205" y="50"/>
                    <a:pt x="205" y="50"/>
                    <a:pt x="205" y="50"/>
                  </a:cubicBezTo>
                  <a:cubicBezTo>
                    <a:pt x="205" y="50"/>
                    <a:pt x="197" y="62"/>
                    <a:pt x="197" y="63"/>
                  </a:cubicBezTo>
                  <a:cubicBezTo>
                    <a:pt x="197" y="63"/>
                    <a:pt x="186" y="61"/>
                    <a:pt x="186" y="61"/>
                  </a:cubicBezTo>
                  <a:cubicBezTo>
                    <a:pt x="178" y="71"/>
                    <a:pt x="178" y="71"/>
                    <a:pt x="178" y="71"/>
                  </a:cubicBezTo>
                  <a:cubicBezTo>
                    <a:pt x="168" y="66"/>
                    <a:pt x="168" y="66"/>
                    <a:pt x="168" y="66"/>
                  </a:cubicBezTo>
                  <a:cubicBezTo>
                    <a:pt x="168" y="66"/>
                    <a:pt x="164" y="72"/>
                    <a:pt x="160" y="72"/>
                  </a:cubicBezTo>
                  <a:cubicBezTo>
                    <a:pt x="156" y="72"/>
                    <a:pt x="149" y="66"/>
                    <a:pt x="149" y="66"/>
                  </a:cubicBezTo>
                  <a:cubicBezTo>
                    <a:pt x="149" y="66"/>
                    <a:pt x="144" y="69"/>
                    <a:pt x="142" y="73"/>
                  </a:cubicBezTo>
                  <a:cubicBezTo>
                    <a:pt x="140" y="77"/>
                    <a:pt x="124" y="74"/>
                    <a:pt x="125" y="78"/>
                  </a:cubicBezTo>
                  <a:cubicBezTo>
                    <a:pt x="125" y="82"/>
                    <a:pt x="119" y="99"/>
                    <a:pt x="113" y="99"/>
                  </a:cubicBezTo>
                  <a:cubicBezTo>
                    <a:pt x="107" y="99"/>
                    <a:pt x="107" y="90"/>
                    <a:pt x="107" y="90"/>
                  </a:cubicBezTo>
                  <a:cubicBezTo>
                    <a:pt x="91" y="78"/>
                    <a:pt x="91" y="78"/>
                    <a:pt x="91" y="78"/>
                  </a:cubicBezTo>
                  <a:cubicBezTo>
                    <a:pt x="81" y="87"/>
                    <a:pt x="81" y="87"/>
                    <a:pt x="81" y="87"/>
                  </a:cubicBezTo>
                  <a:cubicBezTo>
                    <a:pt x="69" y="79"/>
                    <a:pt x="69" y="79"/>
                    <a:pt x="69" y="79"/>
                  </a:cubicBezTo>
                  <a:cubicBezTo>
                    <a:pt x="53" y="84"/>
                    <a:pt x="53" y="84"/>
                    <a:pt x="53" y="84"/>
                  </a:cubicBezTo>
                  <a:cubicBezTo>
                    <a:pt x="53" y="84"/>
                    <a:pt x="34" y="68"/>
                    <a:pt x="32" y="69"/>
                  </a:cubicBezTo>
                  <a:cubicBezTo>
                    <a:pt x="29" y="70"/>
                    <a:pt x="25" y="66"/>
                    <a:pt x="25" y="66"/>
                  </a:cubicBezTo>
                  <a:cubicBezTo>
                    <a:pt x="21" y="73"/>
                    <a:pt x="21" y="73"/>
                    <a:pt x="21" y="73"/>
                  </a:cubicBezTo>
                  <a:cubicBezTo>
                    <a:pt x="0" y="60"/>
                    <a:pt x="0" y="60"/>
                    <a:pt x="0" y="60"/>
                  </a:cubicBezTo>
                  <a:cubicBezTo>
                    <a:pt x="0" y="60"/>
                    <a:pt x="16" y="89"/>
                    <a:pt x="26" y="91"/>
                  </a:cubicBezTo>
                  <a:cubicBezTo>
                    <a:pt x="35" y="93"/>
                    <a:pt x="41" y="101"/>
                    <a:pt x="41" y="101"/>
                  </a:cubicBezTo>
                  <a:cubicBezTo>
                    <a:pt x="35" y="112"/>
                    <a:pt x="35" y="112"/>
                    <a:pt x="35" y="112"/>
                  </a:cubicBezTo>
                  <a:cubicBezTo>
                    <a:pt x="35" y="112"/>
                    <a:pt x="38" y="129"/>
                    <a:pt x="38" y="130"/>
                  </a:cubicBezTo>
                  <a:cubicBezTo>
                    <a:pt x="38" y="131"/>
                    <a:pt x="45" y="142"/>
                    <a:pt x="50" y="148"/>
                  </a:cubicBezTo>
                  <a:cubicBezTo>
                    <a:pt x="56" y="154"/>
                    <a:pt x="49" y="157"/>
                    <a:pt x="49" y="163"/>
                  </a:cubicBezTo>
                  <a:cubicBezTo>
                    <a:pt x="50" y="170"/>
                    <a:pt x="64" y="173"/>
                    <a:pt x="64" y="173"/>
                  </a:cubicBezTo>
                  <a:cubicBezTo>
                    <a:pt x="85" y="172"/>
                    <a:pt x="85" y="172"/>
                    <a:pt x="85" y="172"/>
                  </a:cubicBezTo>
                  <a:cubicBezTo>
                    <a:pt x="88" y="185"/>
                    <a:pt x="88" y="185"/>
                    <a:pt x="88" y="185"/>
                  </a:cubicBezTo>
                  <a:cubicBezTo>
                    <a:pt x="87" y="185"/>
                    <a:pt x="87" y="185"/>
                    <a:pt x="87" y="185"/>
                  </a:cubicBezTo>
                  <a:cubicBezTo>
                    <a:pt x="108" y="194"/>
                    <a:pt x="108" y="194"/>
                    <a:pt x="108" y="194"/>
                  </a:cubicBezTo>
                  <a:cubicBezTo>
                    <a:pt x="131" y="199"/>
                    <a:pt x="131" y="199"/>
                    <a:pt x="131" y="199"/>
                  </a:cubicBezTo>
                  <a:cubicBezTo>
                    <a:pt x="123" y="222"/>
                    <a:pt x="123" y="222"/>
                    <a:pt x="123" y="222"/>
                  </a:cubicBezTo>
                  <a:cubicBezTo>
                    <a:pt x="134" y="235"/>
                    <a:pt x="134" y="235"/>
                    <a:pt x="134" y="235"/>
                  </a:cubicBezTo>
                  <a:cubicBezTo>
                    <a:pt x="141" y="253"/>
                    <a:pt x="141" y="253"/>
                    <a:pt x="141" y="253"/>
                  </a:cubicBezTo>
                  <a:cubicBezTo>
                    <a:pt x="145" y="268"/>
                    <a:pt x="145" y="268"/>
                    <a:pt x="145" y="268"/>
                  </a:cubicBezTo>
                  <a:cubicBezTo>
                    <a:pt x="145" y="268"/>
                    <a:pt x="137" y="265"/>
                    <a:pt x="139" y="281"/>
                  </a:cubicBezTo>
                  <a:cubicBezTo>
                    <a:pt x="140" y="297"/>
                    <a:pt x="150" y="319"/>
                    <a:pt x="150" y="319"/>
                  </a:cubicBezTo>
                  <a:cubicBezTo>
                    <a:pt x="159" y="337"/>
                    <a:pt x="159" y="337"/>
                    <a:pt x="159" y="337"/>
                  </a:cubicBezTo>
                  <a:cubicBezTo>
                    <a:pt x="150" y="350"/>
                    <a:pt x="150" y="350"/>
                    <a:pt x="150" y="350"/>
                  </a:cubicBezTo>
                  <a:cubicBezTo>
                    <a:pt x="150" y="350"/>
                    <a:pt x="157" y="358"/>
                    <a:pt x="154" y="360"/>
                  </a:cubicBezTo>
                  <a:cubicBezTo>
                    <a:pt x="151" y="361"/>
                    <a:pt x="140" y="360"/>
                    <a:pt x="140" y="360"/>
                  </a:cubicBezTo>
                  <a:cubicBezTo>
                    <a:pt x="140" y="360"/>
                    <a:pt x="153" y="368"/>
                    <a:pt x="162" y="381"/>
                  </a:cubicBezTo>
                  <a:cubicBezTo>
                    <a:pt x="171" y="394"/>
                    <a:pt x="179" y="404"/>
                    <a:pt x="179" y="404"/>
                  </a:cubicBezTo>
                  <a:cubicBezTo>
                    <a:pt x="198" y="412"/>
                    <a:pt x="198" y="412"/>
                    <a:pt x="198" y="412"/>
                  </a:cubicBezTo>
                  <a:cubicBezTo>
                    <a:pt x="206" y="412"/>
                    <a:pt x="206" y="412"/>
                    <a:pt x="206" y="412"/>
                  </a:cubicBezTo>
                  <a:cubicBezTo>
                    <a:pt x="206" y="412"/>
                    <a:pt x="195" y="403"/>
                    <a:pt x="195" y="399"/>
                  </a:cubicBezTo>
                  <a:cubicBezTo>
                    <a:pt x="195" y="394"/>
                    <a:pt x="196" y="383"/>
                    <a:pt x="196" y="383"/>
                  </a:cubicBezTo>
                  <a:cubicBezTo>
                    <a:pt x="194" y="372"/>
                    <a:pt x="194" y="372"/>
                    <a:pt x="194" y="372"/>
                  </a:cubicBezTo>
                  <a:cubicBezTo>
                    <a:pt x="202" y="360"/>
                    <a:pt x="202" y="360"/>
                    <a:pt x="202" y="360"/>
                  </a:cubicBezTo>
                  <a:cubicBezTo>
                    <a:pt x="219" y="346"/>
                    <a:pt x="219" y="346"/>
                    <a:pt x="219" y="346"/>
                  </a:cubicBezTo>
                  <a:cubicBezTo>
                    <a:pt x="254" y="372"/>
                    <a:pt x="254" y="372"/>
                    <a:pt x="254" y="372"/>
                  </a:cubicBezTo>
                  <a:cubicBezTo>
                    <a:pt x="261" y="364"/>
                    <a:pt x="261" y="364"/>
                    <a:pt x="261" y="364"/>
                  </a:cubicBezTo>
                  <a:cubicBezTo>
                    <a:pt x="261" y="364"/>
                    <a:pt x="278" y="367"/>
                    <a:pt x="277" y="361"/>
                  </a:cubicBezTo>
                  <a:cubicBezTo>
                    <a:pt x="277" y="355"/>
                    <a:pt x="268" y="353"/>
                    <a:pt x="268" y="353"/>
                  </a:cubicBezTo>
                  <a:cubicBezTo>
                    <a:pt x="268" y="353"/>
                    <a:pt x="267" y="343"/>
                    <a:pt x="268" y="342"/>
                  </a:cubicBezTo>
                  <a:cubicBezTo>
                    <a:pt x="268" y="340"/>
                    <a:pt x="275" y="337"/>
                    <a:pt x="275" y="337"/>
                  </a:cubicBezTo>
                  <a:cubicBezTo>
                    <a:pt x="275" y="337"/>
                    <a:pt x="272" y="326"/>
                    <a:pt x="275" y="323"/>
                  </a:cubicBezTo>
                  <a:cubicBezTo>
                    <a:pt x="279" y="321"/>
                    <a:pt x="287" y="304"/>
                    <a:pt x="287" y="304"/>
                  </a:cubicBezTo>
                  <a:cubicBezTo>
                    <a:pt x="357" y="303"/>
                    <a:pt x="357" y="303"/>
                    <a:pt x="357" y="303"/>
                  </a:cubicBezTo>
                  <a:cubicBezTo>
                    <a:pt x="358" y="296"/>
                    <a:pt x="359" y="284"/>
                    <a:pt x="359" y="265"/>
                  </a:cubicBezTo>
                  <a:cubicBezTo>
                    <a:pt x="359" y="258"/>
                    <a:pt x="359" y="251"/>
                    <a:pt x="359" y="24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0" name="Freeform 322">
              <a:extLst>
                <a:ext uri="{FF2B5EF4-FFF2-40B4-BE49-F238E27FC236}">
                  <a16:creationId xmlns:a16="http://schemas.microsoft.com/office/drawing/2014/main" id="{0B86E85E-A19F-4CA9-90E0-2B604B4F3EEA}"/>
                </a:ext>
              </a:extLst>
            </p:cNvPr>
            <p:cNvSpPr>
              <a:spLocks noChangeAspect="1"/>
            </p:cNvSpPr>
            <p:nvPr/>
          </p:nvSpPr>
          <p:spPr bwMode="auto">
            <a:xfrm>
              <a:off x="12414" y="297"/>
              <a:ext cx="610" cy="687"/>
            </a:xfrm>
            <a:custGeom>
              <a:avLst/>
              <a:gdLst/>
              <a:ahLst/>
              <a:cxnLst>
                <a:cxn ang="0">
                  <a:pos x="3" y="146"/>
                </a:cxn>
                <a:cxn ang="0">
                  <a:pos x="4" y="148"/>
                </a:cxn>
                <a:cxn ang="0">
                  <a:pos x="5" y="163"/>
                </a:cxn>
                <a:cxn ang="0">
                  <a:pos x="35" y="162"/>
                </a:cxn>
                <a:cxn ang="0">
                  <a:pos x="62" y="186"/>
                </a:cxn>
                <a:cxn ang="0">
                  <a:pos x="74" y="185"/>
                </a:cxn>
                <a:cxn ang="0">
                  <a:pos x="91" y="197"/>
                </a:cxn>
                <a:cxn ang="0">
                  <a:pos x="85" y="206"/>
                </a:cxn>
                <a:cxn ang="0">
                  <a:pos x="108" y="233"/>
                </a:cxn>
                <a:cxn ang="0">
                  <a:pos x="101" y="242"/>
                </a:cxn>
                <a:cxn ang="0">
                  <a:pos x="106" y="249"/>
                </a:cxn>
                <a:cxn ang="0">
                  <a:pos x="106" y="257"/>
                </a:cxn>
                <a:cxn ang="0">
                  <a:pos x="114" y="263"/>
                </a:cxn>
                <a:cxn ang="0">
                  <a:pos x="115" y="281"/>
                </a:cxn>
                <a:cxn ang="0">
                  <a:pos x="127" y="284"/>
                </a:cxn>
                <a:cxn ang="0">
                  <a:pos x="133" y="301"/>
                </a:cxn>
                <a:cxn ang="0">
                  <a:pos x="144" y="306"/>
                </a:cxn>
                <a:cxn ang="0">
                  <a:pos x="143" y="318"/>
                </a:cxn>
                <a:cxn ang="0">
                  <a:pos x="147" y="320"/>
                </a:cxn>
                <a:cxn ang="0">
                  <a:pos x="147" y="336"/>
                </a:cxn>
                <a:cxn ang="0">
                  <a:pos x="171" y="343"/>
                </a:cxn>
                <a:cxn ang="0">
                  <a:pos x="175" y="337"/>
                </a:cxn>
                <a:cxn ang="0">
                  <a:pos x="192" y="336"/>
                </a:cxn>
                <a:cxn ang="0">
                  <a:pos x="190" y="317"/>
                </a:cxn>
                <a:cxn ang="0">
                  <a:pos x="198" y="309"/>
                </a:cxn>
                <a:cxn ang="0">
                  <a:pos x="199" y="300"/>
                </a:cxn>
                <a:cxn ang="0">
                  <a:pos x="208" y="302"/>
                </a:cxn>
                <a:cxn ang="0">
                  <a:pos x="219" y="283"/>
                </a:cxn>
                <a:cxn ang="0">
                  <a:pos x="219" y="275"/>
                </a:cxn>
                <a:cxn ang="0">
                  <a:pos x="232" y="273"/>
                </a:cxn>
                <a:cxn ang="0">
                  <a:pos x="248" y="261"/>
                </a:cxn>
                <a:cxn ang="0">
                  <a:pos x="259" y="256"/>
                </a:cxn>
                <a:cxn ang="0">
                  <a:pos x="265" y="242"/>
                </a:cxn>
                <a:cxn ang="0">
                  <a:pos x="271" y="224"/>
                </a:cxn>
                <a:cxn ang="0">
                  <a:pos x="286" y="224"/>
                </a:cxn>
                <a:cxn ang="0">
                  <a:pos x="304" y="197"/>
                </a:cxn>
                <a:cxn ang="0">
                  <a:pos x="300" y="170"/>
                </a:cxn>
                <a:cxn ang="0">
                  <a:pos x="279" y="156"/>
                </a:cxn>
                <a:cxn ang="0">
                  <a:pos x="269" y="136"/>
                </a:cxn>
                <a:cxn ang="0">
                  <a:pos x="253" y="139"/>
                </a:cxn>
                <a:cxn ang="0">
                  <a:pos x="234" y="90"/>
                </a:cxn>
                <a:cxn ang="0">
                  <a:pos x="230" y="32"/>
                </a:cxn>
                <a:cxn ang="0">
                  <a:pos x="221" y="30"/>
                </a:cxn>
                <a:cxn ang="0">
                  <a:pos x="221" y="19"/>
                </a:cxn>
                <a:cxn ang="0">
                  <a:pos x="203" y="0"/>
                </a:cxn>
                <a:cxn ang="0">
                  <a:pos x="198" y="20"/>
                </a:cxn>
                <a:cxn ang="0">
                  <a:pos x="152" y="77"/>
                </a:cxn>
                <a:cxn ang="0">
                  <a:pos x="142" y="113"/>
                </a:cxn>
                <a:cxn ang="0">
                  <a:pos x="116" y="137"/>
                </a:cxn>
                <a:cxn ang="0">
                  <a:pos x="94" y="127"/>
                </a:cxn>
                <a:cxn ang="0">
                  <a:pos x="86" y="133"/>
                </a:cxn>
                <a:cxn ang="0">
                  <a:pos x="66" y="123"/>
                </a:cxn>
                <a:cxn ang="0">
                  <a:pos x="40" y="138"/>
                </a:cxn>
                <a:cxn ang="0">
                  <a:pos x="12" y="122"/>
                </a:cxn>
                <a:cxn ang="0">
                  <a:pos x="0" y="117"/>
                </a:cxn>
                <a:cxn ang="0">
                  <a:pos x="7" y="135"/>
                </a:cxn>
                <a:cxn ang="0">
                  <a:pos x="3" y="146"/>
                </a:cxn>
              </a:cxnLst>
              <a:rect l="0" t="0" r="r" b="b"/>
              <a:pathLst>
                <a:path w="304" h="343">
                  <a:moveTo>
                    <a:pt x="3" y="146"/>
                  </a:moveTo>
                  <a:cubicBezTo>
                    <a:pt x="4" y="148"/>
                    <a:pt x="4" y="148"/>
                    <a:pt x="4" y="148"/>
                  </a:cubicBezTo>
                  <a:cubicBezTo>
                    <a:pt x="5" y="163"/>
                    <a:pt x="5" y="163"/>
                    <a:pt x="5" y="163"/>
                  </a:cubicBezTo>
                  <a:cubicBezTo>
                    <a:pt x="35" y="162"/>
                    <a:pt x="35" y="162"/>
                    <a:pt x="35" y="162"/>
                  </a:cubicBezTo>
                  <a:cubicBezTo>
                    <a:pt x="62" y="186"/>
                    <a:pt x="62" y="186"/>
                    <a:pt x="62" y="186"/>
                  </a:cubicBezTo>
                  <a:cubicBezTo>
                    <a:pt x="74" y="185"/>
                    <a:pt x="74" y="185"/>
                    <a:pt x="74" y="185"/>
                  </a:cubicBezTo>
                  <a:cubicBezTo>
                    <a:pt x="91" y="197"/>
                    <a:pt x="91" y="197"/>
                    <a:pt x="91" y="197"/>
                  </a:cubicBezTo>
                  <a:cubicBezTo>
                    <a:pt x="85" y="206"/>
                    <a:pt x="85" y="206"/>
                    <a:pt x="85" y="206"/>
                  </a:cubicBezTo>
                  <a:cubicBezTo>
                    <a:pt x="108" y="233"/>
                    <a:pt x="108" y="233"/>
                    <a:pt x="108" y="233"/>
                  </a:cubicBezTo>
                  <a:cubicBezTo>
                    <a:pt x="101" y="242"/>
                    <a:pt x="101" y="242"/>
                    <a:pt x="101" y="242"/>
                  </a:cubicBezTo>
                  <a:cubicBezTo>
                    <a:pt x="106" y="249"/>
                    <a:pt x="106" y="249"/>
                    <a:pt x="106" y="249"/>
                  </a:cubicBezTo>
                  <a:cubicBezTo>
                    <a:pt x="106" y="257"/>
                    <a:pt x="106" y="257"/>
                    <a:pt x="106" y="257"/>
                  </a:cubicBezTo>
                  <a:cubicBezTo>
                    <a:pt x="114" y="263"/>
                    <a:pt x="114" y="263"/>
                    <a:pt x="114" y="263"/>
                  </a:cubicBezTo>
                  <a:cubicBezTo>
                    <a:pt x="115" y="281"/>
                    <a:pt x="115" y="281"/>
                    <a:pt x="115" y="281"/>
                  </a:cubicBezTo>
                  <a:cubicBezTo>
                    <a:pt x="115" y="281"/>
                    <a:pt x="121" y="276"/>
                    <a:pt x="127" y="284"/>
                  </a:cubicBezTo>
                  <a:cubicBezTo>
                    <a:pt x="132" y="292"/>
                    <a:pt x="127" y="297"/>
                    <a:pt x="133" y="301"/>
                  </a:cubicBezTo>
                  <a:cubicBezTo>
                    <a:pt x="139" y="305"/>
                    <a:pt x="144" y="306"/>
                    <a:pt x="144" y="306"/>
                  </a:cubicBezTo>
                  <a:cubicBezTo>
                    <a:pt x="143" y="318"/>
                    <a:pt x="143" y="318"/>
                    <a:pt x="143" y="318"/>
                  </a:cubicBezTo>
                  <a:cubicBezTo>
                    <a:pt x="147" y="320"/>
                    <a:pt x="147" y="320"/>
                    <a:pt x="147" y="320"/>
                  </a:cubicBezTo>
                  <a:cubicBezTo>
                    <a:pt x="147" y="336"/>
                    <a:pt x="147" y="336"/>
                    <a:pt x="147" y="336"/>
                  </a:cubicBezTo>
                  <a:cubicBezTo>
                    <a:pt x="171" y="343"/>
                    <a:pt x="171" y="343"/>
                    <a:pt x="171" y="343"/>
                  </a:cubicBezTo>
                  <a:cubicBezTo>
                    <a:pt x="171" y="343"/>
                    <a:pt x="173" y="337"/>
                    <a:pt x="175" y="337"/>
                  </a:cubicBezTo>
                  <a:cubicBezTo>
                    <a:pt x="177" y="337"/>
                    <a:pt x="192" y="336"/>
                    <a:pt x="192" y="336"/>
                  </a:cubicBezTo>
                  <a:cubicBezTo>
                    <a:pt x="190" y="317"/>
                    <a:pt x="190" y="317"/>
                    <a:pt x="190" y="317"/>
                  </a:cubicBezTo>
                  <a:cubicBezTo>
                    <a:pt x="190" y="317"/>
                    <a:pt x="198" y="316"/>
                    <a:pt x="198" y="309"/>
                  </a:cubicBezTo>
                  <a:cubicBezTo>
                    <a:pt x="199" y="302"/>
                    <a:pt x="199" y="300"/>
                    <a:pt x="199" y="300"/>
                  </a:cubicBezTo>
                  <a:cubicBezTo>
                    <a:pt x="208" y="302"/>
                    <a:pt x="208" y="302"/>
                    <a:pt x="208" y="302"/>
                  </a:cubicBezTo>
                  <a:cubicBezTo>
                    <a:pt x="219" y="283"/>
                    <a:pt x="219" y="283"/>
                    <a:pt x="219" y="283"/>
                  </a:cubicBezTo>
                  <a:cubicBezTo>
                    <a:pt x="219" y="275"/>
                    <a:pt x="219" y="275"/>
                    <a:pt x="219" y="275"/>
                  </a:cubicBezTo>
                  <a:cubicBezTo>
                    <a:pt x="232" y="273"/>
                    <a:pt x="232" y="273"/>
                    <a:pt x="232" y="273"/>
                  </a:cubicBezTo>
                  <a:cubicBezTo>
                    <a:pt x="232" y="273"/>
                    <a:pt x="239" y="262"/>
                    <a:pt x="248" y="261"/>
                  </a:cubicBezTo>
                  <a:cubicBezTo>
                    <a:pt x="256" y="260"/>
                    <a:pt x="259" y="256"/>
                    <a:pt x="259" y="256"/>
                  </a:cubicBezTo>
                  <a:cubicBezTo>
                    <a:pt x="265" y="242"/>
                    <a:pt x="265" y="242"/>
                    <a:pt x="265" y="242"/>
                  </a:cubicBezTo>
                  <a:cubicBezTo>
                    <a:pt x="265" y="242"/>
                    <a:pt x="257" y="224"/>
                    <a:pt x="271" y="224"/>
                  </a:cubicBezTo>
                  <a:cubicBezTo>
                    <a:pt x="276" y="224"/>
                    <a:pt x="281" y="224"/>
                    <a:pt x="286" y="224"/>
                  </a:cubicBezTo>
                  <a:cubicBezTo>
                    <a:pt x="304" y="197"/>
                    <a:pt x="304" y="197"/>
                    <a:pt x="304" y="197"/>
                  </a:cubicBezTo>
                  <a:cubicBezTo>
                    <a:pt x="304" y="197"/>
                    <a:pt x="302" y="179"/>
                    <a:pt x="300" y="170"/>
                  </a:cubicBezTo>
                  <a:cubicBezTo>
                    <a:pt x="298" y="161"/>
                    <a:pt x="285" y="159"/>
                    <a:pt x="279" y="156"/>
                  </a:cubicBezTo>
                  <a:cubicBezTo>
                    <a:pt x="273" y="154"/>
                    <a:pt x="276" y="143"/>
                    <a:pt x="269" y="136"/>
                  </a:cubicBezTo>
                  <a:cubicBezTo>
                    <a:pt x="263" y="129"/>
                    <a:pt x="259" y="140"/>
                    <a:pt x="253" y="139"/>
                  </a:cubicBezTo>
                  <a:cubicBezTo>
                    <a:pt x="248" y="138"/>
                    <a:pt x="235" y="96"/>
                    <a:pt x="234" y="90"/>
                  </a:cubicBezTo>
                  <a:cubicBezTo>
                    <a:pt x="234" y="84"/>
                    <a:pt x="230" y="32"/>
                    <a:pt x="230" y="32"/>
                  </a:cubicBezTo>
                  <a:cubicBezTo>
                    <a:pt x="221" y="30"/>
                    <a:pt x="221" y="30"/>
                    <a:pt x="221" y="30"/>
                  </a:cubicBezTo>
                  <a:cubicBezTo>
                    <a:pt x="221" y="19"/>
                    <a:pt x="221" y="19"/>
                    <a:pt x="221" y="19"/>
                  </a:cubicBezTo>
                  <a:cubicBezTo>
                    <a:pt x="203" y="0"/>
                    <a:pt x="203" y="0"/>
                    <a:pt x="203" y="0"/>
                  </a:cubicBezTo>
                  <a:cubicBezTo>
                    <a:pt x="203" y="0"/>
                    <a:pt x="198" y="18"/>
                    <a:pt x="198" y="20"/>
                  </a:cubicBezTo>
                  <a:cubicBezTo>
                    <a:pt x="198" y="22"/>
                    <a:pt x="152" y="77"/>
                    <a:pt x="152" y="77"/>
                  </a:cubicBezTo>
                  <a:cubicBezTo>
                    <a:pt x="152" y="77"/>
                    <a:pt x="150" y="100"/>
                    <a:pt x="142" y="113"/>
                  </a:cubicBezTo>
                  <a:cubicBezTo>
                    <a:pt x="134" y="126"/>
                    <a:pt x="122" y="132"/>
                    <a:pt x="116" y="137"/>
                  </a:cubicBezTo>
                  <a:cubicBezTo>
                    <a:pt x="109" y="143"/>
                    <a:pt x="94" y="127"/>
                    <a:pt x="94" y="127"/>
                  </a:cubicBezTo>
                  <a:cubicBezTo>
                    <a:pt x="86" y="133"/>
                    <a:pt x="86" y="133"/>
                    <a:pt x="86" y="133"/>
                  </a:cubicBezTo>
                  <a:cubicBezTo>
                    <a:pt x="66" y="123"/>
                    <a:pt x="66" y="123"/>
                    <a:pt x="66" y="123"/>
                  </a:cubicBezTo>
                  <a:cubicBezTo>
                    <a:pt x="66" y="123"/>
                    <a:pt x="57" y="137"/>
                    <a:pt x="40" y="138"/>
                  </a:cubicBezTo>
                  <a:cubicBezTo>
                    <a:pt x="23" y="139"/>
                    <a:pt x="12" y="122"/>
                    <a:pt x="12" y="122"/>
                  </a:cubicBezTo>
                  <a:cubicBezTo>
                    <a:pt x="12" y="122"/>
                    <a:pt x="6" y="119"/>
                    <a:pt x="0" y="117"/>
                  </a:cubicBezTo>
                  <a:cubicBezTo>
                    <a:pt x="7" y="135"/>
                    <a:pt x="7" y="135"/>
                    <a:pt x="7" y="135"/>
                  </a:cubicBezTo>
                  <a:lnTo>
                    <a:pt x="3" y="14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1" name="Freeform 325">
              <a:extLst>
                <a:ext uri="{FF2B5EF4-FFF2-40B4-BE49-F238E27FC236}">
                  <a16:creationId xmlns:a16="http://schemas.microsoft.com/office/drawing/2014/main" id="{90B4E918-EF2F-444A-8291-8E9E1A3CCCE3}"/>
                </a:ext>
              </a:extLst>
            </p:cNvPr>
            <p:cNvSpPr>
              <a:spLocks noChangeAspect="1"/>
            </p:cNvSpPr>
            <p:nvPr/>
          </p:nvSpPr>
          <p:spPr bwMode="auto">
            <a:xfrm>
              <a:off x="11600" y="1719"/>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2" name="Freeform 326">
              <a:extLst>
                <a:ext uri="{FF2B5EF4-FFF2-40B4-BE49-F238E27FC236}">
                  <a16:creationId xmlns:a16="http://schemas.microsoft.com/office/drawing/2014/main" id="{10F02057-55B0-4EFD-BD11-F0F9EC940A8D}"/>
                </a:ext>
              </a:extLst>
            </p:cNvPr>
            <p:cNvSpPr>
              <a:spLocks noChangeAspect="1"/>
            </p:cNvSpPr>
            <p:nvPr/>
          </p:nvSpPr>
          <p:spPr bwMode="auto">
            <a:xfrm>
              <a:off x="12007" y="2911"/>
              <a:ext cx="890" cy="837"/>
            </a:xfrm>
            <a:custGeom>
              <a:avLst/>
              <a:gdLst/>
              <a:ahLst/>
              <a:cxnLst>
                <a:cxn ang="0">
                  <a:pos x="386" y="109"/>
                </a:cxn>
                <a:cxn ang="0">
                  <a:pos x="366" y="98"/>
                </a:cxn>
                <a:cxn ang="0">
                  <a:pos x="339" y="86"/>
                </a:cxn>
                <a:cxn ang="0">
                  <a:pos x="320" y="81"/>
                </a:cxn>
                <a:cxn ang="0">
                  <a:pos x="331" y="70"/>
                </a:cxn>
                <a:cxn ang="0">
                  <a:pos x="312" y="74"/>
                </a:cxn>
                <a:cxn ang="0">
                  <a:pos x="310" y="50"/>
                </a:cxn>
                <a:cxn ang="0">
                  <a:pos x="257" y="41"/>
                </a:cxn>
                <a:cxn ang="0">
                  <a:pos x="271" y="27"/>
                </a:cxn>
                <a:cxn ang="0">
                  <a:pos x="262" y="16"/>
                </a:cxn>
                <a:cxn ang="0">
                  <a:pos x="237" y="30"/>
                </a:cxn>
                <a:cxn ang="0">
                  <a:pos x="204" y="25"/>
                </a:cxn>
                <a:cxn ang="0">
                  <a:pos x="161" y="10"/>
                </a:cxn>
                <a:cxn ang="0">
                  <a:pos x="127" y="1"/>
                </a:cxn>
                <a:cxn ang="0">
                  <a:pos x="102" y="4"/>
                </a:cxn>
                <a:cxn ang="0">
                  <a:pos x="88" y="4"/>
                </a:cxn>
                <a:cxn ang="0">
                  <a:pos x="69" y="37"/>
                </a:cxn>
                <a:cxn ang="0">
                  <a:pos x="51" y="44"/>
                </a:cxn>
                <a:cxn ang="0">
                  <a:pos x="28" y="35"/>
                </a:cxn>
                <a:cxn ang="0">
                  <a:pos x="47" y="65"/>
                </a:cxn>
                <a:cxn ang="0">
                  <a:pos x="27" y="101"/>
                </a:cxn>
                <a:cxn ang="0">
                  <a:pos x="25" y="116"/>
                </a:cxn>
                <a:cxn ang="0">
                  <a:pos x="23" y="167"/>
                </a:cxn>
                <a:cxn ang="0">
                  <a:pos x="0" y="181"/>
                </a:cxn>
                <a:cxn ang="0">
                  <a:pos x="12" y="208"/>
                </a:cxn>
                <a:cxn ang="0">
                  <a:pos x="24" y="251"/>
                </a:cxn>
                <a:cxn ang="0">
                  <a:pos x="17" y="284"/>
                </a:cxn>
                <a:cxn ang="0">
                  <a:pos x="30" y="298"/>
                </a:cxn>
                <a:cxn ang="0">
                  <a:pos x="93" y="311"/>
                </a:cxn>
                <a:cxn ang="0">
                  <a:pos x="123" y="310"/>
                </a:cxn>
                <a:cxn ang="0">
                  <a:pos x="154" y="329"/>
                </a:cxn>
                <a:cxn ang="0">
                  <a:pos x="162" y="366"/>
                </a:cxn>
                <a:cxn ang="0">
                  <a:pos x="165" y="392"/>
                </a:cxn>
                <a:cxn ang="0">
                  <a:pos x="196" y="412"/>
                </a:cxn>
                <a:cxn ang="0">
                  <a:pos x="235" y="415"/>
                </a:cxn>
                <a:cxn ang="0">
                  <a:pos x="245" y="412"/>
                </a:cxn>
                <a:cxn ang="0">
                  <a:pos x="272" y="369"/>
                </a:cxn>
                <a:cxn ang="0">
                  <a:pos x="303" y="336"/>
                </a:cxn>
                <a:cxn ang="0">
                  <a:pos x="357" y="295"/>
                </a:cxn>
                <a:cxn ang="0">
                  <a:pos x="373" y="270"/>
                </a:cxn>
                <a:cxn ang="0">
                  <a:pos x="378" y="259"/>
                </a:cxn>
                <a:cxn ang="0">
                  <a:pos x="403" y="223"/>
                </a:cxn>
                <a:cxn ang="0">
                  <a:pos x="418" y="190"/>
                </a:cxn>
                <a:cxn ang="0">
                  <a:pos x="435" y="151"/>
                </a:cxn>
                <a:cxn ang="0">
                  <a:pos x="444" y="140"/>
                </a:cxn>
                <a:cxn ang="0">
                  <a:pos x="399" y="120"/>
                </a:cxn>
              </a:cxnLst>
              <a:rect l="0" t="0" r="r" b="b"/>
              <a:pathLst>
                <a:path w="444" h="418">
                  <a:moveTo>
                    <a:pt x="399" y="120"/>
                  </a:moveTo>
                  <a:cubicBezTo>
                    <a:pt x="385" y="118"/>
                    <a:pt x="386" y="109"/>
                    <a:pt x="386" y="109"/>
                  </a:cubicBezTo>
                  <a:cubicBezTo>
                    <a:pt x="386" y="109"/>
                    <a:pt x="375" y="109"/>
                    <a:pt x="371" y="109"/>
                  </a:cubicBezTo>
                  <a:cubicBezTo>
                    <a:pt x="368" y="109"/>
                    <a:pt x="366" y="98"/>
                    <a:pt x="366" y="98"/>
                  </a:cubicBezTo>
                  <a:cubicBezTo>
                    <a:pt x="353" y="98"/>
                    <a:pt x="353" y="98"/>
                    <a:pt x="353" y="98"/>
                  </a:cubicBezTo>
                  <a:cubicBezTo>
                    <a:pt x="339" y="86"/>
                    <a:pt x="339" y="86"/>
                    <a:pt x="339" y="86"/>
                  </a:cubicBezTo>
                  <a:cubicBezTo>
                    <a:pt x="339" y="86"/>
                    <a:pt x="333" y="94"/>
                    <a:pt x="331" y="94"/>
                  </a:cubicBezTo>
                  <a:cubicBezTo>
                    <a:pt x="330" y="94"/>
                    <a:pt x="325" y="89"/>
                    <a:pt x="320" y="81"/>
                  </a:cubicBezTo>
                  <a:cubicBezTo>
                    <a:pt x="315" y="73"/>
                    <a:pt x="330" y="75"/>
                    <a:pt x="330" y="75"/>
                  </a:cubicBezTo>
                  <a:cubicBezTo>
                    <a:pt x="331" y="70"/>
                    <a:pt x="331" y="70"/>
                    <a:pt x="331" y="70"/>
                  </a:cubicBezTo>
                  <a:cubicBezTo>
                    <a:pt x="316" y="69"/>
                    <a:pt x="316" y="69"/>
                    <a:pt x="316" y="69"/>
                  </a:cubicBezTo>
                  <a:cubicBezTo>
                    <a:pt x="316" y="69"/>
                    <a:pt x="315" y="74"/>
                    <a:pt x="312" y="74"/>
                  </a:cubicBezTo>
                  <a:cubicBezTo>
                    <a:pt x="310" y="74"/>
                    <a:pt x="308" y="57"/>
                    <a:pt x="308" y="57"/>
                  </a:cubicBezTo>
                  <a:cubicBezTo>
                    <a:pt x="310" y="50"/>
                    <a:pt x="310" y="50"/>
                    <a:pt x="310" y="50"/>
                  </a:cubicBezTo>
                  <a:cubicBezTo>
                    <a:pt x="267" y="48"/>
                    <a:pt x="267" y="48"/>
                    <a:pt x="267" y="48"/>
                  </a:cubicBezTo>
                  <a:cubicBezTo>
                    <a:pt x="257" y="41"/>
                    <a:pt x="257" y="41"/>
                    <a:pt x="257" y="41"/>
                  </a:cubicBezTo>
                  <a:cubicBezTo>
                    <a:pt x="262" y="31"/>
                    <a:pt x="262" y="31"/>
                    <a:pt x="262" y="31"/>
                  </a:cubicBezTo>
                  <a:cubicBezTo>
                    <a:pt x="271" y="27"/>
                    <a:pt x="271" y="27"/>
                    <a:pt x="271" y="27"/>
                  </a:cubicBezTo>
                  <a:cubicBezTo>
                    <a:pt x="272" y="2"/>
                    <a:pt x="272" y="2"/>
                    <a:pt x="272" y="2"/>
                  </a:cubicBezTo>
                  <a:cubicBezTo>
                    <a:pt x="262" y="16"/>
                    <a:pt x="262" y="16"/>
                    <a:pt x="262" y="16"/>
                  </a:cubicBezTo>
                  <a:cubicBezTo>
                    <a:pt x="262" y="16"/>
                    <a:pt x="254" y="16"/>
                    <a:pt x="251" y="21"/>
                  </a:cubicBezTo>
                  <a:cubicBezTo>
                    <a:pt x="248" y="26"/>
                    <a:pt x="237" y="30"/>
                    <a:pt x="237" y="30"/>
                  </a:cubicBezTo>
                  <a:cubicBezTo>
                    <a:pt x="221" y="17"/>
                    <a:pt x="221" y="17"/>
                    <a:pt x="221" y="17"/>
                  </a:cubicBezTo>
                  <a:cubicBezTo>
                    <a:pt x="204" y="25"/>
                    <a:pt x="204" y="25"/>
                    <a:pt x="204" y="25"/>
                  </a:cubicBezTo>
                  <a:cubicBezTo>
                    <a:pt x="204" y="25"/>
                    <a:pt x="175" y="23"/>
                    <a:pt x="173" y="23"/>
                  </a:cubicBezTo>
                  <a:cubicBezTo>
                    <a:pt x="170" y="23"/>
                    <a:pt x="161" y="10"/>
                    <a:pt x="161" y="10"/>
                  </a:cubicBezTo>
                  <a:cubicBezTo>
                    <a:pt x="161" y="10"/>
                    <a:pt x="154" y="8"/>
                    <a:pt x="145" y="7"/>
                  </a:cubicBezTo>
                  <a:cubicBezTo>
                    <a:pt x="135" y="5"/>
                    <a:pt x="139" y="1"/>
                    <a:pt x="127" y="1"/>
                  </a:cubicBezTo>
                  <a:cubicBezTo>
                    <a:pt x="114" y="0"/>
                    <a:pt x="106" y="11"/>
                    <a:pt x="106" y="11"/>
                  </a:cubicBezTo>
                  <a:cubicBezTo>
                    <a:pt x="102" y="4"/>
                    <a:pt x="102" y="4"/>
                    <a:pt x="102" y="4"/>
                  </a:cubicBezTo>
                  <a:cubicBezTo>
                    <a:pt x="96" y="13"/>
                    <a:pt x="96" y="13"/>
                    <a:pt x="96" y="13"/>
                  </a:cubicBezTo>
                  <a:cubicBezTo>
                    <a:pt x="88" y="4"/>
                    <a:pt x="88" y="4"/>
                    <a:pt x="88" y="4"/>
                  </a:cubicBezTo>
                  <a:cubicBezTo>
                    <a:pt x="88" y="4"/>
                    <a:pt x="78" y="18"/>
                    <a:pt x="77" y="24"/>
                  </a:cubicBezTo>
                  <a:cubicBezTo>
                    <a:pt x="76" y="29"/>
                    <a:pt x="70" y="35"/>
                    <a:pt x="69" y="37"/>
                  </a:cubicBezTo>
                  <a:cubicBezTo>
                    <a:pt x="69" y="39"/>
                    <a:pt x="55" y="34"/>
                    <a:pt x="55" y="34"/>
                  </a:cubicBezTo>
                  <a:cubicBezTo>
                    <a:pt x="51" y="44"/>
                    <a:pt x="51" y="44"/>
                    <a:pt x="51" y="44"/>
                  </a:cubicBezTo>
                  <a:cubicBezTo>
                    <a:pt x="37" y="36"/>
                    <a:pt x="37" y="36"/>
                    <a:pt x="37" y="36"/>
                  </a:cubicBezTo>
                  <a:cubicBezTo>
                    <a:pt x="28" y="35"/>
                    <a:pt x="28" y="35"/>
                    <a:pt x="28" y="35"/>
                  </a:cubicBezTo>
                  <a:cubicBezTo>
                    <a:pt x="28" y="36"/>
                    <a:pt x="29" y="38"/>
                    <a:pt x="30" y="41"/>
                  </a:cubicBezTo>
                  <a:cubicBezTo>
                    <a:pt x="35" y="55"/>
                    <a:pt x="47" y="65"/>
                    <a:pt x="47" y="65"/>
                  </a:cubicBezTo>
                  <a:cubicBezTo>
                    <a:pt x="47" y="65"/>
                    <a:pt x="39" y="67"/>
                    <a:pt x="39" y="68"/>
                  </a:cubicBezTo>
                  <a:cubicBezTo>
                    <a:pt x="39" y="68"/>
                    <a:pt x="27" y="94"/>
                    <a:pt x="27" y="101"/>
                  </a:cubicBezTo>
                  <a:cubicBezTo>
                    <a:pt x="27" y="107"/>
                    <a:pt x="36" y="110"/>
                    <a:pt x="36" y="110"/>
                  </a:cubicBezTo>
                  <a:cubicBezTo>
                    <a:pt x="36" y="110"/>
                    <a:pt x="27" y="113"/>
                    <a:pt x="25" y="116"/>
                  </a:cubicBezTo>
                  <a:cubicBezTo>
                    <a:pt x="22" y="119"/>
                    <a:pt x="5" y="155"/>
                    <a:pt x="5" y="155"/>
                  </a:cubicBezTo>
                  <a:cubicBezTo>
                    <a:pt x="23" y="167"/>
                    <a:pt x="23" y="167"/>
                    <a:pt x="23" y="167"/>
                  </a:cubicBezTo>
                  <a:cubicBezTo>
                    <a:pt x="9" y="174"/>
                    <a:pt x="9" y="174"/>
                    <a:pt x="9" y="174"/>
                  </a:cubicBezTo>
                  <a:cubicBezTo>
                    <a:pt x="0" y="181"/>
                    <a:pt x="0" y="181"/>
                    <a:pt x="0" y="181"/>
                  </a:cubicBezTo>
                  <a:cubicBezTo>
                    <a:pt x="0" y="181"/>
                    <a:pt x="9" y="193"/>
                    <a:pt x="10" y="194"/>
                  </a:cubicBezTo>
                  <a:cubicBezTo>
                    <a:pt x="10" y="195"/>
                    <a:pt x="12" y="206"/>
                    <a:pt x="12" y="208"/>
                  </a:cubicBezTo>
                  <a:cubicBezTo>
                    <a:pt x="12" y="210"/>
                    <a:pt x="17" y="212"/>
                    <a:pt x="23" y="221"/>
                  </a:cubicBezTo>
                  <a:cubicBezTo>
                    <a:pt x="29" y="230"/>
                    <a:pt x="24" y="251"/>
                    <a:pt x="24" y="251"/>
                  </a:cubicBezTo>
                  <a:cubicBezTo>
                    <a:pt x="24" y="251"/>
                    <a:pt x="19" y="262"/>
                    <a:pt x="17" y="264"/>
                  </a:cubicBezTo>
                  <a:cubicBezTo>
                    <a:pt x="16" y="266"/>
                    <a:pt x="19" y="275"/>
                    <a:pt x="17" y="284"/>
                  </a:cubicBezTo>
                  <a:cubicBezTo>
                    <a:pt x="16" y="293"/>
                    <a:pt x="16" y="297"/>
                    <a:pt x="21" y="300"/>
                  </a:cubicBezTo>
                  <a:cubicBezTo>
                    <a:pt x="26" y="304"/>
                    <a:pt x="30" y="298"/>
                    <a:pt x="30" y="298"/>
                  </a:cubicBezTo>
                  <a:cubicBezTo>
                    <a:pt x="48" y="304"/>
                    <a:pt x="48" y="304"/>
                    <a:pt x="48" y="304"/>
                  </a:cubicBezTo>
                  <a:cubicBezTo>
                    <a:pt x="93" y="311"/>
                    <a:pt x="93" y="311"/>
                    <a:pt x="93" y="311"/>
                  </a:cubicBezTo>
                  <a:cubicBezTo>
                    <a:pt x="105" y="295"/>
                    <a:pt x="105" y="295"/>
                    <a:pt x="105" y="295"/>
                  </a:cubicBezTo>
                  <a:cubicBezTo>
                    <a:pt x="123" y="310"/>
                    <a:pt x="123" y="310"/>
                    <a:pt x="123" y="310"/>
                  </a:cubicBezTo>
                  <a:cubicBezTo>
                    <a:pt x="123" y="310"/>
                    <a:pt x="130" y="310"/>
                    <a:pt x="143" y="310"/>
                  </a:cubicBezTo>
                  <a:cubicBezTo>
                    <a:pt x="155" y="311"/>
                    <a:pt x="154" y="329"/>
                    <a:pt x="154" y="329"/>
                  </a:cubicBezTo>
                  <a:cubicBezTo>
                    <a:pt x="154" y="329"/>
                    <a:pt x="157" y="357"/>
                    <a:pt x="158" y="358"/>
                  </a:cubicBezTo>
                  <a:cubicBezTo>
                    <a:pt x="158" y="360"/>
                    <a:pt x="162" y="366"/>
                    <a:pt x="162" y="366"/>
                  </a:cubicBezTo>
                  <a:cubicBezTo>
                    <a:pt x="162" y="366"/>
                    <a:pt x="160" y="374"/>
                    <a:pt x="160" y="381"/>
                  </a:cubicBezTo>
                  <a:cubicBezTo>
                    <a:pt x="160" y="388"/>
                    <a:pt x="165" y="392"/>
                    <a:pt x="165" y="392"/>
                  </a:cubicBezTo>
                  <a:cubicBezTo>
                    <a:pt x="165" y="392"/>
                    <a:pt x="165" y="402"/>
                    <a:pt x="167" y="410"/>
                  </a:cubicBezTo>
                  <a:cubicBezTo>
                    <a:pt x="169" y="418"/>
                    <a:pt x="195" y="412"/>
                    <a:pt x="196" y="412"/>
                  </a:cubicBezTo>
                  <a:cubicBezTo>
                    <a:pt x="196" y="412"/>
                    <a:pt x="203" y="406"/>
                    <a:pt x="216" y="402"/>
                  </a:cubicBezTo>
                  <a:cubicBezTo>
                    <a:pt x="230" y="398"/>
                    <a:pt x="235" y="415"/>
                    <a:pt x="235" y="415"/>
                  </a:cubicBezTo>
                  <a:cubicBezTo>
                    <a:pt x="236" y="418"/>
                    <a:pt x="236" y="418"/>
                    <a:pt x="236" y="418"/>
                  </a:cubicBezTo>
                  <a:cubicBezTo>
                    <a:pt x="240" y="415"/>
                    <a:pt x="245" y="412"/>
                    <a:pt x="245" y="412"/>
                  </a:cubicBezTo>
                  <a:cubicBezTo>
                    <a:pt x="254" y="379"/>
                    <a:pt x="254" y="379"/>
                    <a:pt x="254" y="379"/>
                  </a:cubicBezTo>
                  <a:cubicBezTo>
                    <a:pt x="254" y="379"/>
                    <a:pt x="270" y="373"/>
                    <a:pt x="272" y="369"/>
                  </a:cubicBezTo>
                  <a:cubicBezTo>
                    <a:pt x="273" y="366"/>
                    <a:pt x="276" y="347"/>
                    <a:pt x="276" y="347"/>
                  </a:cubicBezTo>
                  <a:cubicBezTo>
                    <a:pt x="303" y="336"/>
                    <a:pt x="303" y="336"/>
                    <a:pt x="303" y="336"/>
                  </a:cubicBezTo>
                  <a:cubicBezTo>
                    <a:pt x="310" y="326"/>
                    <a:pt x="310" y="326"/>
                    <a:pt x="310" y="326"/>
                  </a:cubicBezTo>
                  <a:cubicBezTo>
                    <a:pt x="310" y="326"/>
                    <a:pt x="357" y="300"/>
                    <a:pt x="357" y="295"/>
                  </a:cubicBezTo>
                  <a:cubicBezTo>
                    <a:pt x="357" y="290"/>
                    <a:pt x="356" y="285"/>
                    <a:pt x="357" y="283"/>
                  </a:cubicBezTo>
                  <a:cubicBezTo>
                    <a:pt x="358" y="282"/>
                    <a:pt x="373" y="270"/>
                    <a:pt x="373" y="270"/>
                  </a:cubicBezTo>
                  <a:cubicBezTo>
                    <a:pt x="368" y="261"/>
                    <a:pt x="368" y="261"/>
                    <a:pt x="368" y="261"/>
                  </a:cubicBezTo>
                  <a:cubicBezTo>
                    <a:pt x="378" y="259"/>
                    <a:pt x="378" y="259"/>
                    <a:pt x="378" y="259"/>
                  </a:cubicBezTo>
                  <a:cubicBezTo>
                    <a:pt x="378" y="259"/>
                    <a:pt x="383" y="239"/>
                    <a:pt x="384" y="238"/>
                  </a:cubicBezTo>
                  <a:cubicBezTo>
                    <a:pt x="385" y="237"/>
                    <a:pt x="403" y="223"/>
                    <a:pt x="403" y="223"/>
                  </a:cubicBezTo>
                  <a:cubicBezTo>
                    <a:pt x="396" y="212"/>
                    <a:pt x="396" y="212"/>
                    <a:pt x="396" y="212"/>
                  </a:cubicBezTo>
                  <a:cubicBezTo>
                    <a:pt x="418" y="190"/>
                    <a:pt x="418" y="190"/>
                    <a:pt x="418" y="190"/>
                  </a:cubicBezTo>
                  <a:cubicBezTo>
                    <a:pt x="433" y="189"/>
                    <a:pt x="433" y="189"/>
                    <a:pt x="433" y="189"/>
                  </a:cubicBezTo>
                  <a:cubicBezTo>
                    <a:pt x="435" y="151"/>
                    <a:pt x="435" y="151"/>
                    <a:pt x="435" y="151"/>
                  </a:cubicBezTo>
                  <a:cubicBezTo>
                    <a:pt x="435" y="151"/>
                    <a:pt x="443" y="147"/>
                    <a:pt x="443" y="146"/>
                  </a:cubicBezTo>
                  <a:cubicBezTo>
                    <a:pt x="443" y="145"/>
                    <a:pt x="443" y="143"/>
                    <a:pt x="444" y="140"/>
                  </a:cubicBezTo>
                  <a:cubicBezTo>
                    <a:pt x="432" y="127"/>
                    <a:pt x="432" y="127"/>
                    <a:pt x="432" y="127"/>
                  </a:cubicBezTo>
                  <a:cubicBezTo>
                    <a:pt x="432" y="127"/>
                    <a:pt x="414" y="122"/>
                    <a:pt x="399" y="120"/>
                  </a:cubicBez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63" name="Freeform 327">
              <a:extLst>
                <a:ext uri="{FF2B5EF4-FFF2-40B4-BE49-F238E27FC236}">
                  <a16:creationId xmlns:a16="http://schemas.microsoft.com/office/drawing/2014/main" id="{D3EC7914-A857-4330-A90B-878D4265EF01}"/>
                </a:ext>
              </a:extLst>
            </p:cNvPr>
            <p:cNvSpPr>
              <a:spLocks noChangeAspect="1" noEditPoints="1"/>
            </p:cNvSpPr>
            <p:nvPr/>
          </p:nvSpPr>
          <p:spPr bwMode="auto">
            <a:xfrm>
              <a:off x="12607" y="2332"/>
              <a:ext cx="893" cy="860"/>
            </a:xfrm>
            <a:custGeom>
              <a:avLst/>
              <a:gdLst/>
              <a:ahLst/>
              <a:cxnLst>
                <a:cxn ang="0">
                  <a:pos x="426" y="83"/>
                </a:cxn>
                <a:cxn ang="0">
                  <a:pos x="419" y="42"/>
                </a:cxn>
                <a:cxn ang="0">
                  <a:pos x="417" y="31"/>
                </a:cxn>
                <a:cxn ang="0">
                  <a:pos x="375" y="48"/>
                </a:cxn>
                <a:cxn ang="0">
                  <a:pos x="356" y="52"/>
                </a:cxn>
                <a:cxn ang="0">
                  <a:pos x="344" y="60"/>
                </a:cxn>
                <a:cxn ang="0">
                  <a:pos x="323" y="55"/>
                </a:cxn>
                <a:cxn ang="0">
                  <a:pos x="303" y="49"/>
                </a:cxn>
                <a:cxn ang="0">
                  <a:pos x="291" y="51"/>
                </a:cxn>
                <a:cxn ang="0">
                  <a:pos x="284" y="44"/>
                </a:cxn>
                <a:cxn ang="0">
                  <a:pos x="259" y="35"/>
                </a:cxn>
                <a:cxn ang="0">
                  <a:pos x="236" y="55"/>
                </a:cxn>
                <a:cxn ang="0">
                  <a:pos x="178" y="31"/>
                </a:cxn>
                <a:cxn ang="0">
                  <a:pos x="165" y="23"/>
                </a:cxn>
                <a:cxn ang="0">
                  <a:pos x="146" y="80"/>
                </a:cxn>
                <a:cxn ang="0">
                  <a:pos x="138" y="109"/>
                </a:cxn>
                <a:cxn ang="0">
                  <a:pos x="116" y="156"/>
                </a:cxn>
                <a:cxn ang="0">
                  <a:pos x="87" y="202"/>
                </a:cxn>
                <a:cxn ang="0">
                  <a:pos x="37" y="235"/>
                </a:cxn>
                <a:cxn ang="0">
                  <a:pos x="13" y="271"/>
                </a:cxn>
                <a:cxn ang="0">
                  <a:pos x="0" y="293"/>
                </a:cxn>
                <a:cxn ang="0">
                  <a:pos x="11" y="339"/>
                </a:cxn>
                <a:cxn ang="0">
                  <a:pos x="13" y="363"/>
                </a:cxn>
                <a:cxn ang="0">
                  <a:pos x="32" y="359"/>
                </a:cxn>
                <a:cxn ang="0">
                  <a:pos x="21" y="370"/>
                </a:cxn>
                <a:cxn ang="0">
                  <a:pos x="40" y="375"/>
                </a:cxn>
                <a:cxn ang="0">
                  <a:pos x="67" y="387"/>
                </a:cxn>
                <a:cxn ang="0">
                  <a:pos x="87" y="398"/>
                </a:cxn>
                <a:cxn ang="0">
                  <a:pos x="133" y="416"/>
                </a:cxn>
                <a:cxn ang="0">
                  <a:pos x="152" y="410"/>
                </a:cxn>
                <a:cxn ang="0">
                  <a:pos x="179" y="381"/>
                </a:cxn>
                <a:cxn ang="0">
                  <a:pos x="226" y="367"/>
                </a:cxn>
                <a:cxn ang="0">
                  <a:pos x="254" y="359"/>
                </a:cxn>
                <a:cxn ang="0">
                  <a:pos x="281" y="356"/>
                </a:cxn>
                <a:cxn ang="0">
                  <a:pos x="301" y="356"/>
                </a:cxn>
                <a:cxn ang="0">
                  <a:pos x="362" y="340"/>
                </a:cxn>
                <a:cxn ang="0">
                  <a:pos x="363" y="315"/>
                </a:cxn>
                <a:cxn ang="0">
                  <a:pos x="368" y="279"/>
                </a:cxn>
                <a:cxn ang="0">
                  <a:pos x="353" y="243"/>
                </a:cxn>
                <a:cxn ang="0">
                  <a:pos x="360" y="220"/>
                </a:cxn>
                <a:cxn ang="0">
                  <a:pos x="393" y="212"/>
                </a:cxn>
                <a:cxn ang="0">
                  <a:pos x="389" y="182"/>
                </a:cxn>
                <a:cxn ang="0">
                  <a:pos x="407" y="164"/>
                </a:cxn>
                <a:cxn ang="0">
                  <a:pos x="424" y="153"/>
                </a:cxn>
                <a:cxn ang="0">
                  <a:pos x="437" y="127"/>
                </a:cxn>
                <a:cxn ang="0">
                  <a:pos x="421" y="96"/>
                </a:cxn>
                <a:cxn ang="0">
                  <a:pos x="355" y="215"/>
                </a:cxn>
                <a:cxn ang="0">
                  <a:pos x="306" y="219"/>
                </a:cxn>
                <a:cxn ang="0">
                  <a:pos x="306" y="205"/>
                </a:cxn>
                <a:cxn ang="0">
                  <a:pos x="309" y="190"/>
                </a:cxn>
                <a:cxn ang="0">
                  <a:pos x="358" y="197"/>
                </a:cxn>
              </a:cxnLst>
              <a:rect l="0" t="0" r="r" b="b"/>
              <a:pathLst>
                <a:path w="446" h="429">
                  <a:moveTo>
                    <a:pt x="421" y="96"/>
                  </a:moveTo>
                  <a:cubicBezTo>
                    <a:pt x="421" y="96"/>
                    <a:pt x="423" y="93"/>
                    <a:pt x="426" y="83"/>
                  </a:cubicBezTo>
                  <a:cubicBezTo>
                    <a:pt x="429" y="73"/>
                    <a:pt x="437" y="57"/>
                    <a:pt x="437" y="57"/>
                  </a:cubicBezTo>
                  <a:cubicBezTo>
                    <a:pt x="419" y="42"/>
                    <a:pt x="419" y="42"/>
                    <a:pt x="419" y="42"/>
                  </a:cubicBezTo>
                  <a:cubicBezTo>
                    <a:pt x="431" y="34"/>
                    <a:pt x="431" y="34"/>
                    <a:pt x="431" y="34"/>
                  </a:cubicBezTo>
                  <a:cubicBezTo>
                    <a:pt x="431" y="34"/>
                    <a:pt x="421" y="32"/>
                    <a:pt x="417" y="31"/>
                  </a:cubicBezTo>
                  <a:cubicBezTo>
                    <a:pt x="388" y="36"/>
                    <a:pt x="388" y="36"/>
                    <a:pt x="388" y="36"/>
                  </a:cubicBezTo>
                  <a:cubicBezTo>
                    <a:pt x="375" y="48"/>
                    <a:pt x="375" y="48"/>
                    <a:pt x="375" y="48"/>
                  </a:cubicBezTo>
                  <a:cubicBezTo>
                    <a:pt x="363" y="46"/>
                    <a:pt x="363" y="46"/>
                    <a:pt x="363" y="46"/>
                  </a:cubicBezTo>
                  <a:cubicBezTo>
                    <a:pt x="356" y="52"/>
                    <a:pt x="356" y="52"/>
                    <a:pt x="356" y="52"/>
                  </a:cubicBezTo>
                  <a:cubicBezTo>
                    <a:pt x="340" y="43"/>
                    <a:pt x="340" y="43"/>
                    <a:pt x="340" y="43"/>
                  </a:cubicBezTo>
                  <a:cubicBezTo>
                    <a:pt x="344" y="60"/>
                    <a:pt x="344" y="60"/>
                    <a:pt x="344" y="60"/>
                  </a:cubicBezTo>
                  <a:cubicBezTo>
                    <a:pt x="338" y="67"/>
                    <a:pt x="338" y="67"/>
                    <a:pt x="338" y="67"/>
                  </a:cubicBezTo>
                  <a:cubicBezTo>
                    <a:pt x="323" y="55"/>
                    <a:pt x="323" y="55"/>
                    <a:pt x="323" y="55"/>
                  </a:cubicBezTo>
                  <a:cubicBezTo>
                    <a:pt x="311" y="56"/>
                    <a:pt x="311" y="56"/>
                    <a:pt x="311" y="56"/>
                  </a:cubicBezTo>
                  <a:cubicBezTo>
                    <a:pt x="303" y="49"/>
                    <a:pt x="303" y="49"/>
                    <a:pt x="303" y="49"/>
                  </a:cubicBezTo>
                  <a:cubicBezTo>
                    <a:pt x="292" y="58"/>
                    <a:pt x="292" y="58"/>
                    <a:pt x="292" y="58"/>
                  </a:cubicBezTo>
                  <a:cubicBezTo>
                    <a:pt x="291" y="51"/>
                    <a:pt x="291" y="51"/>
                    <a:pt x="291" y="51"/>
                  </a:cubicBezTo>
                  <a:cubicBezTo>
                    <a:pt x="280" y="54"/>
                    <a:pt x="280" y="54"/>
                    <a:pt x="280" y="54"/>
                  </a:cubicBezTo>
                  <a:cubicBezTo>
                    <a:pt x="284" y="44"/>
                    <a:pt x="284" y="44"/>
                    <a:pt x="284" y="44"/>
                  </a:cubicBezTo>
                  <a:cubicBezTo>
                    <a:pt x="269" y="28"/>
                    <a:pt x="269" y="28"/>
                    <a:pt x="269" y="28"/>
                  </a:cubicBezTo>
                  <a:cubicBezTo>
                    <a:pt x="259" y="35"/>
                    <a:pt x="259" y="35"/>
                    <a:pt x="259" y="35"/>
                  </a:cubicBezTo>
                  <a:cubicBezTo>
                    <a:pt x="251" y="24"/>
                    <a:pt x="251" y="24"/>
                    <a:pt x="251" y="24"/>
                  </a:cubicBezTo>
                  <a:cubicBezTo>
                    <a:pt x="236" y="55"/>
                    <a:pt x="236" y="55"/>
                    <a:pt x="236" y="55"/>
                  </a:cubicBezTo>
                  <a:cubicBezTo>
                    <a:pt x="203" y="36"/>
                    <a:pt x="203" y="36"/>
                    <a:pt x="203" y="36"/>
                  </a:cubicBezTo>
                  <a:cubicBezTo>
                    <a:pt x="178" y="31"/>
                    <a:pt x="178" y="31"/>
                    <a:pt x="178" y="31"/>
                  </a:cubicBezTo>
                  <a:cubicBezTo>
                    <a:pt x="190" y="0"/>
                    <a:pt x="190" y="0"/>
                    <a:pt x="190" y="0"/>
                  </a:cubicBezTo>
                  <a:cubicBezTo>
                    <a:pt x="165" y="23"/>
                    <a:pt x="165" y="23"/>
                    <a:pt x="165" y="23"/>
                  </a:cubicBezTo>
                  <a:cubicBezTo>
                    <a:pt x="163" y="34"/>
                    <a:pt x="162" y="47"/>
                    <a:pt x="161" y="56"/>
                  </a:cubicBezTo>
                  <a:cubicBezTo>
                    <a:pt x="160" y="74"/>
                    <a:pt x="146" y="80"/>
                    <a:pt x="146" y="80"/>
                  </a:cubicBezTo>
                  <a:cubicBezTo>
                    <a:pt x="146" y="80"/>
                    <a:pt x="145" y="102"/>
                    <a:pt x="145" y="104"/>
                  </a:cubicBezTo>
                  <a:cubicBezTo>
                    <a:pt x="145" y="105"/>
                    <a:pt x="138" y="107"/>
                    <a:pt x="138" y="109"/>
                  </a:cubicBezTo>
                  <a:cubicBezTo>
                    <a:pt x="138" y="111"/>
                    <a:pt x="137" y="150"/>
                    <a:pt x="130" y="157"/>
                  </a:cubicBezTo>
                  <a:cubicBezTo>
                    <a:pt x="123" y="164"/>
                    <a:pt x="116" y="158"/>
                    <a:pt x="116" y="156"/>
                  </a:cubicBezTo>
                  <a:cubicBezTo>
                    <a:pt x="116" y="155"/>
                    <a:pt x="96" y="175"/>
                    <a:pt x="94" y="178"/>
                  </a:cubicBezTo>
                  <a:cubicBezTo>
                    <a:pt x="92" y="180"/>
                    <a:pt x="93" y="195"/>
                    <a:pt x="87" y="202"/>
                  </a:cubicBezTo>
                  <a:cubicBezTo>
                    <a:pt x="82" y="209"/>
                    <a:pt x="64" y="211"/>
                    <a:pt x="62" y="211"/>
                  </a:cubicBezTo>
                  <a:cubicBezTo>
                    <a:pt x="60" y="211"/>
                    <a:pt x="37" y="235"/>
                    <a:pt x="37" y="235"/>
                  </a:cubicBezTo>
                  <a:cubicBezTo>
                    <a:pt x="45" y="247"/>
                    <a:pt x="45" y="247"/>
                    <a:pt x="45" y="247"/>
                  </a:cubicBezTo>
                  <a:cubicBezTo>
                    <a:pt x="13" y="271"/>
                    <a:pt x="13" y="271"/>
                    <a:pt x="13" y="271"/>
                  </a:cubicBezTo>
                  <a:cubicBezTo>
                    <a:pt x="12" y="283"/>
                    <a:pt x="12" y="283"/>
                    <a:pt x="12" y="283"/>
                  </a:cubicBezTo>
                  <a:cubicBezTo>
                    <a:pt x="0" y="293"/>
                    <a:pt x="0" y="293"/>
                    <a:pt x="0" y="293"/>
                  </a:cubicBezTo>
                  <a:cubicBezTo>
                    <a:pt x="0" y="293"/>
                    <a:pt x="0" y="321"/>
                    <a:pt x="5" y="323"/>
                  </a:cubicBezTo>
                  <a:cubicBezTo>
                    <a:pt x="11" y="326"/>
                    <a:pt x="11" y="339"/>
                    <a:pt x="11" y="339"/>
                  </a:cubicBezTo>
                  <a:cubicBezTo>
                    <a:pt x="9" y="346"/>
                    <a:pt x="9" y="346"/>
                    <a:pt x="9" y="346"/>
                  </a:cubicBezTo>
                  <a:cubicBezTo>
                    <a:pt x="9" y="346"/>
                    <a:pt x="11" y="363"/>
                    <a:pt x="13" y="363"/>
                  </a:cubicBezTo>
                  <a:cubicBezTo>
                    <a:pt x="16" y="363"/>
                    <a:pt x="17" y="358"/>
                    <a:pt x="17" y="358"/>
                  </a:cubicBezTo>
                  <a:cubicBezTo>
                    <a:pt x="32" y="359"/>
                    <a:pt x="32" y="359"/>
                    <a:pt x="32" y="359"/>
                  </a:cubicBezTo>
                  <a:cubicBezTo>
                    <a:pt x="31" y="364"/>
                    <a:pt x="31" y="364"/>
                    <a:pt x="31" y="364"/>
                  </a:cubicBezTo>
                  <a:cubicBezTo>
                    <a:pt x="31" y="364"/>
                    <a:pt x="16" y="362"/>
                    <a:pt x="21" y="370"/>
                  </a:cubicBezTo>
                  <a:cubicBezTo>
                    <a:pt x="26" y="378"/>
                    <a:pt x="31" y="383"/>
                    <a:pt x="32" y="383"/>
                  </a:cubicBezTo>
                  <a:cubicBezTo>
                    <a:pt x="34" y="383"/>
                    <a:pt x="40" y="375"/>
                    <a:pt x="40" y="375"/>
                  </a:cubicBezTo>
                  <a:cubicBezTo>
                    <a:pt x="54" y="387"/>
                    <a:pt x="54" y="387"/>
                    <a:pt x="54" y="387"/>
                  </a:cubicBezTo>
                  <a:cubicBezTo>
                    <a:pt x="67" y="387"/>
                    <a:pt x="67" y="387"/>
                    <a:pt x="67" y="387"/>
                  </a:cubicBezTo>
                  <a:cubicBezTo>
                    <a:pt x="67" y="387"/>
                    <a:pt x="69" y="398"/>
                    <a:pt x="72" y="398"/>
                  </a:cubicBezTo>
                  <a:cubicBezTo>
                    <a:pt x="76" y="398"/>
                    <a:pt x="87" y="398"/>
                    <a:pt x="87" y="398"/>
                  </a:cubicBezTo>
                  <a:cubicBezTo>
                    <a:pt x="87" y="398"/>
                    <a:pt x="86" y="407"/>
                    <a:pt x="100" y="409"/>
                  </a:cubicBezTo>
                  <a:cubicBezTo>
                    <a:pt x="115" y="411"/>
                    <a:pt x="133" y="416"/>
                    <a:pt x="133" y="416"/>
                  </a:cubicBezTo>
                  <a:cubicBezTo>
                    <a:pt x="145" y="429"/>
                    <a:pt x="145" y="429"/>
                    <a:pt x="145" y="429"/>
                  </a:cubicBezTo>
                  <a:cubicBezTo>
                    <a:pt x="147" y="422"/>
                    <a:pt x="150" y="410"/>
                    <a:pt x="152" y="410"/>
                  </a:cubicBezTo>
                  <a:cubicBezTo>
                    <a:pt x="155" y="410"/>
                    <a:pt x="165" y="410"/>
                    <a:pt x="165" y="410"/>
                  </a:cubicBezTo>
                  <a:cubicBezTo>
                    <a:pt x="165" y="410"/>
                    <a:pt x="154" y="385"/>
                    <a:pt x="179" y="381"/>
                  </a:cubicBezTo>
                  <a:cubicBezTo>
                    <a:pt x="203" y="378"/>
                    <a:pt x="209" y="378"/>
                    <a:pt x="211" y="377"/>
                  </a:cubicBezTo>
                  <a:cubicBezTo>
                    <a:pt x="213" y="375"/>
                    <a:pt x="226" y="367"/>
                    <a:pt x="226" y="367"/>
                  </a:cubicBezTo>
                  <a:cubicBezTo>
                    <a:pt x="233" y="378"/>
                    <a:pt x="233" y="378"/>
                    <a:pt x="233" y="378"/>
                  </a:cubicBezTo>
                  <a:cubicBezTo>
                    <a:pt x="254" y="359"/>
                    <a:pt x="254" y="359"/>
                    <a:pt x="254" y="359"/>
                  </a:cubicBezTo>
                  <a:cubicBezTo>
                    <a:pt x="273" y="362"/>
                    <a:pt x="273" y="362"/>
                    <a:pt x="273" y="362"/>
                  </a:cubicBezTo>
                  <a:cubicBezTo>
                    <a:pt x="281" y="356"/>
                    <a:pt x="281" y="356"/>
                    <a:pt x="281" y="356"/>
                  </a:cubicBezTo>
                  <a:cubicBezTo>
                    <a:pt x="289" y="362"/>
                    <a:pt x="289" y="362"/>
                    <a:pt x="289" y="362"/>
                  </a:cubicBezTo>
                  <a:cubicBezTo>
                    <a:pt x="301" y="356"/>
                    <a:pt x="301" y="356"/>
                    <a:pt x="301" y="356"/>
                  </a:cubicBezTo>
                  <a:cubicBezTo>
                    <a:pt x="301" y="356"/>
                    <a:pt x="323" y="369"/>
                    <a:pt x="323" y="368"/>
                  </a:cubicBezTo>
                  <a:cubicBezTo>
                    <a:pt x="324" y="367"/>
                    <a:pt x="362" y="340"/>
                    <a:pt x="362" y="340"/>
                  </a:cubicBezTo>
                  <a:cubicBezTo>
                    <a:pt x="352" y="330"/>
                    <a:pt x="352" y="330"/>
                    <a:pt x="352" y="330"/>
                  </a:cubicBezTo>
                  <a:cubicBezTo>
                    <a:pt x="352" y="330"/>
                    <a:pt x="371" y="320"/>
                    <a:pt x="363" y="315"/>
                  </a:cubicBezTo>
                  <a:cubicBezTo>
                    <a:pt x="355" y="310"/>
                    <a:pt x="346" y="307"/>
                    <a:pt x="347" y="305"/>
                  </a:cubicBezTo>
                  <a:cubicBezTo>
                    <a:pt x="348" y="303"/>
                    <a:pt x="366" y="283"/>
                    <a:pt x="368" y="279"/>
                  </a:cubicBezTo>
                  <a:cubicBezTo>
                    <a:pt x="370" y="274"/>
                    <a:pt x="367" y="263"/>
                    <a:pt x="366" y="262"/>
                  </a:cubicBezTo>
                  <a:cubicBezTo>
                    <a:pt x="364" y="261"/>
                    <a:pt x="349" y="249"/>
                    <a:pt x="353" y="243"/>
                  </a:cubicBezTo>
                  <a:cubicBezTo>
                    <a:pt x="356" y="238"/>
                    <a:pt x="362" y="235"/>
                    <a:pt x="362" y="234"/>
                  </a:cubicBezTo>
                  <a:cubicBezTo>
                    <a:pt x="362" y="234"/>
                    <a:pt x="360" y="220"/>
                    <a:pt x="360" y="220"/>
                  </a:cubicBezTo>
                  <a:cubicBezTo>
                    <a:pt x="372" y="213"/>
                    <a:pt x="372" y="213"/>
                    <a:pt x="372" y="213"/>
                  </a:cubicBezTo>
                  <a:cubicBezTo>
                    <a:pt x="393" y="212"/>
                    <a:pt x="393" y="212"/>
                    <a:pt x="393" y="212"/>
                  </a:cubicBezTo>
                  <a:cubicBezTo>
                    <a:pt x="379" y="188"/>
                    <a:pt x="379" y="188"/>
                    <a:pt x="379" y="188"/>
                  </a:cubicBezTo>
                  <a:cubicBezTo>
                    <a:pt x="389" y="182"/>
                    <a:pt x="389" y="182"/>
                    <a:pt x="389" y="182"/>
                  </a:cubicBezTo>
                  <a:cubicBezTo>
                    <a:pt x="389" y="182"/>
                    <a:pt x="380" y="161"/>
                    <a:pt x="384" y="158"/>
                  </a:cubicBezTo>
                  <a:cubicBezTo>
                    <a:pt x="387" y="156"/>
                    <a:pt x="407" y="166"/>
                    <a:pt x="407" y="164"/>
                  </a:cubicBezTo>
                  <a:cubicBezTo>
                    <a:pt x="407" y="163"/>
                    <a:pt x="396" y="136"/>
                    <a:pt x="409" y="142"/>
                  </a:cubicBezTo>
                  <a:cubicBezTo>
                    <a:pt x="422" y="148"/>
                    <a:pt x="424" y="153"/>
                    <a:pt x="424" y="153"/>
                  </a:cubicBezTo>
                  <a:cubicBezTo>
                    <a:pt x="436" y="150"/>
                    <a:pt x="436" y="150"/>
                    <a:pt x="436" y="150"/>
                  </a:cubicBezTo>
                  <a:cubicBezTo>
                    <a:pt x="437" y="127"/>
                    <a:pt x="437" y="127"/>
                    <a:pt x="437" y="127"/>
                  </a:cubicBezTo>
                  <a:cubicBezTo>
                    <a:pt x="446" y="121"/>
                    <a:pt x="446" y="121"/>
                    <a:pt x="446" y="121"/>
                  </a:cubicBezTo>
                  <a:lnTo>
                    <a:pt x="421" y="96"/>
                  </a:lnTo>
                  <a:close/>
                  <a:moveTo>
                    <a:pt x="356" y="206"/>
                  </a:moveTo>
                  <a:cubicBezTo>
                    <a:pt x="355" y="215"/>
                    <a:pt x="355" y="215"/>
                    <a:pt x="355" y="215"/>
                  </a:cubicBezTo>
                  <a:cubicBezTo>
                    <a:pt x="351" y="220"/>
                    <a:pt x="351" y="220"/>
                    <a:pt x="351" y="220"/>
                  </a:cubicBezTo>
                  <a:cubicBezTo>
                    <a:pt x="306" y="219"/>
                    <a:pt x="306" y="219"/>
                    <a:pt x="306" y="219"/>
                  </a:cubicBezTo>
                  <a:cubicBezTo>
                    <a:pt x="306" y="219"/>
                    <a:pt x="301" y="215"/>
                    <a:pt x="301" y="211"/>
                  </a:cubicBezTo>
                  <a:cubicBezTo>
                    <a:pt x="301" y="206"/>
                    <a:pt x="306" y="205"/>
                    <a:pt x="306" y="205"/>
                  </a:cubicBezTo>
                  <a:cubicBezTo>
                    <a:pt x="305" y="194"/>
                    <a:pt x="305" y="194"/>
                    <a:pt x="305" y="194"/>
                  </a:cubicBezTo>
                  <a:cubicBezTo>
                    <a:pt x="309" y="190"/>
                    <a:pt x="309" y="190"/>
                    <a:pt x="309" y="190"/>
                  </a:cubicBezTo>
                  <a:cubicBezTo>
                    <a:pt x="352" y="189"/>
                    <a:pt x="352" y="189"/>
                    <a:pt x="352" y="189"/>
                  </a:cubicBezTo>
                  <a:cubicBezTo>
                    <a:pt x="358" y="197"/>
                    <a:pt x="358" y="197"/>
                    <a:pt x="358" y="197"/>
                  </a:cubicBezTo>
                  <a:lnTo>
                    <a:pt x="356" y="20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4" name="Freeform 328">
              <a:extLst>
                <a:ext uri="{FF2B5EF4-FFF2-40B4-BE49-F238E27FC236}">
                  <a16:creationId xmlns:a16="http://schemas.microsoft.com/office/drawing/2014/main" id="{9A83EAD8-2C6E-4CA8-ABEE-5F5A241C75A6}"/>
                </a:ext>
              </a:extLst>
            </p:cNvPr>
            <p:cNvSpPr>
              <a:spLocks noChangeAspect="1"/>
            </p:cNvSpPr>
            <p:nvPr/>
          </p:nvSpPr>
          <p:spPr bwMode="auto">
            <a:xfrm>
              <a:off x="13209" y="2711"/>
              <a:ext cx="114" cy="62"/>
            </a:xfrm>
            <a:custGeom>
              <a:avLst/>
              <a:gdLst>
                <a:gd name="T0" fmla="*/ 4096 w 57"/>
                <a:gd name="T1" fmla="*/ 512 h 31"/>
                <a:gd name="T2" fmla="*/ 2048 w 57"/>
                <a:gd name="T3" fmla="*/ 2560 h 31"/>
                <a:gd name="T4" fmla="*/ 2560 w 57"/>
                <a:gd name="T5" fmla="*/ 8192 h 31"/>
                <a:gd name="T6" fmla="*/ 0 w 57"/>
                <a:gd name="T7" fmla="*/ 11264 h 31"/>
                <a:gd name="T8" fmla="*/ 2560 w 57"/>
                <a:gd name="T9" fmla="*/ 15360 h 31"/>
                <a:gd name="T10" fmla="*/ 25600 w 57"/>
                <a:gd name="T11" fmla="*/ 15872 h 31"/>
                <a:gd name="T12" fmla="*/ 27648 w 57"/>
                <a:gd name="T13" fmla="*/ 13312 h 31"/>
                <a:gd name="T14" fmla="*/ 28160 w 57"/>
                <a:gd name="T15" fmla="*/ 8704 h 31"/>
                <a:gd name="T16" fmla="*/ 29184 w 57"/>
                <a:gd name="T17" fmla="*/ 4096 h 31"/>
                <a:gd name="T18" fmla="*/ 26112 w 57"/>
                <a:gd name="T19" fmla="*/ 0 h 31"/>
                <a:gd name="T20" fmla="*/ 4096 w 57"/>
                <a:gd name="T21" fmla="*/ 51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1"/>
                <a:gd name="T35" fmla="*/ 57 w 5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1">
                  <a:moveTo>
                    <a:pt x="8" y="1"/>
                  </a:moveTo>
                  <a:cubicBezTo>
                    <a:pt x="4" y="5"/>
                    <a:pt x="4" y="5"/>
                    <a:pt x="4" y="5"/>
                  </a:cubicBezTo>
                  <a:cubicBezTo>
                    <a:pt x="5" y="16"/>
                    <a:pt x="5" y="16"/>
                    <a:pt x="5" y="16"/>
                  </a:cubicBezTo>
                  <a:cubicBezTo>
                    <a:pt x="5" y="16"/>
                    <a:pt x="0" y="17"/>
                    <a:pt x="0" y="22"/>
                  </a:cubicBezTo>
                  <a:cubicBezTo>
                    <a:pt x="0" y="26"/>
                    <a:pt x="5" y="30"/>
                    <a:pt x="5" y="30"/>
                  </a:cubicBezTo>
                  <a:cubicBezTo>
                    <a:pt x="50" y="31"/>
                    <a:pt x="50" y="31"/>
                    <a:pt x="50" y="31"/>
                  </a:cubicBezTo>
                  <a:cubicBezTo>
                    <a:pt x="54" y="26"/>
                    <a:pt x="54" y="26"/>
                    <a:pt x="54" y="26"/>
                  </a:cubicBezTo>
                  <a:cubicBezTo>
                    <a:pt x="55" y="17"/>
                    <a:pt x="55" y="17"/>
                    <a:pt x="55" y="17"/>
                  </a:cubicBezTo>
                  <a:cubicBezTo>
                    <a:pt x="57" y="8"/>
                    <a:pt x="57" y="8"/>
                    <a:pt x="57" y="8"/>
                  </a:cubicBezTo>
                  <a:cubicBezTo>
                    <a:pt x="51" y="0"/>
                    <a:pt x="51" y="0"/>
                    <a:pt x="51" y="0"/>
                  </a:cubicBezTo>
                  <a:lnTo>
                    <a:pt x="8" y="1"/>
                  </a:lnTo>
                  <a:close/>
                </a:path>
              </a:pathLst>
            </a:custGeom>
            <a:grpFill/>
            <a:ln w="12700">
              <a:solidFill>
                <a:schemeClr val="bg1"/>
              </a:solidFill>
              <a:round/>
              <a:headEnd/>
              <a:tailEnd/>
            </a:ln>
          </p:spPr>
          <p:txBody>
            <a:bodyPr/>
            <a:lstStyle/>
            <a:p>
              <a:endParaRPr lang="en-US" sz="500" dirty="0">
                <a:solidFill>
                  <a:srgbClr val="000000"/>
                </a:solidFill>
              </a:endParaRPr>
            </a:p>
          </p:txBody>
        </p:sp>
        <p:sp>
          <p:nvSpPr>
            <p:cNvPr id="65" name="Freeform 330">
              <a:extLst>
                <a:ext uri="{FF2B5EF4-FFF2-40B4-BE49-F238E27FC236}">
                  <a16:creationId xmlns:a16="http://schemas.microsoft.com/office/drawing/2014/main" id="{D8D5D6E5-E4CE-4947-9412-3207FE9A5D17}"/>
                </a:ext>
              </a:extLst>
            </p:cNvPr>
            <p:cNvSpPr>
              <a:spLocks noChangeAspect="1"/>
            </p:cNvSpPr>
            <p:nvPr/>
          </p:nvSpPr>
          <p:spPr bwMode="auto">
            <a:xfrm>
              <a:off x="12436" y="3555"/>
              <a:ext cx="812" cy="490"/>
            </a:xfrm>
            <a:custGeom>
              <a:avLst/>
              <a:gdLst/>
              <a:ahLst/>
              <a:cxnLst>
                <a:cxn ang="0">
                  <a:pos x="77" y="226"/>
                </a:cxn>
                <a:cxn ang="0">
                  <a:pos x="89" y="231"/>
                </a:cxn>
                <a:cxn ang="0">
                  <a:pos x="97" y="237"/>
                </a:cxn>
                <a:cxn ang="0">
                  <a:pos x="103" y="231"/>
                </a:cxn>
                <a:cxn ang="0">
                  <a:pos x="123" y="233"/>
                </a:cxn>
                <a:cxn ang="0">
                  <a:pos x="128" y="236"/>
                </a:cxn>
                <a:cxn ang="0">
                  <a:pos x="158" y="243"/>
                </a:cxn>
                <a:cxn ang="0">
                  <a:pos x="173" y="237"/>
                </a:cxn>
                <a:cxn ang="0">
                  <a:pos x="195" y="243"/>
                </a:cxn>
                <a:cxn ang="0">
                  <a:pos x="204" y="238"/>
                </a:cxn>
                <a:cxn ang="0">
                  <a:pos x="213" y="227"/>
                </a:cxn>
                <a:cxn ang="0">
                  <a:pos x="236" y="225"/>
                </a:cxn>
                <a:cxn ang="0">
                  <a:pos x="248" y="212"/>
                </a:cxn>
                <a:cxn ang="0">
                  <a:pos x="262" y="220"/>
                </a:cxn>
                <a:cxn ang="0">
                  <a:pos x="289" y="214"/>
                </a:cxn>
                <a:cxn ang="0">
                  <a:pos x="302" y="225"/>
                </a:cxn>
                <a:cxn ang="0">
                  <a:pos x="314" y="224"/>
                </a:cxn>
                <a:cxn ang="0">
                  <a:pos x="329" y="212"/>
                </a:cxn>
                <a:cxn ang="0">
                  <a:pos x="363" y="212"/>
                </a:cxn>
                <a:cxn ang="0">
                  <a:pos x="362" y="212"/>
                </a:cxn>
                <a:cxn ang="0">
                  <a:pos x="371" y="201"/>
                </a:cxn>
                <a:cxn ang="0">
                  <a:pos x="404" y="167"/>
                </a:cxn>
                <a:cxn ang="0">
                  <a:pos x="388" y="152"/>
                </a:cxn>
                <a:cxn ang="0">
                  <a:pos x="367" y="156"/>
                </a:cxn>
                <a:cxn ang="0">
                  <a:pos x="370" y="134"/>
                </a:cxn>
                <a:cxn ang="0">
                  <a:pos x="322" y="132"/>
                </a:cxn>
                <a:cxn ang="0">
                  <a:pos x="329" y="110"/>
                </a:cxn>
                <a:cxn ang="0">
                  <a:pos x="307" y="84"/>
                </a:cxn>
                <a:cxn ang="0">
                  <a:pos x="302" y="45"/>
                </a:cxn>
                <a:cxn ang="0">
                  <a:pos x="288" y="29"/>
                </a:cxn>
                <a:cxn ang="0">
                  <a:pos x="248" y="26"/>
                </a:cxn>
                <a:cxn ang="0">
                  <a:pos x="236" y="29"/>
                </a:cxn>
                <a:cxn ang="0">
                  <a:pos x="198" y="8"/>
                </a:cxn>
                <a:cxn ang="0">
                  <a:pos x="180" y="12"/>
                </a:cxn>
                <a:cxn ang="0">
                  <a:pos x="155" y="0"/>
                </a:cxn>
                <a:cxn ang="0">
                  <a:pos x="149" y="13"/>
                </a:cxn>
                <a:cxn ang="0">
                  <a:pos x="127" y="5"/>
                </a:cxn>
                <a:cxn ang="0">
                  <a:pos x="116" y="10"/>
                </a:cxn>
                <a:cxn ang="0">
                  <a:pos x="110" y="3"/>
                </a:cxn>
                <a:cxn ang="0">
                  <a:pos x="96" y="5"/>
                </a:cxn>
                <a:cxn ang="0">
                  <a:pos x="89" y="15"/>
                </a:cxn>
                <a:cxn ang="0">
                  <a:pos x="62" y="26"/>
                </a:cxn>
                <a:cxn ang="0">
                  <a:pos x="58" y="48"/>
                </a:cxn>
                <a:cxn ang="0">
                  <a:pos x="40" y="58"/>
                </a:cxn>
                <a:cxn ang="0">
                  <a:pos x="31" y="91"/>
                </a:cxn>
                <a:cxn ang="0">
                  <a:pos x="22" y="97"/>
                </a:cxn>
                <a:cxn ang="0">
                  <a:pos x="23" y="103"/>
                </a:cxn>
                <a:cxn ang="0">
                  <a:pos x="29" y="109"/>
                </a:cxn>
                <a:cxn ang="0">
                  <a:pos x="23" y="117"/>
                </a:cxn>
                <a:cxn ang="0">
                  <a:pos x="21" y="134"/>
                </a:cxn>
                <a:cxn ang="0">
                  <a:pos x="12" y="156"/>
                </a:cxn>
                <a:cxn ang="0">
                  <a:pos x="16" y="163"/>
                </a:cxn>
                <a:cxn ang="0">
                  <a:pos x="3" y="177"/>
                </a:cxn>
                <a:cxn ang="0">
                  <a:pos x="14" y="191"/>
                </a:cxn>
                <a:cxn ang="0">
                  <a:pos x="33" y="183"/>
                </a:cxn>
                <a:cxn ang="0">
                  <a:pos x="48" y="192"/>
                </a:cxn>
                <a:cxn ang="0">
                  <a:pos x="53" y="211"/>
                </a:cxn>
                <a:cxn ang="0">
                  <a:pos x="62" y="222"/>
                </a:cxn>
                <a:cxn ang="0">
                  <a:pos x="64" y="228"/>
                </a:cxn>
                <a:cxn ang="0">
                  <a:pos x="71" y="231"/>
                </a:cxn>
                <a:cxn ang="0">
                  <a:pos x="77" y="226"/>
                </a:cxn>
              </a:cxnLst>
              <a:rect l="0" t="0" r="r" b="b"/>
              <a:pathLst>
                <a:path w="404" h="245">
                  <a:moveTo>
                    <a:pt x="77" y="226"/>
                  </a:moveTo>
                  <a:cubicBezTo>
                    <a:pt x="77" y="226"/>
                    <a:pt x="86" y="228"/>
                    <a:pt x="89" y="231"/>
                  </a:cubicBezTo>
                  <a:cubicBezTo>
                    <a:pt x="91" y="233"/>
                    <a:pt x="96" y="237"/>
                    <a:pt x="97" y="237"/>
                  </a:cubicBezTo>
                  <a:cubicBezTo>
                    <a:pt x="98" y="236"/>
                    <a:pt x="103" y="231"/>
                    <a:pt x="103" y="231"/>
                  </a:cubicBezTo>
                  <a:cubicBezTo>
                    <a:pt x="104" y="231"/>
                    <a:pt x="123" y="233"/>
                    <a:pt x="123" y="233"/>
                  </a:cubicBezTo>
                  <a:cubicBezTo>
                    <a:pt x="123" y="233"/>
                    <a:pt x="126" y="236"/>
                    <a:pt x="128" y="236"/>
                  </a:cubicBezTo>
                  <a:cubicBezTo>
                    <a:pt x="129" y="236"/>
                    <a:pt x="153" y="243"/>
                    <a:pt x="158" y="243"/>
                  </a:cubicBezTo>
                  <a:cubicBezTo>
                    <a:pt x="163" y="242"/>
                    <a:pt x="173" y="237"/>
                    <a:pt x="173" y="237"/>
                  </a:cubicBezTo>
                  <a:cubicBezTo>
                    <a:pt x="173" y="237"/>
                    <a:pt x="193" y="245"/>
                    <a:pt x="195" y="243"/>
                  </a:cubicBezTo>
                  <a:cubicBezTo>
                    <a:pt x="197" y="242"/>
                    <a:pt x="204" y="238"/>
                    <a:pt x="204" y="238"/>
                  </a:cubicBezTo>
                  <a:cubicBezTo>
                    <a:pt x="204" y="237"/>
                    <a:pt x="211" y="227"/>
                    <a:pt x="213" y="227"/>
                  </a:cubicBezTo>
                  <a:cubicBezTo>
                    <a:pt x="215" y="226"/>
                    <a:pt x="235" y="225"/>
                    <a:pt x="236" y="225"/>
                  </a:cubicBezTo>
                  <a:cubicBezTo>
                    <a:pt x="237" y="225"/>
                    <a:pt x="240" y="209"/>
                    <a:pt x="248" y="212"/>
                  </a:cubicBezTo>
                  <a:cubicBezTo>
                    <a:pt x="256" y="214"/>
                    <a:pt x="261" y="220"/>
                    <a:pt x="262" y="220"/>
                  </a:cubicBezTo>
                  <a:cubicBezTo>
                    <a:pt x="263" y="219"/>
                    <a:pt x="280" y="207"/>
                    <a:pt x="289" y="214"/>
                  </a:cubicBezTo>
                  <a:cubicBezTo>
                    <a:pt x="299" y="220"/>
                    <a:pt x="302" y="225"/>
                    <a:pt x="302" y="225"/>
                  </a:cubicBezTo>
                  <a:cubicBezTo>
                    <a:pt x="302" y="225"/>
                    <a:pt x="314" y="225"/>
                    <a:pt x="314" y="224"/>
                  </a:cubicBezTo>
                  <a:cubicBezTo>
                    <a:pt x="314" y="223"/>
                    <a:pt x="328" y="212"/>
                    <a:pt x="329" y="212"/>
                  </a:cubicBezTo>
                  <a:cubicBezTo>
                    <a:pt x="330" y="212"/>
                    <a:pt x="350" y="212"/>
                    <a:pt x="363" y="212"/>
                  </a:cubicBezTo>
                  <a:cubicBezTo>
                    <a:pt x="363" y="212"/>
                    <a:pt x="362" y="212"/>
                    <a:pt x="362" y="212"/>
                  </a:cubicBezTo>
                  <a:cubicBezTo>
                    <a:pt x="362" y="204"/>
                    <a:pt x="371" y="201"/>
                    <a:pt x="371" y="201"/>
                  </a:cubicBezTo>
                  <a:cubicBezTo>
                    <a:pt x="404" y="167"/>
                    <a:pt x="404" y="167"/>
                    <a:pt x="404" y="167"/>
                  </a:cubicBezTo>
                  <a:cubicBezTo>
                    <a:pt x="388" y="152"/>
                    <a:pt x="388" y="152"/>
                    <a:pt x="388" y="152"/>
                  </a:cubicBezTo>
                  <a:cubicBezTo>
                    <a:pt x="367" y="156"/>
                    <a:pt x="367" y="156"/>
                    <a:pt x="367" y="156"/>
                  </a:cubicBezTo>
                  <a:cubicBezTo>
                    <a:pt x="370" y="134"/>
                    <a:pt x="370" y="134"/>
                    <a:pt x="370" y="134"/>
                  </a:cubicBezTo>
                  <a:cubicBezTo>
                    <a:pt x="322" y="132"/>
                    <a:pt x="322" y="132"/>
                    <a:pt x="322" y="132"/>
                  </a:cubicBezTo>
                  <a:cubicBezTo>
                    <a:pt x="329" y="110"/>
                    <a:pt x="329" y="110"/>
                    <a:pt x="329" y="110"/>
                  </a:cubicBezTo>
                  <a:cubicBezTo>
                    <a:pt x="307" y="84"/>
                    <a:pt x="307" y="84"/>
                    <a:pt x="307" y="84"/>
                  </a:cubicBezTo>
                  <a:cubicBezTo>
                    <a:pt x="307" y="84"/>
                    <a:pt x="310" y="57"/>
                    <a:pt x="302" y="45"/>
                  </a:cubicBezTo>
                  <a:cubicBezTo>
                    <a:pt x="295" y="33"/>
                    <a:pt x="288" y="29"/>
                    <a:pt x="288" y="29"/>
                  </a:cubicBezTo>
                  <a:cubicBezTo>
                    <a:pt x="248" y="26"/>
                    <a:pt x="248" y="26"/>
                    <a:pt x="248" y="26"/>
                  </a:cubicBezTo>
                  <a:cubicBezTo>
                    <a:pt x="236" y="29"/>
                    <a:pt x="236" y="29"/>
                    <a:pt x="236" y="29"/>
                  </a:cubicBezTo>
                  <a:cubicBezTo>
                    <a:pt x="236" y="29"/>
                    <a:pt x="198" y="9"/>
                    <a:pt x="198" y="8"/>
                  </a:cubicBezTo>
                  <a:cubicBezTo>
                    <a:pt x="197" y="8"/>
                    <a:pt x="180" y="12"/>
                    <a:pt x="180" y="12"/>
                  </a:cubicBezTo>
                  <a:cubicBezTo>
                    <a:pt x="155" y="0"/>
                    <a:pt x="155" y="0"/>
                    <a:pt x="155" y="0"/>
                  </a:cubicBezTo>
                  <a:cubicBezTo>
                    <a:pt x="155" y="0"/>
                    <a:pt x="150" y="12"/>
                    <a:pt x="149" y="13"/>
                  </a:cubicBezTo>
                  <a:cubicBezTo>
                    <a:pt x="149" y="14"/>
                    <a:pt x="127" y="5"/>
                    <a:pt x="127" y="5"/>
                  </a:cubicBezTo>
                  <a:cubicBezTo>
                    <a:pt x="127" y="5"/>
                    <a:pt x="117" y="10"/>
                    <a:pt x="116" y="10"/>
                  </a:cubicBezTo>
                  <a:cubicBezTo>
                    <a:pt x="115" y="10"/>
                    <a:pt x="110" y="3"/>
                    <a:pt x="110" y="3"/>
                  </a:cubicBezTo>
                  <a:cubicBezTo>
                    <a:pt x="96" y="5"/>
                    <a:pt x="96" y="5"/>
                    <a:pt x="96" y="5"/>
                  </a:cubicBezTo>
                  <a:cubicBezTo>
                    <a:pt x="89" y="15"/>
                    <a:pt x="89" y="15"/>
                    <a:pt x="89" y="15"/>
                  </a:cubicBezTo>
                  <a:cubicBezTo>
                    <a:pt x="62" y="26"/>
                    <a:pt x="62" y="26"/>
                    <a:pt x="62" y="26"/>
                  </a:cubicBezTo>
                  <a:cubicBezTo>
                    <a:pt x="62" y="26"/>
                    <a:pt x="59" y="45"/>
                    <a:pt x="58" y="48"/>
                  </a:cubicBezTo>
                  <a:cubicBezTo>
                    <a:pt x="56" y="52"/>
                    <a:pt x="40" y="58"/>
                    <a:pt x="40" y="58"/>
                  </a:cubicBezTo>
                  <a:cubicBezTo>
                    <a:pt x="31" y="91"/>
                    <a:pt x="31" y="91"/>
                    <a:pt x="31" y="91"/>
                  </a:cubicBezTo>
                  <a:cubicBezTo>
                    <a:pt x="31" y="91"/>
                    <a:pt x="26" y="94"/>
                    <a:pt x="22" y="97"/>
                  </a:cubicBezTo>
                  <a:cubicBezTo>
                    <a:pt x="23" y="103"/>
                    <a:pt x="23" y="103"/>
                    <a:pt x="23" y="103"/>
                  </a:cubicBezTo>
                  <a:cubicBezTo>
                    <a:pt x="29" y="109"/>
                    <a:pt x="29" y="109"/>
                    <a:pt x="29" y="109"/>
                  </a:cubicBezTo>
                  <a:cubicBezTo>
                    <a:pt x="23" y="117"/>
                    <a:pt x="23" y="117"/>
                    <a:pt x="23" y="117"/>
                  </a:cubicBezTo>
                  <a:cubicBezTo>
                    <a:pt x="23" y="117"/>
                    <a:pt x="26" y="128"/>
                    <a:pt x="21" y="134"/>
                  </a:cubicBezTo>
                  <a:cubicBezTo>
                    <a:pt x="17" y="140"/>
                    <a:pt x="12" y="156"/>
                    <a:pt x="12" y="156"/>
                  </a:cubicBezTo>
                  <a:cubicBezTo>
                    <a:pt x="16" y="163"/>
                    <a:pt x="16" y="163"/>
                    <a:pt x="16" y="163"/>
                  </a:cubicBezTo>
                  <a:cubicBezTo>
                    <a:pt x="16" y="163"/>
                    <a:pt x="6" y="172"/>
                    <a:pt x="3" y="177"/>
                  </a:cubicBezTo>
                  <a:cubicBezTo>
                    <a:pt x="0" y="183"/>
                    <a:pt x="14" y="191"/>
                    <a:pt x="14" y="191"/>
                  </a:cubicBezTo>
                  <a:cubicBezTo>
                    <a:pt x="33" y="183"/>
                    <a:pt x="33" y="183"/>
                    <a:pt x="33" y="183"/>
                  </a:cubicBezTo>
                  <a:cubicBezTo>
                    <a:pt x="33" y="183"/>
                    <a:pt x="44" y="189"/>
                    <a:pt x="48" y="192"/>
                  </a:cubicBezTo>
                  <a:cubicBezTo>
                    <a:pt x="52" y="194"/>
                    <a:pt x="53" y="206"/>
                    <a:pt x="53" y="211"/>
                  </a:cubicBezTo>
                  <a:cubicBezTo>
                    <a:pt x="53" y="217"/>
                    <a:pt x="55" y="217"/>
                    <a:pt x="62" y="222"/>
                  </a:cubicBezTo>
                  <a:cubicBezTo>
                    <a:pt x="65" y="224"/>
                    <a:pt x="65" y="226"/>
                    <a:pt x="64" y="228"/>
                  </a:cubicBezTo>
                  <a:cubicBezTo>
                    <a:pt x="71" y="231"/>
                    <a:pt x="71" y="231"/>
                    <a:pt x="71" y="231"/>
                  </a:cubicBezTo>
                  <a:lnTo>
                    <a:pt x="77" y="22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6" name="Freeform 331">
              <a:extLst>
                <a:ext uri="{FF2B5EF4-FFF2-40B4-BE49-F238E27FC236}">
                  <a16:creationId xmlns:a16="http://schemas.microsoft.com/office/drawing/2014/main" id="{4D001E1E-E860-4FDB-B591-D24E18D4756D}"/>
                </a:ext>
              </a:extLst>
            </p:cNvPr>
            <p:cNvSpPr>
              <a:spLocks noChangeAspect="1"/>
            </p:cNvSpPr>
            <p:nvPr/>
          </p:nvSpPr>
          <p:spPr bwMode="auto">
            <a:xfrm>
              <a:off x="12546" y="3969"/>
              <a:ext cx="653" cy="410"/>
            </a:xfrm>
            <a:custGeom>
              <a:avLst/>
              <a:gdLst/>
              <a:ahLst/>
              <a:cxnLst>
                <a:cxn ang="0">
                  <a:pos x="6" y="30"/>
                </a:cxn>
                <a:cxn ang="0">
                  <a:pos x="1" y="40"/>
                </a:cxn>
                <a:cxn ang="0">
                  <a:pos x="4" y="55"/>
                </a:cxn>
                <a:cxn ang="0">
                  <a:pos x="0" y="70"/>
                </a:cxn>
                <a:cxn ang="0">
                  <a:pos x="13" y="78"/>
                </a:cxn>
                <a:cxn ang="0">
                  <a:pos x="23" y="70"/>
                </a:cxn>
                <a:cxn ang="0">
                  <a:pos x="31" y="78"/>
                </a:cxn>
                <a:cxn ang="0">
                  <a:pos x="43" y="70"/>
                </a:cxn>
                <a:cxn ang="0">
                  <a:pos x="50" y="79"/>
                </a:cxn>
                <a:cxn ang="0">
                  <a:pos x="66" y="78"/>
                </a:cxn>
                <a:cxn ang="0">
                  <a:pos x="119" y="95"/>
                </a:cxn>
                <a:cxn ang="0">
                  <a:pos x="138" y="93"/>
                </a:cxn>
                <a:cxn ang="0">
                  <a:pos x="156" y="112"/>
                </a:cxn>
                <a:cxn ang="0">
                  <a:pos x="196" y="153"/>
                </a:cxn>
                <a:cxn ang="0">
                  <a:pos x="244" y="153"/>
                </a:cxn>
                <a:cxn ang="0">
                  <a:pos x="243" y="162"/>
                </a:cxn>
                <a:cxn ang="0">
                  <a:pos x="229" y="178"/>
                </a:cxn>
                <a:cxn ang="0">
                  <a:pos x="227" y="193"/>
                </a:cxn>
                <a:cxn ang="0">
                  <a:pos x="218" y="199"/>
                </a:cxn>
                <a:cxn ang="0">
                  <a:pos x="222" y="204"/>
                </a:cxn>
                <a:cxn ang="0">
                  <a:pos x="231" y="198"/>
                </a:cxn>
                <a:cxn ang="0">
                  <a:pos x="243" y="205"/>
                </a:cxn>
                <a:cxn ang="0">
                  <a:pos x="278" y="170"/>
                </a:cxn>
                <a:cxn ang="0">
                  <a:pos x="299" y="160"/>
                </a:cxn>
                <a:cxn ang="0">
                  <a:pos x="310" y="128"/>
                </a:cxn>
                <a:cxn ang="0">
                  <a:pos x="324" y="94"/>
                </a:cxn>
                <a:cxn ang="0">
                  <a:pos x="307" y="83"/>
                </a:cxn>
                <a:cxn ang="0">
                  <a:pos x="318" y="74"/>
                </a:cxn>
                <a:cxn ang="0">
                  <a:pos x="306" y="47"/>
                </a:cxn>
                <a:cxn ang="0">
                  <a:pos x="318" y="18"/>
                </a:cxn>
                <a:cxn ang="0">
                  <a:pos x="308" y="5"/>
                </a:cxn>
                <a:cxn ang="0">
                  <a:pos x="274" y="5"/>
                </a:cxn>
                <a:cxn ang="0">
                  <a:pos x="259" y="17"/>
                </a:cxn>
                <a:cxn ang="0">
                  <a:pos x="247" y="18"/>
                </a:cxn>
                <a:cxn ang="0">
                  <a:pos x="234" y="7"/>
                </a:cxn>
                <a:cxn ang="0">
                  <a:pos x="207" y="13"/>
                </a:cxn>
                <a:cxn ang="0">
                  <a:pos x="193" y="5"/>
                </a:cxn>
                <a:cxn ang="0">
                  <a:pos x="181" y="18"/>
                </a:cxn>
                <a:cxn ang="0">
                  <a:pos x="158" y="20"/>
                </a:cxn>
                <a:cxn ang="0">
                  <a:pos x="149" y="31"/>
                </a:cxn>
                <a:cxn ang="0">
                  <a:pos x="140" y="36"/>
                </a:cxn>
                <a:cxn ang="0">
                  <a:pos x="118" y="30"/>
                </a:cxn>
                <a:cxn ang="0">
                  <a:pos x="103" y="36"/>
                </a:cxn>
                <a:cxn ang="0">
                  <a:pos x="73" y="29"/>
                </a:cxn>
                <a:cxn ang="0">
                  <a:pos x="68" y="26"/>
                </a:cxn>
                <a:cxn ang="0">
                  <a:pos x="48" y="24"/>
                </a:cxn>
                <a:cxn ang="0">
                  <a:pos x="42" y="30"/>
                </a:cxn>
                <a:cxn ang="0">
                  <a:pos x="34" y="24"/>
                </a:cxn>
                <a:cxn ang="0">
                  <a:pos x="22" y="19"/>
                </a:cxn>
                <a:cxn ang="0">
                  <a:pos x="16" y="24"/>
                </a:cxn>
                <a:cxn ang="0">
                  <a:pos x="9" y="21"/>
                </a:cxn>
                <a:cxn ang="0">
                  <a:pos x="6" y="30"/>
                </a:cxn>
              </a:cxnLst>
              <a:rect l="0" t="0" r="r" b="b"/>
              <a:pathLst>
                <a:path w="326" h="205">
                  <a:moveTo>
                    <a:pt x="6" y="30"/>
                  </a:moveTo>
                  <a:cubicBezTo>
                    <a:pt x="7" y="35"/>
                    <a:pt x="1" y="40"/>
                    <a:pt x="1" y="40"/>
                  </a:cubicBezTo>
                  <a:cubicBezTo>
                    <a:pt x="1" y="40"/>
                    <a:pt x="4" y="53"/>
                    <a:pt x="4" y="55"/>
                  </a:cubicBezTo>
                  <a:cubicBezTo>
                    <a:pt x="5" y="56"/>
                    <a:pt x="3" y="64"/>
                    <a:pt x="0" y="70"/>
                  </a:cubicBezTo>
                  <a:cubicBezTo>
                    <a:pt x="4" y="74"/>
                    <a:pt x="10" y="78"/>
                    <a:pt x="13" y="78"/>
                  </a:cubicBezTo>
                  <a:cubicBezTo>
                    <a:pt x="17" y="78"/>
                    <a:pt x="23" y="70"/>
                    <a:pt x="23" y="70"/>
                  </a:cubicBezTo>
                  <a:cubicBezTo>
                    <a:pt x="31" y="78"/>
                    <a:pt x="31" y="78"/>
                    <a:pt x="31" y="78"/>
                  </a:cubicBezTo>
                  <a:cubicBezTo>
                    <a:pt x="43" y="70"/>
                    <a:pt x="43" y="70"/>
                    <a:pt x="43" y="70"/>
                  </a:cubicBezTo>
                  <a:cubicBezTo>
                    <a:pt x="43" y="70"/>
                    <a:pt x="50" y="79"/>
                    <a:pt x="50" y="79"/>
                  </a:cubicBezTo>
                  <a:cubicBezTo>
                    <a:pt x="51" y="79"/>
                    <a:pt x="66" y="78"/>
                    <a:pt x="66" y="78"/>
                  </a:cubicBezTo>
                  <a:cubicBezTo>
                    <a:pt x="119" y="95"/>
                    <a:pt x="119" y="95"/>
                    <a:pt x="119" y="95"/>
                  </a:cubicBezTo>
                  <a:cubicBezTo>
                    <a:pt x="119" y="95"/>
                    <a:pt x="130" y="84"/>
                    <a:pt x="138" y="93"/>
                  </a:cubicBezTo>
                  <a:cubicBezTo>
                    <a:pt x="147" y="101"/>
                    <a:pt x="156" y="112"/>
                    <a:pt x="156" y="112"/>
                  </a:cubicBezTo>
                  <a:cubicBezTo>
                    <a:pt x="196" y="153"/>
                    <a:pt x="196" y="153"/>
                    <a:pt x="196" y="153"/>
                  </a:cubicBezTo>
                  <a:cubicBezTo>
                    <a:pt x="196" y="153"/>
                    <a:pt x="245" y="153"/>
                    <a:pt x="244" y="153"/>
                  </a:cubicBezTo>
                  <a:cubicBezTo>
                    <a:pt x="244" y="154"/>
                    <a:pt x="248" y="160"/>
                    <a:pt x="243" y="162"/>
                  </a:cubicBezTo>
                  <a:cubicBezTo>
                    <a:pt x="238" y="164"/>
                    <a:pt x="229" y="178"/>
                    <a:pt x="229" y="178"/>
                  </a:cubicBezTo>
                  <a:cubicBezTo>
                    <a:pt x="227" y="193"/>
                    <a:pt x="227" y="193"/>
                    <a:pt x="227" y="193"/>
                  </a:cubicBezTo>
                  <a:cubicBezTo>
                    <a:pt x="218" y="199"/>
                    <a:pt x="218" y="199"/>
                    <a:pt x="218" y="199"/>
                  </a:cubicBezTo>
                  <a:cubicBezTo>
                    <a:pt x="222" y="204"/>
                    <a:pt x="222" y="204"/>
                    <a:pt x="222" y="204"/>
                  </a:cubicBezTo>
                  <a:cubicBezTo>
                    <a:pt x="231" y="198"/>
                    <a:pt x="231" y="198"/>
                    <a:pt x="231" y="198"/>
                  </a:cubicBezTo>
                  <a:cubicBezTo>
                    <a:pt x="243" y="205"/>
                    <a:pt x="243" y="205"/>
                    <a:pt x="243" y="205"/>
                  </a:cubicBezTo>
                  <a:cubicBezTo>
                    <a:pt x="255" y="190"/>
                    <a:pt x="269" y="178"/>
                    <a:pt x="278" y="170"/>
                  </a:cubicBezTo>
                  <a:cubicBezTo>
                    <a:pt x="289" y="161"/>
                    <a:pt x="292" y="164"/>
                    <a:pt x="299" y="160"/>
                  </a:cubicBezTo>
                  <a:cubicBezTo>
                    <a:pt x="306" y="156"/>
                    <a:pt x="310" y="128"/>
                    <a:pt x="310" y="128"/>
                  </a:cubicBezTo>
                  <a:cubicBezTo>
                    <a:pt x="310" y="128"/>
                    <a:pt x="323" y="94"/>
                    <a:pt x="324" y="94"/>
                  </a:cubicBezTo>
                  <a:cubicBezTo>
                    <a:pt x="326" y="94"/>
                    <a:pt x="307" y="83"/>
                    <a:pt x="307" y="83"/>
                  </a:cubicBezTo>
                  <a:cubicBezTo>
                    <a:pt x="307" y="83"/>
                    <a:pt x="317" y="74"/>
                    <a:pt x="318" y="74"/>
                  </a:cubicBezTo>
                  <a:cubicBezTo>
                    <a:pt x="319" y="74"/>
                    <a:pt x="311" y="58"/>
                    <a:pt x="306" y="47"/>
                  </a:cubicBezTo>
                  <a:cubicBezTo>
                    <a:pt x="302" y="36"/>
                    <a:pt x="315" y="24"/>
                    <a:pt x="318" y="18"/>
                  </a:cubicBezTo>
                  <a:cubicBezTo>
                    <a:pt x="321" y="12"/>
                    <a:pt x="308" y="14"/>
                    <a:pt x="308" y="5"/>
                  </a:cubicBezTo>
                  <a:cubicBezTo>
                    <a:pt x="295" y="5"/>
                    <a:pt x="275" y="5"/>
                    <a:pt x="274" y="5"/>
                  </a:cubicBezTo>
                  <a:cubicBezTo>
                    <a:pt x="273" y="5"/>
                    <a:pt x="259" y="16"/>
                    <a:pt x="259" y="17"/>
                  </a:cubicBezTo>
                  <a:cubicBezTo>
                    <a:pt x="259" y="18"/>
                    <a:pt x="247" y="18"/>
                    <a:pt x="247" y="18"/>
                  </a:cubicBezTo>
                  <a:cubicBezTo>
                    <a:pt x="247" y="18"/>
                    <a:pt x="244" y="13"/>
                    <a:pt x="234" y="7"/>
                  </a:cubicBezTo>
                  <a:cubicBezTo>
                    <a:pt x="225" y="0"/>
                    <a:pt x="208" y="12"/>
                    <a:pt x="207" y="13"/>
                  </a:cubicBezTo>
                  <a:cubicBezTo>
                    <a:pt x="206" y="13"/>
                    <a:pt x="201" y="7"/>
                    <a:pt x="193" y="5"/>
                  </a:cubicBezTo>
                  <a:cubicBezTo>
                    <a:pt x="185" y="2"/>
                    <a:pt x="182" y="18"/>
                    <a:pt x="181" y="18"/>
                  </a:cubicBezTo>
                  <a:cubicBezTo>
                    <a:pt x="180" y="18"/>
                    <a:pt x="160" y="19"/>
                    <a:pt x="158" y="20"/>
                  </a:cubicBezTo>
                  <a:cubicBezTo>
                    <a:pt x="156" y="20"/>
                    <a:pt x="149" y="30"/>
                    <a:pt x="149" y="31"/>
                  </a:cubicBezTo>
                  <a:cubicBezTo>
                    <a:pt x="149" y="31"/>
                    <a:pt x="142" y="35"/>
                    <a:pt x="140" y="36"/>
                  </a:cubicBezTo>
                  <a:cubicBezTo>
                    <a:pt x="138" y="38"/>
                    <a:pt x="118" y="30"/>
                    <a:pt x="118" y="30"/>
                  </a:cubicBezTo>
                  <a:cubicBezTo>
                    <a:pt x="118" y="30"/>
                    <a:pt x="108" y="35"/>
                    <a:pt x="103" y="36"/>
                  </a:cubicBezTo>
                  <a:cubicBezTo>
                    <a:pt x="98" y="36"/>
                    <a:pt x="74" y="29"/>
                    <a:pt x="73" y="29"/>
                  </a:cubicBezTo>
                  <a:cubicBezTo>
                    <a:pt x="71" y="29"/>
                    <a:pt x="68" y="26"/>
                    <a:pt x="68" y="26"/>
                  </a:cubicBezTo>
                  <a:cubicBezTo>
                    <a:pt x="68" y="26"/>
                    <a:pt x="49" y="24"/>
                    <a:pt x="48" y="24"/>
                  </a:cubicBezTo>
                  <a:cubicBezTo>
                    <a:pt x="48" y="24"/>
                    <a:pt x="43" y="29"/>
                    <a:pt x="42" y="30"/>
                  </a:cubicBezTo>
                  <a:cubicBezTo>
                    <a:pt x="41" y="30"/>
                    <a:pt x="36" y="26"/>
                    <a:pt x="34" y="24"/>
                  </a:cubicBezTo>
                  <a:cubicBezTo>
                    <a:pt x="31" y="21"/>
                    <a:pt x="22" y="19"/>
                    <a:pt x="22" y="19"/>
                  </a:cubicBezTo>
                  <a:cubicBezTo>
                    <a:pt x="16" y="24"/>
                    <a:pt x="16" y="24"/>
                    <a:pt x="16" y="24"/>
                  </a:cubicBezTo>
                  <a:cubicBezTo>
                    <a:pt x="9" y="21"/>
                    <a:pt x="9" y="21"/>
                    <a:pt x="9" y="21"/>
                  </a:cubicBezTo>
                  <a:cubicBezTo>
                    <a:pt x="8" y="24"/>
                    <a:pt x="5" y="27"/>
                    <a:pt x="6" y="3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7" name="Freeform 332">
              <a:extLst>
                <a:ext uri="{FF2B5EF4-FFF2-40B4-BE49-F238E27FC236}">
                  <a16:creationId xmlns:a16="http://schemas.microsoft.com/office/drawing/2014/main" id="{D9F93811-9F1B-4F42-A7B4-67A2F5258443}"/>
                </a:ext>
              </a:extLst>
            </p:cNvPr>
            <p:cNvSpPr>
              <a:spLocks noChangeAspect="1"/>
            </p:cNvSpPr>
            <p:nvPr/>
          </p:nvSpPr>
          <p:spPr bwMode="auto">
            <a:xfrm>
              <a:off x="12628" y="3223"/>
              <a:ext cx="1081" cy="664"/>
            </a:xfrm>
            <a:custGeom>
              <a:avLst/>
              <a:gdLst/>
              <a:ahLst/>
              <a:cxnLst>
                <a:cxn ang="0">
                  <a:pos x="529" y="184"/>
                </a:cxn>
                <a:cxn ang="0">
                  <a:pos x="534" y="174"/>
                </a:cxn>
                <a:cxn ang="0">
                  <a:pos x="511" y="172"/>
                </a:cxn>
                <a:cxn ang="0">
                  <a:pos x="501" y="160"/>
                </a:cxn>
                <a:cxn ang="0">
                  <a:pos x="471" y="173"/>
                </a:cxn>
                <a:cxn ang="0">
                  <a:pos x="453" y="173"/>
                </a:cxn>
                <a:cxn ang="0">
                  <a:pos x="440" y="184"/>
                </a:cxn>
                <a:cxn ang="0">
                  <a:pos x="424" y="190"/>
                </a:cxn>
                <a:cxn ang="0">
                  <a:pos x="400" y="178"/>
                </a:cxn>
                <a:cxn ang="0">
                  <a:pos x="388" y="161"/>
                </a:cxn>
                <a:cxn ang="0">
                  <a:pos x="392" y="141"/>
                </a:cxn>
                <a:cxn ang="0">
                  <a:pos x="391" y="132"/>
                </a:cxn>
                <a:cxn ang="0">
                  <a:pos x="395" y="113"/>
                </a:cxn>
                <a:cxn ang="0">
                  <a:pos x="367" y="102"/>
                </a:cxn>
                <a:cxn ang="0">
                  <a:pos x="358" y="79"/>
                </a:cxn>
                <a:cxn ang="0">
                  <a:pos x="361" y="55"/>
                </a:cxn>
                <a:cxn ang="0">
                  <a:pos x="353" y="27"/>
                </a:cxn>
                <a:cxn ang="0">
                  <a:pos x="336" y="14"/>
                </a:cxn>
                <a:cxn ang="0">
                  <a:pos x="321" y="12"/>
                </a:cxn>
                <a:cxn ang="0">
                  <a:pos x="307" y="18"/>
                </a:cxn>
                <a:cxn ang="0">
                  <a:pos x="293" y="17"/>
                </a:cxn>
                <a:cxn ang="0">
                  <a:pos x="270" y="25"/>
                </a:cxn>
                <a:cxn ang="0">
                  <a:pos x="256" y="26"/>
                </a:cxn>
                <a:cxn ang="0">
                  <a:pos x="249" y="29"/>
                </a:cxn>
                <a:cxn ang="0">
                  <a:pos x="236" y="33"/>
                </a:cxn>
                <a:cxn ang="0">
                  <a:pos x="221" y="14"/>
                </a:cxn>
                <a:cxn ang="0">
                  <a:pos x="203" y="8"/>
                </a:cxn>
                <a:cxn ang="0">
                  <a:pos x="175" y="12"/>
                </a:cxn>
                <a:cxn ang="0">
                  <a:pos x="164" y="8"/>
                </a:cxn>
                <a:cxn ang="0">
                  <a:pos x="148" y="10"/>
                </a:cxn>
                <a:cxn ang="0">
                  <a:pos x="124" y="19"/>
                </a:cxn>
                <a:cxn ang="0">
                  <a:pos x="108" y="34"/>
                </a:cxn>
                <a:cxn ang="0">
                  <a:pos x="93" y="67"/>
                </a:cxn>
                <a:cxn ang="0">
                  <a:pos x="68" y="103"/>
                </a:cxn>
                <a:cxn ang="0">
                  <a:pos x="63" y="114"/>
                </a:cxn>
                <a:cxn ang="0">
                  <a:pos x="47" y="139"/>
                </a:cxn>
                <a:cxn ang="0">
                  <a:pos x="0" y="170"/>
                </a:cxn>
                <a:cxn ang="0">
                  <a:pos x="20" y="175"/>
                </a:cxn>
                <a:cxn ang="0">
                  <a:pos x="53" y="178"/>
                </a:cxn>
                <a:cxn ang="0">
                  <a:pos x="84" y="177"/>
                </a:cxn>
                <a:cxn ang="0">
                  <a:pos x="140" y="194"/>
                </a:cxn>
                <a:cxn ang="0">
                  <a:pos x="192" y="194"/>
                </a:cxn>
                <a:cxn ang="0">
                  <a:pos x="211" y="249"/>
                </a:cxn>
                <a:cxn ang="0">
                  <a:pos x="226" y="297"/>
                </a:cxn>
                <a:cxn ang="0">
                  <a:pos x="271" y="321"/>
                </a:cxn>
                <a:cxn ang="0">
                  <a:pos x="308" y="332"/>
                </a:cxn>
                <a:cxn ang="0">
                  <a:pos x="327" y="305"/>
                </a:cxn>
                <a:cxn ang="0">
                  <a:pos x="375" y="269"/>
                </a:cxn>
                <a:cxn ang="0">
                  <a:pos x="401" y="254"/>
                </a:cxn>
                <a:cxn ang="0">
                  <a:pos x="426" y="241"/>
                </a:cxn>
                <a:cxn ang="0">
                  <a:pos x="466" y="253"/>
                </a:cxn>
                <a:cxn ang="0">
                  <a:pos x="463" y="230"/>
                </a:cxn>
                <a:cxn ang="0">
                  <a:pos x="496" y="212"/>
                </a:cxn>
                <a:cxn ang="0">
                  <a:pos x="498" y="195"/>
                </a:cxn>
              </a:cxnLst>
              <a:rect l="0" t="0" r="r" b="b"/>
              <a:pathLst>
                <a:path w="539" h="332">
                  <a:moveTo>
                    <a:pt x="512" y="186"/>
                  </a:moveTo>
                  <a:cubicBezTo>
                    <a:pt x="521" y="184"/>
                    <a:pt x="526" y="184"/>
                    <a:pt x="529" y="184"/>
                  </a:cubicBezTo>
                  <a:cubicBezTo>
                    <a:pt x="532" y="184"/>
                    <a:pt x="539" y="178"/>
                    <a:pt x="539" y="178"/>
                  </a:cubicBezTo>
                  <a:cubicBezTo>
                    <a:pt x="534" y="174"/>
                    <a:pt x="534" y="174"/>
                    <a:pt x="534" y="174"/>
                  </a:cubicBezTo>
                  <a:cubicBezTo>
                    <a:pt x="527" y="169"/>
                    <a:pt x="527" y="169"/>
                    <a:pt x="527" y="169"/>
                  </a:cubicBezTo>
                  <a:cubicBezTo>
                    <a:pt x="527" y="169"/>
                    <a:pt x="519" y="172"/>
                    <a:pt x="511" y="172"/>
                  </a:cubicBezTo>
                  <a:cubicBezTo>
                    <a:pt x="503" y="172"/>
                    <a:pt x="508" y="171"/>
                    <a:pt x="506" y="164"/>
                  </a:cubicBezTo>
                  <a:cubicBezTo>
                    <a:pt x="504" y="157"/>
                    <a:pt x="501" y="160"/>
                    <a:pt x="501" y="160"/>
                  </a:cubicBezTo>
                  <a:cubicBezTo>
                    <a:pt x="484" y="162"/>
                    <a:pt x="484" y="162"/>
                    <a:pt x="484" y="162"/>
                  </a:cubicBezTo>
                  <a:cubicBezTo>
                    <a:pt x="484" y="162"/>
                    <a:pt x="477" y="170"/>
                    <a:pt x="471" y="173"/>
                  </a:cubicBezTo>
                  <a:cubicBezTo>
                    <a:pt x="464" y="175"/>
                    <a:pt x="455" y="169"/>
                    <a:pt x="455" y="169"/>
                  </a:cubicBezTo>
                  <a:cubicBezTo>
                    <a:pt x="453" y="173"/>
                    <a:pt x="453" y="173"/>
                    <a:pt x="453" y="173"/>
                  </a:cubicBezTo>
                  <a:cubicBezTo>
                    <a:pt x="446" y="170"/>
                    <a:pt x="446" y="170"/>
                    <a:pt x="446" y="170"/>
                  </a:cubicBezTo>
                  <a:cubicBezTo>
                    <a:pt x="440" y="184"/>
                    <a:pt x="440" y="184"/>
                    <a:pt x="440" y="184"/>
                  </a:cubicBezTo>
                  <a:cubicBezTo>
                    <a:pt x="429" y="184"/>
                    <a:pt x="429" y="184"/>
                    <a:pt x="429" y="184"/>
                  </a:cubicBezTo>
                  <a:cubicBezTo>
                    <a:pt x="424" y="190"/>
                    <a:pt x="424" y="190"/>
                    <a:pt x="424" y="190"/>
                  </a:cubicBezTo>
                  <a:cubicBezTo>
                    <a:pt x="410" y="189"/>
                    <a:pt x="410" y="189"/>
                    <a:pt x="410" y="189"/>
                  </a:cubicBezTo>
                  <a:cubicBezTo>
                    <a:pt x="400" y="178"/>
                    <a:pt x="400" y="178"/>
                    <a:pt x="400" y="178"/>
                  </a:cubicBezTo>
                  <a:cubicBezTo>
                    <a:pt x="400" y="166"/>
                    <a:pt x="400" y="166"/>
                    <a:pt x="400" y="166"/>
                  </a:cubicBezTo>
                  <a:cubicBezTo>
                    <a:pt x="400" y="166"/>
                    <a:pt x="393" y="162"/>
                    <a:pt x="388" y="161"/>
                  </a:cubicBezTo>
                  <a:cubicBezTo>
                    <a:pt x="382" y="159"/>
                    <a:pt x="380" y="152"/>
                    <a:pt x="384" y="152"/>
                  </a:cubicBezTo>
                  <a:cubicBezTo>
                    <a:pt x="388" y="152"/>
                    <a:pt x="392" y="141"/>
                    <a:pt x="392" y="141"/>
                  </a:cubicBezTo>
                  <a:cubicBezTo>
                    <a:pt x="383" y="136"/>
                    <a:pt x="383" y="136"/>
                    <a:pt x="383" y="136"/>
                  </a:cubicBezTo>
                  <a:cubicBezTo>
                    <a:pt x="391" y="132"/>
                    <a:pt x="391" y="132"/>
                    <a:pt x="391" y="132"/>
                  </a:cubicBezTo>
                  <a:cubicBezTo>
                    <a:pt x="386" y="127"/>
                    <a:pt x="386" y="127"/>
                    <a:pt x="386" y="127"/>
                  </a:cubicBezTo>
                  <a:cubicBezTo>
                    <a:pt x="386" y="127"/>
                    <a:pt x="393" y="115"/>
                    <a:pt x="395" y="113"/>
                  </a:cubicBezTo>
                  <a:cubicBezTo>
                    <a:pt x="397" y="111"/>
                    <a:pt x="397" y="99"/>
                    <a:pt x="384" y="97"/>
                  </a:cubicBezTo>
                  <a:cubicBezTo>
                    <a:pt x="371" y="94"/>
                    <a:pt x="367" y="102"/>
                    <a:pt x="367" y="102"/>
                  </a:cubicBezTo>
                  <a:cubicBezTo>
                    <a:pt x="367" y="102"/>
                    <a:pt x="367" y="94"/>
                    <a:pt x="365" y="90"/>
                  </a:cubicBezTo>
                  <a:cubicBezTo>
                    <a:pt x="363" y="86"/>
                    <a:pt x="358" y="86"/>
                    <a:pt x="358" y="79"/>
                  </a:cubicBezTo>
                  <a:cubicBezTo>
                    <a:pt x="357" y="72"/>
                    <a:pt x="353" y="73"/>
                    <a:pt x="352" y="66"/>
                  </a:cubicBezTo>
                  <a:cubicBezTo>
                    <a:pt x="351" y="58"/>
                    <a:pt x="360" y="56"/>
                    <a:pt x="361" y="55"/>
                  </a:cubicBezTo>
                  <a:cubicBezTo>
                    <a:pt x="362" y="53"/>
                    <a:pt x="347" y="39"/>
                    <a:pt x="347" y="39"/>
                  </a:cubicBezTo>
                  <a:cubicBezTo>
                    <a:pt x="353" y="27"/>
                    <a:pt x="353" y="27"/>
                    <a:pt x="353" y="27"/>
                  </a:cubicBezTo>
                  <a:cubicBezTo>
                    <a:pt x="353" y="27"/>
                    <a:pt x="346" y="21"/>
                    <a:pt x="343" y="20"/>
                  </a:cubicBezTo>
                  <a:cubicBezTo>
                    <a:pt x="339" y="18"/>
                    <a:pt x="336" y="14"/>
                    <a:pt x="336" y="14"/>
                  </a:cubicBezTo>
                  <a:cubicBezTo>
                    <a:pt x="330" y="18"/>
                    <a:pt x="330" y="18"/>
                    <a:pt x="330" y="18"/>
                  </a:cubicBezTo>
                  <a:cubicBezTo>
                    <a:pt x="330" y="18"/>
                    <a:pt x="328" y="13"/>
                    <a:pt x="321" y="12"/>
                  </a:cubicBezTo>
                  <a:cubicBezTo>
                    <a:pt x="315" y="12"/>
                    <a:pt x="314" y="20"/>
                    <a:pt x="314" y="20"/>
                  </a:cubicBezTo>
                  <a:cubicBezTo>
                    <a:pt x="307" y="18"/>
                    <a:pt x="307" y="18"/>
                    <a:pt x="307" y="18"/>
                  </a:cubicBezTo>
                  <a:cubicBezTo>
                    <a:pt x="307" y="18"/>
                    <a:pt x="307" y="22"/>
                    <a:pt x="304" y="22"/>
                  </a:cubicBezTo>
                  <a:cubicBezTo>
                    <a:pt x="300" y="23"/>
                    <a:pt x="293" y="17"/>
                    <a:pt x="293" y="17"/>
                  </a:cubicBezTo>
                  <a:cubicBezTo>
                    <a:pt x="293" y="22"/>
                    <a:pt x="293" y="22"/>
                    <a:pt x="293" y="22"/>
                  </a:cubicBezTo>
                  <a:cubicBezTo>
                    <a:pt x="293" y="22"/>
                    <a:pt x="273" y="21"/>
                    <a:pt x="270" y="25"/>
                  </a:cubicBezTo>
                  <a:cubicBezTo>
                    <a:pt x="267" y="28"/>
                    <a:pt x="261" y="20"/>
                    <a:pt x="261" y="20"/>
                  </a:cubicBezTo>
                  <a:cubicBezTo>
                    <a:pt x="256" y="26"/>
                    <a:pt x="256" y="26"/>
                    <a:pt x="256" y="26"/>
                  </a:cubicBezTo>
                  <a:cubicBezTo>
                    <a:pt x="256" y="26"/>
                    <a:pt x="256" y="42"/>
                    <a:pt x="251" y="42"/>
                  </a:cubicBezTo>
                  <a:cubicBezTo>
                    <a:pt x="247" y="42"/>
                    <a:pt x="249" y="34"/>
                    <a:pt x="249" y="29"/>
                  </a:cubicBezTo>
                  <a:cubicBezTo>
                    <a:pt x="249" y="24"/>
                    <a:pt x="244" y="23"/>
                    <a:pt x="244" y="23"/>
                  </a:cubicBezTo>
                  <a:cubicBezTo>
                    <a:pt x="244" y="23"/>
                    <a:pt x="242" y="33"/>
                    <a:pt x="236" y="33"/>
                  </a:cubicBezTo>
                  <a:cubicBezTo>
                    <a:pt x="229" y="33"/>
                    <a:pt x="226" y="23"/>
                    <a:pt x="226" y="23"/>
                  </a:cubicBezTo>
                  <a:cubicBezTo>
                    <a:pt x="226" y="23"/>
                    <a:pt x="222" y="14"/>
                    <a:pt x="221" y="14"/>
                  </a:cubicBezTo>
                  <a:cubicBezTo>
                    <a:pt x="220" y="14"/>
                    <a:pt x="217" y="9"/>
                    <a:pt x="217" y="9"/>
                  </a:cubicBezTo>
                  <a:cubicBezTo>
                    <a:pt x="203" y="8"/>
                    <a:pt x="203" y="8"/>
                    <a:pt x="203" y="8"/>
                  </a:cubicBezTo>
                  <a:cubicBezTo>
                    <a:pt x="196" y="12"/>
                    <a:pt x="196" y="12"/>
                    <a:pt x="196" y="12"/>
                  </a:cubicBezTo>
                  <a:cubicBezTo>
                    <a:pt x="196" y="12"/>
                    <a:pt x="176" y="12"/>
                    <a:pt x="175" y="12"/>
                  </a:cubicBezTo>
                  <a:cubicBezTo>
                    <a:pt x="174" y="12"/>
                    <a:pt x="173" y="5"/>
                    <a:pt x="173" y="5"/>
                  </a:cubicBezTo>
                  <a:cubicBezTo>
                    <a:pt x="164" y="8"/>
                    <a:pt x="164" y="8"/>
                    <a:pt x="164" y="8"/>
                  </a:cubicBezTo>
                  <a:cubicBezTo>
                    <a:pt x="164" y="8"/>
                    <a:pt x="159" y="1"/>
                    <a:pt x="158" y="0"/>
                  </a:cubicBezTo>
                  <a:cubicBezTo>
                    <a:pt x="157" y="0"/>
                    <a:pt x="148" y="10"/>
                    <a:pt x="148" y="10"/>
                  </a:cubicBezTo>
                  <a:cubicBezTo>
                    <a:pt x="139" y="8"/>
                    <a:pt x="139" y="8"/>
                    <a:pt x="139" y="8"/>
                  </a:cubicBezTo>
                  <a:cubicBezTo>
                    <a:pt x="139" y="8"/>
                    <a:pt x="130" y="15"/>
                    <a:pt x="124" y="19"/>
                  </a:cubicBezTo>
                  <a:cubicBezTo>
                    <a:pt x="123" y="33"/>
                    <a:pt x="123" y="33"/>
                    <a:pt x="123" y="33"/>
                  </a:cubicBezTo>
                  <a:cubicBezTo>
                    <a:pt x="108" y="34"/>
                    <a:pt x="108" y="34"/>
                    <a:pt x="108" y="34"/>
                  </a:cubicBezTo>
                  <a:cubicBezTo>
                    <a:pt x="86" y="56"/>
                    <a:pt x="86" y="56"/>
                    <a:pt x="86" y="56"/>
                  </a:cubicBezTo>
                  <a:cubicBezTo>
                    <a:pt x="93" y="67"/>
                    <a:pt x="93" y="67"/>
                    <a:pt x="93" y="67"/>
                  </a:cubicBezTo>
                  <a:cubicBezTo>
                    <a:pt x="93" y="67"/>
                    <a:pt x="75" y="81"/>
                    <a:pt x="74" y="82"/>
                  </a:cubicBezTo>
                  <a:cubicBezTo>
                    <a:pt x="73" y="83"/>
                    <a:pt x="68" y="103"/>
                    <a:pt x="68" y="103"/>
                  </a:cubicBezTo>
                  <a:cubicBezTo>
                    <a:pt x="58" y="105"/>
                    <a:pt x="58" y="105"/>
                    <a:pt x="58" y="105"/>
                  </a:cubicBezTo>
                  <a:cubicBezTo>
                    <a:pt x="63" y="114"/>
                    <a:pt x="63" y="114"/>
                    <a:pt x="63" y="114"/>
                  </a:cubicBezTo>
                  <a:cubicBezTo>
                    <a:pt x="63" y="114"/>
                    <a:pt x="48" y="126"/>
                    <a:pt x="47" y="127"/>
                  </a:cubicBezTo>
                  <a:cubicBezTo>
                    <a:pt x="46" y="129"/>
                    <a:pt x="47" y="134"/>
                    <a:pt x="47" y="139"/>
                  </a:cubicBezTo>
                  <a:cubicBezTo>
                    <a:pt x="47" y="144"/>
                    <a:pt x="0" y="170"/>
                    <a:pt x="0" y="170"/>
                  </a:cubicBezTo>
                  <a:cubicBezTo>
                    <a:pt x="0" y="170"/>
                    <a:pt x="0" y="170"/>
                    <a:pt x="0" y="170"/>
                  </a:cubicBezTo>
                  <a:cubicBezTo>
                    <a:pt x="14" y="168"/>
                    <a:pt x="14" y="168"/>
                    <a:pt x="14" y="168"/>
                  </a:cubicBezTo>
                  <a:cubicBezTo>
                    <a:pt x="14" y="168"/>
                    <a:pt x="19" y="175"/>
                    <a:pt x="20" y="175"/>
                  </a:cubicBezTo>
                  <a:cubicBezTo>
                    <a:pt x="21" y="175"/>
                    <a:pt x="31" y="170"/>
                    <a:pt x="31" y="170"/>
                  </a:cubicBezTo>
                  <a:cubicBezTo>
                    <a:pt x="31" y="170"/>
                    <a:pt x="53" y="179"/>
                    <a:pt x="53" y="178"/>
                  </a:cubicBezTo>
                  <a:cubicBezTo>
                    <a:pt x="54" y="177"/>
                    <a:pt x="59" y="165"/>
                    <a:pt x="59" y="165"/>
                  </a:cubicBezTo>
                  <a:cubicBezTo>
                    <a:pt x="84" y="177"/>
                    <a:pt x="84" y="177"/>
                    <a:pt x="84" y="177"/>
                  </a:cubicBezTo>
                  <a:cubicBezTo>
                    <a:pt x="84" y="177"/>
                    <a:pt x="101" y="173"/>
                    <a:pt x="102" y="173"/>
                  </a:cubicBezTo>
                  <a:cubicBezTo>
                    <a:pt x="102" y="174"/>
                    <a:pt x="140" y="194"/>
                    <a:pt x="140" y="194"/>
                  </a:cubicBezTo>
                  <a:cubicBezTo>
                    <a:pt x="152" y="191"/>
                    <a:pt x="152" y="191"/>
                    <a:pt x="152" y="191"/>
                  </a:cubicBezTo>
                  <a:cubicBezTo>
                    <a:pt x="192" y="194"/>
                    <a:pt x="192" y="194"/>
                    <a:pt x="192" y="194"/>
                  </a:cubicBezTo>
                  <a:cubicBezTo>
                    <a:pt x="192" y="194"/>
                    <a:pt x="199" y="198"/>
                    <a:pt x="206" y="210"/>
                  </a:cubicBezTo>
                  <a:cubicBezTo>
                    <a:pt x="214" y="222"/>
                    <a:pt x="211" y="249"/>
                    <a:pt x="211" y="249"/>
                  </a:cubicBezTo>
                  <a:cubicBezTo>
                    <a:pt x="233" y="275"/>
                    <a:pt x="233" y="275"/>
                    <a:pt x="233" y="275"/>
                  </a:cubicBezTo>
                  <a:cubicBezTo>
                    <a:pt x="226" y="297"/>
                    <a:pt x="226" y="297"/>
                    <a:pt x="226" y="297"/>
                  </a:cubicBezTo>
                  <a:cubicBezTo>
                    <a:pt x="274" y="299"/>
                    <a:pt x="274" y="299"/>
                    <a:pt x="274" y="299"/>
                  </a:cubicBezTo>
                  <a:cubicBezTo>
                    <a:pt x="271" y="321"/>
                    <a:pt x="271" y="321"/>
                    <a:pt x="271" y="321"/>
                  </a:cubicBezTo>
                  <a:cubicBezTo>
                    <a:pt x="292" y="317"/>
                    <a:pt x="292" y="317"/>
                    <a:pt x="292" y="317"/>
                  </a:cubicBezTo>
                  <a:cubicBezTo>
                    <a:pt x="308" y="332"/>
                    <a:pt x="308" y="332"/>
                    <a:pt x="308" y="332"/>
                  </a:cubicBezTo>
                  <a:cubicBezTo>
                    <a:pt x="312" y="328"/>
                    <a:pt x="312" y="328"/>
                    <a:pt x="312" y="328"/>
                  </a:cubicBezTo>
                  <a:cubicBezTo>
                    <a:pt x="312" y="328"/>
                    <a:pt x="320" y="310"/>
                    <a:pt x="327" y="305"/>
                  </a:cubicBezTo>
                  <a:cubicBezTo>
                    <a:pt x="335" y="301"/>
                    <a:pt x="346" y="294"/>
                    <a:pt x="360" y="285"/>
                  </a:cubicBezTo>
                  <a:cubicBezTo>
                    <a:pt x="375" y="276"/>
                    <a:pt x="368" y="274"/>
                    <a:pt x="375" y="269"/>
                  </a:cubicBezTo>
                  <a:cubicBezTo>
                    <a:pt x="382" y="264"/>
                    <a:pt x="380" y="265"/>
                    <a:pt x="387" y="264"/>
                  </a:cubicBezTo>
                  <a:cubicBezTo>
                    <a:pt x="394" y="262"/>
                    <a:pt x="401" y="254"/>
                    <a:pt x="401" y="254"/>
                  </a:cubicBezTo>
                  <a:cubicBezTo>
                    <a:pt x="412" y="256"/>
                    <a:pt x="412" y="256"/>
                    <a:pt x="412" y="256"/>
                  </a:cubicBezTo>
                  <a:cubicBezTo>
                    <a:pt x="426" y="241"/>
                    <a:pt x="426" y="241"/>
                    <a:pt x="426" y="241"/>
                  </a:cubicBezTo>
                  <a:cubicBezTo>
                    <a:pt x="451" y="242"/>
                    <a:pt x="451" y="242"/>
                    <a:pt x="451" y="242"/>
                  </a:cubicBezTo>
                  <a:cubicBezTo>
                    <a:pt x="466" y="253"/>
                    <a:pt x="466" y="253"/>
                    <a:pt x="466" y="253"/>
                  </a:cubicBezTo>
                  <a:cubicBezTo>
                    <a:pt x="477" y="245"/>
                    <a:pt x="477" y="245"/>
                    <a:pt x="477" y="245"/>
                  </a:cubicBezTo>
                  <a:cubicBezTo>
                    <a:pt x="463" y="230"/>
                    <a:pt x="463" y="230"/>
                    <a:pt x="463" y="230"/>
                  </a:cubicBezTo>
                  <a:cubicBezTo>
                    <a:pt x="473" y="229"/>
                    <a:pt x="473" y="229"/>
                    <a:pt x="473" y="229"/>
                  </a:cubicBezTo>
                  <a:cubicBezTo>
                    <a:pt x="496" y="212"/>
                    <a:pt x="496" y="212"/>
                    <a:pt x="496" y="212"/>
                  </a:cubicBezTo>
                  <a:cubicBezTo>
                    <a:pt x="498" y="213"/>
                    <a:pt x="498" y="213"/>
                    <a:pt x="498" y="213"/>
                  </a:cubicBezTo>
                  <a:cubicBezTo>
                    <a:pt x="498" y="207"/>
                    <a:pt x="498" y="196"/>
                    <a:pt x="498" y="195"/>
                  </a:cubicBezTo>
                  <a:cubicBezTo>
                    <a:pt x="498" y="194"/>
                    <a:pt x="504" y="189"/>
                    <a:pt x="512" y="186"/>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8" name="Freeform 333">
              <a:extLst>
                <a:ext uri="{FF2B5EF4-FFF2-40B4-BE49-F238E27FC236}">
                  <a16:creationId xmlns:a16="http://schemas.microsoft.com/office/drawing/2014/main" id="{CD8F4B8F-8949-4FA2-A9C5-0D8AF677C53D}"/>
                </a:ext>
              </a:extLst>
            </p:cNvPr>
            <p:cNvSpPr>
              <a:spLocks noChangeAspect="1"/>
            </p:cNvSpPr>
            <p:nvPr/>
          </p:nvSpPr>
          <p:spPr bwMode="auto">
            <a:xfrm>
              <a:off x="13627" y="3344"/>
              <a:ext cx="467" cy="309"/>
            </a:xfrm>
            <a:custGeom>
              <a:avLst/>
              <a:gdLst/>
              <a:ahLst/>
              <a:cxnLst>
                <a:cxn ang="0">
                  <a:pos x="189" y="26"/>
                </a:cxn>
                <a:cxn ang="0">
                  <a:pos x="187" y="5"/>
                </a:cxn>
                <a:cxn ang="0">
                  <a:pos x="182" y="0"/>
                </a:cxn>
                <a:cxn ang="0">
                  <a:pos x="174" y="10"/>
                </a:cxn>
                <a:cxn ang="0">
                  <a:pos x="164" y="10"/>
                </a:cxn>
                <a:cxn ang="0">
                  <a:pos x="165" y="20"/>
                </a:cxn>
                <a:cxn ang="0">
                  <a:pos x="158" y="30"/>
                </a:cxn>
                <a:cxn ang="0">
                  <a:pos x="158" y="44"/>
                </a:cxn>
                <a:cxn ang="0">
                  <a:pos x="150" y="50"/>
                </a:cxn>
                <a:cxn ang="0">
                  <a:pos x="152" y="56"/>
                </a:cxn>
                <a:cxn ang="0">
                  <a:pos x="144" y="60"/>
                </a:cxn>
                <a:cxn ang="0">
                  <a:pos x="107" y="81"/>
                </a:cxn>
                <a:cxn ang="0">
                  <a:pos x="64" y="77"/>
                </a:cxn>
                <a:cxn ang="0">
                  <a:pos x="37" y="91"/>
                </a:cxn>
                <a:cxn ang="0">
                  <a:pos x="20" y="86"/>
                </a:cxn>
                <a:cxn ang="0">
                  <a:pos x="1" y="101"/>
                </a:cxn>
                <a:cxn ang="0">
                  <a:pos x="3" y="100"/>
                </a:cxn>
                <a:cxn ang="0">
                  <a:pos x="8" y="104"/>
                </a:cxn>
                <a:cxn ang="0">
                  <a:pos x="13" y="112"/>
                </a:cxn>
                <a:cxn ang="0">
                  <a:pos x="29" y="109"/>
                </a:cxn>
                <a:cxn ang="0">
                  <a:pos x="36" y="114"/>
                </a:cxn>
                <a:cxn ang="0">
                  <a:pos x="41" y="118"/>
                </a:cxn>
                <a:cxn ang="0">
                  <a:pos x="31" y="124"/>
                </a:cxn>
                <a:cxn ang="0">
                  <a:pos x="14" y="126"/>
                </a:cxn>
                <a:cxn ang="0">
                  <a:pos x="0" y="135"/>
                </a:cxn>
                <a:cxn ang="0">
                  <a:pos x="0" y="153"/>
                </a:cxn>
                <a:cxn ang="0">
                  <a:pos x="6" y="155"/>
                </a:cxn>
                <a:cxn ang="0">
                  <a:pos x="8" y="137"/>
                </a:cxn>
                <a:cxn ang="0">
                  <a:pos x="24" y="138"/>
                </a:cxn>
                <a:cxn ang="0">
                  <a:pos x="32" y="130"/>
                </a:cxn>
                <a:cxn ang="0">
                  <a:pos x="44" y="139"/>
                </a:cxn>
                <a:cxn ang="0">
                  <a:pos x="61" y="132"/>
                </a:cxn>
                <a:cxn ang="0">
                  <a:pos x="70" y="137"/>
                </a:cxn>
                <a:cxn ang="0">
                  <a:pos x="97" y="137"/>
                </a:cxn>
                <a:cxn ang="0">
                  <a:pos x="95" y="126"/>
                </a:cxn>
                <a:cxn ang="0">
                  <a:pos x="104" y="119"/>
                </a:cxn>
                <a:cxn ang="0">
                  <a:pos x="106" y="132"/>
                </a:cxn>
                <a:cxn ang="0">
                  <a:pos x="144" y="129"/>
                </a:cxn>
                <a:cxn ang="0">
                  <a:pos x="165" y="133"/>
                </a:cxn>
                <a:cxn ang="0">
                  <a:pos x="178" y="122"/>
                </a:cxn>
                <a:cxn ang="0">
                  <a:pos x="172" y="109"/>
                </a:cxn>
                <a:cxn ang="0">
                  <a:pos x="192" y="89"/>
                </a:cxn>
                <a:cxn ang="0">
                  <a:pos x="217" y="83"/>
                </a:cxn>
                <a:cxn ang="0">
                  <a:pos x="234" y="72"/>
                </a:cxn>
                <a:cxn ang="0">
                  <a:pos x="228" y="44"/>
                </a:cxn>
                <a:cxn ang="0">
                  <a:pos x="234" y="29"/>
                </a:cxn>
                <a:cxn ang="0">
                  <a:pos x="207" y="29"/>
                </a:cxn>
                <a:cxn ang="0">
                  <a:pos x="189" y="26"/>
                </a:cxn>
              </a:cxnLst>
              <a:rect l="0" t="0" r="r" b="b"/>
              <a:pathLst>
                <a:path w="234" h="155">
                  <a:moveTo>
                    <a:pt x="189" y="26"/>
                  </a:moveTo>
                  <a:cubicBezTo>
                    <a:pt x="189" y="26"/>
                    <a:pt x="187" y="9"/>
                    <a:pt x="187" y="5"/>
                  </a:cubicBezTo>
                  <a:cubicBezTo>
                    <a:pt x="187" y="0"/>
                    <a:pt x="182" y="0"/>
                    <a:pt x="182" y="0"/>
                  </a:cubicBezTo>
                  <a:cubicBezTo>
                    <a:pt x="174" y="10"/>
                    <a:pt x="174" y="10"/>
                    <a:pt x="174" y="10"/>
                  </a:cubicBezTo>
                  <a:cubicBezTo>
                    <a:pt x="164" y="10"/>
                    <a:pt x="164" y="10"/>
                    <a:pt x="164" y="10"/>
                  </a:cubicBezTo>
                  <a:cubicBezTo>
                    <a:pt x="165" y="20"/>
                    <a:pt x="165" y="20"/>
                    <a:pt x="165" y="20"/>
                  </a:cubicBezTo>
                  <a:cubicBezTo>
                    <a:pt x="165" y="20"/>
                    <a:pt x="158" y="28"/>
                    <a:pt x="158" y="30"/>
                  </a:cubicBezTo>
                  <a:cubicBezTo>
                    <a:pt x="158" y="31"/>
                    <a:pt x="158" y="44"/>
                    <a:pt x="158" y="44"/>
                  </a:cubicBezTo>
                  <a:cubicBezTo>
                    <a:pt x="150" y="50"/>
                    <a:pt x="150" y="50"/>
                    <a:pt x="150" y="50"/>
                  </a:cubicBezTo>
                  <a:cubicBezTo>
                    <a:pt x="152" y="56"/>
                    <a:pt x="152" y="56"/>
                    <a:pt x="152" y="56"/>
                  </a:cubicBezTo>
                  <a:cubicBezTo>
                    <a:pt x="152" y="56"/>
                    <a:pt x="152" y="59"/>
                    <a:pt x="144" y="60"/>
                  </a:cubicBezTo>
                  <a:cubicBezTo>
                    <a:pt x="136" y="61"/>
                    <a:pt x="107" y="81"/>
                    <a:pt x="107" y="81"/>
                  </a:cubicBezTo>
                  <a:cubicBezTo>
                    <a:pt x="107" y="81"/>
                    <a:pt x="65" y="77"/>
                    <a:pt x="64" y="77"/>
                  </a:cubicBezTo>
                  <a:cubicBezTo>
                    <a:pt x="62" y="77"/>
                    <a:pt x="38" y="90"/>
                    <a:pt x="37" y="91"/>
                  </a:cubicBezTo>
                  <a:cubicBezTo>
                    <a:pt x="36" y="91"/>
                    <a:pt x="20" y="86"/>
                    <a:pt x="20" y="86"/>
                  </a:cubicBezTo>
                  <a:cubicBezTo>
                    <a:pt x="1" y="101"/>
                    <a:pt x="1" y="101"/>
                    <a:pt x="1" y="101"/>
                  </a:cubicBezTo>
                  <a:cubicBezTo>
                    <a:pt x="3" y="100"/>
                    <a:pt x="3" y="100"/>
                    <a:pt x="3" y="100"/>
                  </a:cubicBezTo>
                  <a:cubicBezTo>
                    <a:pt x="3" y="100"/>
                    <a:pt x="6" y="97"/>
                    <a:pt x="8" y="104"/>
                  </a:cubicBezTo>
                  <a:cubicBezTo>
                    <a:pt x="10" y="111"/>
                    <a:pt x="5" y="112"/>
                    <a:pt x="13" y="112"/>
                  </a:cubicBezTo>
                  <a:cubicBezTo>
                    <a:pt x="21" y="112"/>
                    <a:pt x="29" y="109"/>
                    <a:pt x="29" y="109"/>
                  </a:cubicBezTo>
                  <a:cubicBezTo>
                    <a:pt x="36" y="114"/>
                    <a:pt x="36" y="114"/>
                    <a:pt x="36" y="114"/>
                  </a:cubicBezTo>
                  <a:cubicBezTo>
                    <a:pt x="41" y="118"/>
                    <a:pt x="41" y="118"/>
                    <a:pt x="41" y="118"/>
                  </a:cubicBezTo>
                  <a:cubicBezTo>
                    <a:pt x="41" y="118"/>
                    <a:pt x="34" y="124"/>
                    <a:pt x="31" y="124"/>
                  </a:cubicBezTo>
                  <a:cubicBezTo>
                    <a:pt x="28" y="124"/>
                    <a:pt x="23" y="124"/>
                    <a:pt x="14" y="126"/>
                  </a:cubicBezTo>
                  <a:cubicBezTo>
                    <a:pt x="6" y="129"/>
                    <a:pt x="0" y="134"/>
                    <a:pt x="0" y="135"/>
                  </a:cubicBezTo>
                  <a:cubicBezTo>
                    <a:pt x="0" y="136"/>
                    <a:pt x="0" y="147"/>
                    <a:pt x="0" y="153"/>
                  </a:cubicBezTo>
                  <a:cubicBezTo>
                    <a:pt x="6" y="155"/>
                    <a:pt x="6" y="155"/>
                    <a:pt x="6" y="155"/>
                  </a:cubicBezTo>
                  <a:cubicBezTo>
                    <a:pt x="8" y="137"/>
                    <a:pt x="8" y="137"/>
                    <a:pt x="8" y="137"/>
                  </a:cubicBezTo>
                  <a:cubicBezTo>
                    <a:pt x="24" y="138"/>
                    <a:pt x="24" y="138"/>
                    <a:pt x="24" y="138"/>
                  </a:cubicBezTo>
                  <a:cubicBezTo>
                    <a:pt x="32" y="130"/>
                    <a:pt x="32" y="130"/>
                    <a:pt x="32" y="130"/>
                  </a:cubicBezTo>
                  <a:cubicBezTo>
                    <a:pt x="32" y="130"/>
                    <a:pt x="44" y="139"/>
                    <a:pt x="44" y="139"/>
                  </a:cubicBezTo>
                  <a:cubicBezTo>
                    <a:pt x="45" y="140"/>
                    <a:pt x="50" y="132"/>
                    <a:pt x="61" y="132"/>
                  </a:cubicBezTo>
                  <a:cubicBezTo>
                    <a:pt x="72" y="132"/>
                    <a:pt x="70" y="137"/>
                    <a:pt x="70" y="137"/>
                  </a:cubicBezTo>
                  <a:cubicBezTo>
                    <a:pt x="97" y="137"/>
                    <a:pt x="97" y="137"/>
                    <a:pt x="97" y="137"/>
                  </a:cubicBezTo>
                  <a:cubicBezTo>
                    <a:pt x="95" y="126"/>
                    <a:pt x="95" y="126"/>
                    <a:pt x="95" y="126"/>
                  </a:cubicBezTo>
                  <a:cubicBezTo>
                    <a:pt x="104" y="119"/>
                    <a:pt x="104" y="119"/>
                    <a:pt x="104" y="119"/>
                  </a:cubicBezTo>
                  <a:cubicBezTo>
                    <a:pt x="106" y="132"/>
                    <a:pt x="106" y="132"/>
                    <a:pt x="106" y="132"/>
                  </a:cubicBezTo>
                  <a:cubicBezTo>
                    <a:pt x="106" y="132"/>
                    <a:pt x="131" y="130"/>
                    <a:pt x="144" y="129"/>
                  </a:cubicBezTo>
                  <a:cubicBezTo>
                    <a:pt x="157" y="129"/>
                    <a:pt x="165" y="133"/>
                    <a:pt x="165" y="133"/>
                  </a:cubicBezTo>
                  <a:cubicBezTo>
                    <a:pt x="178" y="122"/>
                    <a:pt x="178" y="122"/>
                    <a:pt x="178" y="122"/>
                  </a:cubicBezTo>
                  <a:cubicBezTo>
                    <a:pt x="172" y="109"/>
                    <a:pt x="172" y="109"/>
                    <a:pt x="172" y="109"/>
                  </a:cubicBezTo>
                  <a:cubicBezTo>
                    <a:pt x="172" y="109"/>
                    <a:pt x="190" y="89"/>
                    <a:pt x="192" y="89"/>
                  </a:cubicBezTo>
                  <a:cubicBezTo>
                    <a:pt x="194" y="89"/>
                    <a:pt x="207" y="87"/>
                    <a:pt x="217" y="83"/>
                  </a:cubicBezTo>
                  <a:cubicBezTo>
                    <a:pt x="228" y="79"/>
                    <a:pt x="234" y="72"/>
                    <a:pt x="234" y="72"/>
                  </a:cubicBezTo>
                  <a:cubicBezTo>
                    <a:pt x="228" y="44"/>
                    <a:pt x="228" y="44"/>
                    <a:pt x="228" y="44"/>
                  </a:cubicBezTo>
                  <a:cubicBezTo>
                    <a:pt x="234" y="29"/>
                    <a:pt x="234" y="29"/>
                    <a:pt x="234" y="29"/>
                  </a:cubicBezTo>
                  <a:cubicBezTo>
                    <a:pt x="207" y="29"/>
                    <a:pt x="207" y="29"/>
                    <a:pt x="207" y="29"/>
                  </a:cubicBezTo>
                  <a:lnTo>
                    <a:pt x="189" y="2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69" name="Freeform 334">
              <a:extLst>
                <a:ext uri="{FF2B5EF4-FFF2-40B4-BE49-F238E27FC236}">
                  <a16:creationId xmlns:a16="http://schemas.microsoft.com/office/drawing/2014/main" id="{02AA6ADD-8651-4870-8D41-0EE1D0D4B041}"/>
                </a:ext>
              </a:extLst>
            </p:cNvPr>
            <p:cNvSpPr>
              <a:spLocks noChangeAspect="1"/>
            </p:cNvSpPr>
            <p:nvPr/>
          </p:nvSpPr>
          <p:spPr bwMode="auto">
            <a:xfrm>
              <a:off x="12877" y="2540"/>
              <a:ext cx="1350" cy="1063"/>
            </a:xfrm>
            <a:custGeom>
              <a:avLst/>
              <a:gdLst/>
              <a:ahLst/>
              <a:cxnLst>
                <a:cxn ang="0">
                  <a:pos x="561" y="367"/>
                </a:cxn>
                <a:cxn ang="0">
                  <a:pos x="593" y="349"/>
                </a:cxn>
                <a:cxn ang="0">
                  <a:pos x="611" y="304"/>
                </a:cxn>
                <a:cxn ang="0">
                  <a:pos x="605" y="273"/>
                </a:cxn>
                <a:cxn ang="0">
                  <a:pos x="607" y="241"/>
                </a:cxn>
                <a:cxn ang="0">
                  <a:pos x="629" y="236"/>
                </a:cxn>
                <a:cxn ang="0">
                  <a:pos x="657" y="224"/>
                </a:cxn>
                <a:cxn ang="0">
                  <a:pos x="653" y="170"/>
                </a:cxn>
                <a:cxn ang="0">
                  <a:pos x="657" y="149"/>
                </a:cxn>
                <a:cxn ang="0">
                  <a:pos x="603" y="98"/>
                </a:cxn>
                <a:cxn ang="0">
                  <a:pos x="552" y="59"/>
                </a:cxn>
                <a:cxn ang="0">
                  <a:pos x="476" y="34"/>
                </a:cxn>
                <a:cxn ang="0">
                  <a:pos x="434" y="12"/>
                </a:cxn>
                <a:cxn ang="0">
                  <a:pos x="326" y="52"/>
                </a:cxn>
                <a:cxn ang="0">
                  <a:pos x="309" y="55"/>
                </a:cxn>
                <a:cxn ang="0">
                  <a:pos x="289" y="49"/>
                </a:cxn>
                <a:cxn ang="0">
                  <a:pos x="249" y="54"/>
                </a:cxn>
                <a:cxn ang="0">
                  <a:pos x="258" y="108"/>
                </a:cxn>
                <a:cxn ang="0">
                  <a:pos x="227" y="130"/>
                </a:cxn>
                <a:cxn ang="0">
                  <a:pos x="233" y="175"/>
                </a:cxn>
                <a:cxn ang="0">
                  <a:pos x="217" y="226"/>
                </a:cxn>
                <a:cxn ang="0">
                  <a:pos x="166" y="252"/>
                </a:cxn>
                <a:cxn ang="0">
                  <a:pos x="138" y="258"/>
                </a:cxn>
                <a:cxn ang="0">
                  <a:pos x="91" y="263"/>
                </a:cxn>
                <a:cxn ang="0">
                  <a:pos x="30" y="306"/>
                </a:cxn>
                <a:cxn ang="0">
                  <a:pos x="1" y="336"/>
                </a:cxn>
                <a:cxn ang="0">
                  <a:pos x="24" y="351"/>
                </a:cxn>
                <a:cxn ang="0">
                  <a:pos x="49" y="346"/>
                </a:cxn>
                <a:cxn ang="0">
                  <a:pos x="79" y="349"/>
                </a:cxn>
                <a:cxn ang="0">
                  <a:pos x="102" y="364"/>
                </a:cxn>
                <a:cxn ang="0">
                  <a:pos x="125" y="370"/>
                </a:cxn>
                <a:cxn ang="0">
                  <a:pos x="137" y="361"/>
                </a:cxn>
                <a:cxn ang="0">
                  <a:pos x="169" y="358"/>
                </a:cxn>
                <a:cxn ang="0">
                  <a:pos x="190" y="361"/>
                </a:cxn>
                <a:cxn ang="0">
                  <a:pos x="212" y="355"/>
                </a:cxn>
                <a:cxn ang="0">
                  <a:pos x="223" y="380"/>
                </a:cxn>
                <a:cxn ang="0">
                  <a:pos x="234" y="420"/>
                </a:cxn>
                <a:cxn ang="0">
                  <a:pos x="260" y="438"/>
                </a:cxn>
                <a:cxn ang="0">
                  <a:pos x="267" y="473"/>
                </a:cxn>
                <a:cxn ang="0">
                  <a:pos x="260" y="493"/>
                </a:cxn>
                <a:cxn ang="0">
                  <a:pos x="276" y="519"/>
                </a:cxn>
                <a:cxn ang="0">
                  <a:pos x="305" y="525"/>
                </a:cxn>
                <a:cxn ang="0">
                  <a:pos x="329" y="514"/>
                </a:cxn>
                <a:cxn ang="0">
                  <a:pos x="360" y="503"/>
                </a:cxn>
                <a:cxn ang="0">
                  <a:pos x="411" y="492"/>
                </a:cxn>
                <a:cxn ang="0">
                  <a:pos x="518" y="461"/>
                </a:cxn>
                <a:cxn ang="0">
                  <a:pos x="532" y="445"/>
                </a:cxn>
                <a:cxn ang="0">
                  <a:pos x="538" y="411"/>
                </a:cxn>
                <a:cxn ang="0">
                  <a:pos x="555" y="393"/>
                </a:cxn>
              </a:cxnLst>
              <a:rect l="0" t="0" r="r" b="b"/>
              <a:pathLst>
                <a:path w="675" h="531">
                  <a:moveTo>
                    <a:pt x="560" y="385"/>
                  </a:moveTo>
                  <a:cubicBezTo>
                    <a:pt x="553" y="377"/>
                    <a:pt x="553" y="377"/>
                    <a:pt x="553" y="377"/>
                  </a:cubicBezTo>
                  <a:cubicBezTo>
                    <a:pt x="561" y="367"/>
                    <a:pt x="561" y="367"/>
                    <a:pt x="561" y="367"/>
                  </a:cubicBezTo>
                  <a:cubicBezTo>
                    <a:pt x="586" y="366"/>
                    <a:pt x="586" y="366"/>
                    <a:pt x="586" y="366"/>
                  </a:cubicBezTo>
                  <a:cubicBezTo>
                    <a:pt x="587" y="353"/>
                    <a:pt x="587" y="353"/>
                    <a:pt x="587" y="353"/>
                  </a:cubicBezTo>
                  <a:cubicBezTo>
                    <a:pt x="593" y="349"/>
                    <a:pt x="593" y="349"/>
                    <a:pt x="593" y="349"/>
                  </a:cubicBezTo>
                  <a:cubicBezTo>
                    <a:pt x="597" y="334"/>
                    <a:pt x="597" y="334"/>
                    <a:pt x="597" y="334"/>
                  </a:cubicBezTo>
                  <a:cubicBezTo>
                    <a:pt x="597" y="334"/>
                    <a:pt x="612" y="328"/>
                    <a:pt x="612" y="322"/>
                  </a:cubicBezTo>
                  <a:cubicBezTo>
                    <a:pt x="612" y="316"/>
                    <a:pt x="620" y="309"/>
                    <a:pt x="611" y="304"/>
                  </a:cubicBezTo>
                  <a:cubicBezTo>
                    <a:pt x="602" y="299"/>
                    <a:pt x="591" y="285"/>
                    <a:pt x="591" y="285"/>
                  </a:cubicBezTo>
                  <a:cubicBezTo>
                    <a:pt x="612" y="283"/>
                    <a:pt x="612" y="283"/>
                    <a:pt x="612" y="283"/>
                  </a:cubicBezTo>
                  <a:cubicBezTo>
                    <a:pt x="612" y="283"/>
                    <a:pt x="605" y="275"/>
                    <a:pt x="605" y="273"/>
                  </a:cubicBezTo>
                  <a:cubicBezTo>
                    <a:pt x="605" y="272"/>
                    <a:pt x="608" y="265"/>
                    <a:pt x="608" y="265"/>
                  </a:cubicBezTo>
                  <a:cubicBezTo>
                    <a:pt x="598" y="258"/>
                    <a:pt x="598" y="258"/>
                    <a:pt x="598" y="258"/>
                  </a:cubicBezTo>
                  <a:cubicBezTo>
                    <a:pt x="598" y="258"/>
                    <a:pt x="599" y="241"/>
                    <a:pt x="607" y="241"/>
                  </a:cubicBezTo>
                  <a:cubicBezTo>
                    <a:pt x="615" y="241"/>
                    <a:pt x="617" y="241"/>
                    <a:pt x="617" y="241"/>
                  </a:cubicBezTo>
                  <a:cubicBezTo>
                    <a:pt x="617" y="241"/>
                    <a:pt x="616" y="236"/>
                    <a:pt x="617" y="236"/>
                  </a:cubicBezTo>
                  <a:cubicBezTo>
                    <a:pt x="619" y="236"/>
                    <a:pt x="629" y="236"/>
                    <a:pt x="629" y="236"/>
                  </a:cubicBezTo>
                  <a:cubicBezTo>
                    <a:pt x="629" y="230"/>
                    <a:pt x="629" y="230"/>
                    <a:pt x="629" y="230"/>
                  </a:cubicBezTo>
                  <a:cubicBezTo>
                    <a:pt x="654" y="229"/>
                    <a:pt x="654" y="229"/>
                    <a:pt x="654" y="229"/>
                  </a:cubicBezTo>
                  <a:cubicBezTo>
                    <a:pt x="657" y="224"/>
                    <a:pt x="657" y="224"/>
                    <a:pt x="657" y="224"/>
                  </a:cubicBezTo>
                  <a:cubicBezTo>
                    <a:pt x="629" y="197"/>
                    <a:pt x="629" y="197"/>
                    <a:pt x="629" y="197"/>
                  </a:cubicBezTo>
                  <a:cubicBezTo>
                    <a:pt x="635" y="171"/>
                    <a:pt x="635" y="171"/>
                    <a:pt x="635" y="171"/>
                  </a:cubicBezTo>
                  <a:cubicBezTo>
                    <a:pt x="653" y="170"/>
                    <a:pt x="653" y="170"/>
                    <a:pt x="653" y="170"/>
                  </a:cubicBezTo>
                  <a:cubicBezTo>
                    <a:pt x="645" y="160"/>
                    <a:pt x="645" y="160"/>
                    <a:pt x="645" y="160"/>
                  </a:cubicBezTo>
                  <a:cubicBezTo>
                    <a:pt x="650" y="149"/>
                    <a:pt x="650" y="149"/>
                    <a:pt x="650" y="149"/>
                  </a:cubicBezTo>
                  <a:cubicBezTo>
                    <a:pt x="657" y="149"/>
                    <a:pt x="657" y="149"/>
                    <a:pt x="657" y="149"/>
                  </a:cubicBezTo>
                  <a:cubicBezTo>
                    <a:pt x="657" y="149"/>
                    <a:pt x="670" y="132"/>
                    <a:pt x="672" y="123"/>
                  </a:cubicBezTo>
                  <a:cubicBezTo>
                    <a:pt x="675" y="114"/>
                    <a:pt x="622" y="94"/>
                    <a:pt x="614" y="92"/>
                  </a:cubicBezTo>
                  <a:cubicBezTo>
                    <a:pt x="606" y="89"/>
                    <a:pt x="603" y="98"/>
                    <a:pt x="603" y="98"/>
                  </a:cubicBezTo>
                  <a:cubicBezTo>
                    <a:pt x="586" y="98"/>
                    <a:pt x="586" y="98"/>
                    <a:pt x="586" y="98"/>
                  </a:cubicBezTo>
                  <a:cubicBezTo>
                    <a:pt x="586" y="85"/>
                    <a:pt x="586" y="85"/>
                    <a:pt x="586" y="85"/>
                  </a:cubicBezTo>
                  <a:cubicBezTo>
                    <a:pt x="552" y="59"/>
                    <a:pt x="552" y="59"/>
                    <a:pt x="552" y="59"/>
                  </a:cubicBezTo>
                  <a:cubicBezTo>
                    <a:pt x="552" y="59"/>
                    <a:pt x="548" y="65"/>
                    <a:pt x="547" y="66"/>
                  </a:cubicBezTo>
                  <a:cubicBezTo>
                    <a:pt x="546" y="68"/>
                    <a:pt x="521" y="62"/>
                    <a:pt x="521" y="62"/>
                  </a:cubicBezTo>
                  <a:cubicBezTo>
                    <a:pt x="521" y="62"/>
                    <a:pt x="487" y="36"/>
                    <a:pt x="476" y="34"/>
                  </a:cubicBezTo>
                  <a:cubicBezTo>
                    <a:pt x="465" y="32"/>
                    <a:pt x="457" y="41"/>
                    <a:pt x="457" y="41"/>
                  </a:cubicBezTo>
                  <a:cubicBezTo>
                    <a:pt x="429" y="28"/>
                    <a:pt x="429" y="28"/>
                    <a:pt x="429" y="28"/>
                  </a:cubicBezTo>
                  <a:cubicBezTo>
                    <a:pt x="429" y="28"/>
                    <a:pt x="434" y="25"/>
                    <a:pt x="434" y="12"/>
                  </a:cubicBezTo>
                  <a:cubicBezTo>
                    <a:pt x="433" y="0"/>
                    <a:pt x="393" y="13"/>
                    <a:pt x="393" y="13"/>
                  </a:cubicBezTo>
                  <a:cubicBezTo>
                    <a:pt x="393" y="13"/>
                    <a:pt x="369" y="28"/>
                    <a:pt x="364" y="34"/>
                  </a:cubicBezTo>
                  <a:cubicBezTo>
                    <a:pt x="358" y="40"/>
                    <a:pt x="332" y="51"/>
                    <a:pt x="326" y="52"/>
                  </a:cubicBezTo>
                  <a:cubicBezTo>
                    <a:pt x="320" y="52"/>
                    <a:pt x="300" y="71"/>
                    <a:pt x="300" y="71"/>
                  </a:cubicBezTo>
                  <a:cubicBezTo>
                    <a:pt x="300" y="71"/>
                    <a:pt x="297" y="64"/>
                    <a:pt x="297" y="63"/>
                  </a:cubicBezTo>
                  <a:cubicBezTo>
                    <a:pt x="297" y="62"/>
                    <a:pt x="309" y="55"/>
                    <a:pt x="309" y="55"/>
                  </a:cubicBezTo>
                  <a:cubicBezTo>
                    <a:pt x="301" y="49"/>
                    <a:pt x="301" y="49"/>
                    <a:pt x="301" y="49"/>
                  </a:cubicBezTo>
                  <a:cubicBezTo>
                    <a:pt x="301" y="46"/>
                    <a:pt x="301" y="46"/>
                    <a:pt x="301" y="46"/>
                  </a:cubicBezTo>
                  <a:cubicBezTo>
                    <a:pt x="289" y="49"/>
                    <a:pt x="289" y="49"/>
                    <a:pt x="289" y="49"/>
                  </a:cubicBezTo>
                  <a:cubicBezTo>
                    <a:pt x="289" y="49"/>
                    <a:pt x="287" y="44"/>
                    <a:pt x="274" y="38"/>
                  </a:cubicBezTo>
                  <a:cubicBezTo>
                    <a:pt x="261" y="32"/>
                    <a:pt x="272" y="59"/>
                    <a:pt x="272" y="60"/>
                  </a:cubicBezTo>
                  <a:cubicBezTo>
                    <a:pt x="272" y="62"/>
                    <a:pt x="252" y="52"/>
                    <a:pt x="249" y="54"/>
                  </a:cubicBezTo>
                  <a:cubicBezTo>
                    <a:pt x="245" y="57"/>
                    <a:pt x="254" y="78"/>
                    <a:pt x="254" y="78"/>
                  </a:cubicBezTo>
                  <a:cubicBezTo>
                    <a:pt x="244" y="84"/>
                    <a:pt x="244" y="84"/>
                    <a:pt x="244" y="84"/>
                  </a:cubicBezTo>
                  <a:cubicBezTo>
                    <a:pt x="258" y="108"/>
                    <a:pt x="258" y="108"/>
                    <a:pt x="258" y="108"/>
                  </a:cubicBezTo>
                  <a:cubicBezTo>
                    <a:pt x="237" y="109"/>
                    <a:pt x="237" y="109"/>
                    <a:pt x="237" y="109"/>
                  </a:cubicBezTo>
                  <a:cubicBezTo>
                    <a:pt x="225" y="116"/>
                    <a:pt x="225" y="116"/>
                    <a:pt x="225" y="116"/>
                  </a:cubicBezTo>
                  <a:cubicBezTo>
                    <a:pt x="225" y="116"/>
                    <a:pt x="227" y="130"/>
                    <a:pt x="227" y="130"/>
                  </a:cubicBezTo>
                  <a:cubicBezTo>
                    <a:pt x="227" y="131"/>
                    <a:pt x="221" y="134"/>
                    <a:pt x="218" y="139"/>
                  </a:cubicBezTo>
                  <a:cubicBezTo>
                    <a:pt x="214" y="145"/>
                    <a:pt x="229" y="157"/>
                    <a:pt x="231" y="158"/>
                  </a:cubicBezTo>
                  <a:cubicBezTo>
                    <a:pt x="232" y="159"/>
                    <a:pt x="235" y="170"/>
                    <a:pt x="233" y="175"/>
                  </a:cubicBezTo>
                  <a:cubicBezTo>
                    <a:pt x="231" y="179"/>
                    <a:pt x="213" y="199"/>
                    <a:pt x="212" y="201"/>
                  </a:cubicBezTo>
                  <a:cubicBezTo>
                    <a:pt x="211" y="203"/>
                    <a:pt x="220" y="206"/>
                    <a:pt x="228" y="211"/>
                  </a:cubicBezTo>
                  <a:cubicBezTo>
                    <a:pt x="236" y="216"/>
                    <a:pt x="217" y="226"/>
                    <a:pt x="217" y="226"/>
                  </a:cubicBezTo>
                  <a:cubicBezTo>
                    <a:pt x="227" y="236"/>
                    <a:pt x="227" y="236"/>
                    <a:pt x="227" y="236"/>
                  </a:cubicBezTo>
                  <a:cubicBezTo>
                    <a:pt x="227" y="236"/>
                    <a:pt x="189" y="263"/>
                    <a:pt x="188" y="264"/>
                  </a:cubicBezTo>
                  <a:cubicBezTo>
                    <a:pt x="188" y="265"/>
                    <a:pt x="166" y="252"/>
                    <a:pt x="166" y="252"/>
                  </a:cubicBezTo>
                  <a:cubicBezTo>
                    <a:pt x="154" y="258"/>
                    <a:pt x="154" y="258"/>
                    <a:pt x="154" y="258"/>
                  </a:cubicBezTo>
                  <a:cubicBezTo>
                    <a:pt x="146" y="252"/>
                    <a:pt x="146" y="252"/>
                    <a:pt x="146" y="252"/>
                  </a:cubicBezTo>
                  <a:cubicBezTo>
                    <a:pt x="138" y="258"/>
                    <a:pt x="138" y="258"/>
                    <a:pt x="138" y="258"/>
                  </a:cubicBezTo>
                  <a:cubicBezTo>
                    <a:pt x="119" y="255"/>
                    <a:pt x="119" y="255"/>
                    <a:pt x="119" y="255"/>
                  </a:cubicBezTo>
                  <a:cubicBezTo>
                    <a:pt x="98" y="274"/>
                    <a:pt x="98" y="274"/>
                    <a:pt x="98" y="274"/>
                  </a:cubicBezTo>
                  <a:cubicBezTo>
                    <a:pt x="91" y="263"/>
                    <a:pt x="91" y="263"/>
                    <a:pt x="91" y="263"/>
                  </a:cubicBezTo>
                  <a:cubicBezTo>
                    <a:pt x="91" y="263"/>
                    <a:pt x="78" y="271"/>
                    <a:pt x="76" y="273"/>
                  </a:cubicBezTo>
                  <a:cubicBezTo>
                    <a:pt x="74" y="274"/>
                    <a:pt x="68" y="274"/>
                    <a:pt x="44" y="277"/>
                  </a:cubicBezTo>
                  <a:cubicBezTo>
                    <a:pt x="19" y="281"/>
                    <a:pt x="30" y="306"/>
                    <a:pt x="30" y="306"/>
                  </a:cubicBezTo>
                  <a:cubicBezTo>
                    <a:pt x="30" y="306"/>
                    <a:pt x="20" y="306"/>
                    <a:pt x="17" y="306"/>
                  </a:cubicBezTo>
                  <a:cubicBezTo>
                    <a:pt x="14" y="306"/>
                    <a:pt x="9" y="330"/>
                    <a:pt x="9" y="331"/>
                  </a:cubicBezTo>
                  <a:cubicBezTo>
                    <a:pt x="9" y="332"/>
                    <a:pt x="1" y="336"/>
                    <a:pt x="1" y="336"/>
                  </a:cubicBezTo>
                  <a:cubicBezTo>
                    <a:pt x="0" y="360"/>
                    <a:pt x="0" y="360"/>
                    <a:pt x="0" y="360"/>
                  </a:cubicBezTo>
                  <a:cubicBezTo>
                    <a:pt x="6" y="356"/>
                    <a:pt x="15" y="349"/>
                    <a:pt x="15" y="349"/>
                  </a:cubicBezTo>
                  <a:cubicBezTo>
                    <a:pt x="24" y="351"/>
                    <a:pt x="24" y="351"/>
                    <a:pt x="24" y="351"/>
                  </a:cubicBezTo>
                  <a:cubicBezTo>
                    <a:pt x="24" y="351"/>
                    <a:pt x="33" y="341"/>
                    <a:pt x="34" y="341"/>
                  </a:cubicBezTo>
                  <a:cubicBezTo>
                    <a:pt x="35" y="342"/>
                    <a:pt x="40" y="349"/>
                    <a:pt x="40" y="349"/>
                  </a:cubicBezTo>
                  <a:cubicBezTo>
                    <a:pt x="49" y="346"/>
                    <a:pt x="49" y="346"/>
                    <a:pt x="49" y="346"/>
                  </a:cubicBezTo>
                  <a:cubicBezTo>
                    <a:pt x="49" y="346"/>
                    <a:pt x="50" y="353"/>
                    <a:pt x="51" y="353"/>
                  </a:cubicBezTo>
                  <a:cubicBezTo>
                    <a:pt x="52" y="353"/>
                    <a:pt x="72" y="353"/>
                    <a:pt x="72" y="353"/>
                  </a:cubicBezTo>
                  <a:cubicBezTo>
                    <a:pt x="79" y="349"/>
                    <a:pt x="79" y="349"/>
                    <a:pt x="79" y="349"/>
                  </a:cubicBezTo>
                  <a:cubicBezTo>
                    <a:pt x="93" y="350"/>
                    <a:pt x="93" y="350"/>
                    <a:pt x="93" y="350"/>
                  </a:cubicBezTo>
                  <a:cubicBezTo>
                    <a:pt x="93" y="350"/>
                    <a:pt x="96" y="355"/>
                    <a:pt x="97" y="355"/>
                  </a:cubicBezTo>
                  <a:cubicBezTo>
                    <a:pt x="98" y="355"/>
                    <a:pt x="102" y="364"/>
                    <a:pt x="102" y="364"/>
                  </a:cubicBezTo>
                  <a:cubicBezTo>
                    <a:pt x="102" y="364"/>
                    <a:pt x="105" y="374"/>
                    <a:pt x="112" y="374"/>
                  </a:cubicBezTo>
                  <a:cubicBezTo>
                    <a:pt x="118" y="374"/>
                    <a:pt x="120" y="364"/>
                    <a:pt x="120" y="364"/>
                  </a:cubicBezTo>
                  <a:cubicBezTo>
                    <a:pt x="120" y="364"/>
                    <a:pt x="125" y="365"/>
                    <a:pt x="125" y="370"/>
                  </a:cubicBezTo>
                  <a:cubicBezTo>
                    <a:pt x="125" y="375"/>
                    <a:pt x="123" y="383"/>
                    <a:pt x="127" y="383"/>
                  </a:cubicBezTo>
                  <a:cubicBezTo>
                    <a:pt x="132" y="383"/>
                    <a:pt x="132" y="367"/>
                    <a:pt x="132" y="367"/>
                  </a:cubicBezTo>
                  <a:cubicBezTo>
                    <a:pt x="137" y="361"/>
                    <a:pt x="137" y="361"/>
                    <a:pt x="137" y="361"/>
                  </a:cubicBezTo>
                  <a:cubicBezTo>
                    <a:pt x="137" y="361"/>
                    <a:pt x="143" y="369"/>
                    <a:pt x="146" y="366"/>
                  </a:cubicBezTo>
                  <a:cubicBezTo>
                    <a:pt x="149" y="362"/>
                    <a:pt x="169" y="363"/>
                    <a:pt x="169" y="363"/>
                  </a:cubicBezTo>
                  <a:cubicBezTo>
                    <a:pt x="169" y="358"/>
                    <a:pt x="169" y="358"/>
                    <a:pt x="169" y="358"/>
                  </a:cubicBezTo>
                  <a:cubicBezTo>
                    <a:pt x="169" y="358"/>
                    <a:pt x="176" y="364"/>
                    <a:pt x="180" y="363"/>
                  </a:cubicBezTo>
                  <a:cubicBezTo>
                    <a:pt x="183" y="363"/>
                    <a:pt x="183" y="359"/>
                    <a:pt x="183" y="359"/>
                  </a:cubicBezTo>
                  <a:cubicBezTo>
                    <a:pt x="190" y="361"/>
                    <a:pt x="190" y="361"/>
                    <a:pt x="190" y="361"/>
                  </a:cubicBezTo>
                  <a:cubicBezTo>
                    <a:pt x="190" y="361"/>
                    <a:pt x="191" y="353"/>
                    <a:pt x="197" y="353"/>
                  </a:cubicBezTo>
                  <a:cubicBezTo>
                    <a:pt x="204" y="354"/>
                    <a:pt x="206" y="359"/>
                    <a:pt x="206" y="359"/>
                  </a:cubicBezTo>
                  <a:cubicBezTo>
                    <a:pt x="212" y="355"/>
                    <a:pt x="212" y="355"/>
                    <a:pt x="212" y="355"/>
                  </a:cubicBezTo>
                  <a:cubicBezTo>
                    <a:pt x="212" y="355"/>
                    <a:pt x="215" y="359"/>
                    <a:pt x="219" y="361"/>
                  </a:cubicBezTo>
                  <a:cubicBezTo>
                    <a:pt x="222" y="362"/>
                    <a:pt x="229" y="368"/>
                    <a:pt x="229" y="368"/>
                  </a:cubicBezTo>
                  <a:cubicBezTo>
                    <a:pt x="223" y="380"/>
                    <a:pt x="223" y="380"/>
                    <a:pt x="223" y="380"/>
                  </a:cubicBezTo>
                  <a:cubicBezTo>
                    <a:pt x="223" y="380"/>
                    <a:pt x="238" y="394"/>
                    <a:pt x="237" y="396"/>
                  </a:cubicBezTo>
                  <a:cubicBezTo>
                    <a:pt x="236" y="397"/>
                    <a:pt x="227" y="399"/>
                    <a:pt x="228" y="407"/>
                  </a:cubicBezTo>
                  <a:cubicBezTo>
                    <a:pt x="229" y="414"/>
                    <a:pt x="233" y="413"/>
                    <a:pt x="234" y="420"/>
                  </a:cubicBezTo>
                  <a:cubicBezTo>
                    <a:pt x="234" y="427"/>
                    <a:pt x="239" y="427"/>
                    <a:pt x="241" y="431"/>
                  </a:cubicBezTo>
                  <a:cubicBezTo>
                    <a:pt x="243" y="435"/>
                    <a:pt x="243" y="443"/>
                    <a:pt x="243" y="443"/>
                  </a:cubicBezTo>
                  <a:cubicBezTo>
                    <a:pt x="243" y="443"/>
                    <a:pt x="247" y="435"/>
                    <a:pt x="260" y="438"/>
                  </a:cubicBezTo>
                  <a:cubicBezTo>
                    <a:pt x="273" y="440"/>
                    <a:pt x="273" y="452"/>
                    <a:pt x="271" y="454"/>
                  </a:cubicBezTo>
                  <a:cubicBezTo>
                    <a:pt x="269" y="456"/>
                    <a:pt x="262" y="468"/>
                    <a:pt x="262" y="468"/>
                  </a:cubicBezTo>
                  <a:cubicBezTo>
                    <a:pt x="267" y="473"/>
                    <a:pt x="267" y="473"/>
                    <a:pt x="267" y="473"/>
                  </a:cubicBezTo>
                  <a:cubicBezTo>
                    <a:pt x="259" y="477"/>
                    <a:pt x="259" y="477"/>
                    <a:pt x="259" y="477"/>
                  </a:cubicBezTo>
                  <a:cubicBezTo>
                    <a:pt x="268" y="482"/>
                    <a:pt x="268" y="482"/>
                    <a:pt x="268" y="482"/>
                  </a:cubicBezTo>
                  <a:cubicBezTo>
                    <a:pt x="268" y="482"/>
                    <a:pt x="264" y="493"/>
                    <a:pt x="260" y="493"/>
                  </a:cubicBezTo>
                  <a:cubicBezTo>
                    <a:pt x="256" y="493"/>
                    <a:pt x="258" y="500"/>
                    <a:pt x="264" y="502"/>
                  </a:cubicBezTo>
                  <a:cubicBezTo>
                    <a:pt x="269" y="503"/>
                    <a:pt x="276" y="507"/>
                    <a:pt x="276" y="507"/>
                  </a:cubicBezTo>
                  <a:cubicBezTo>
                    <a:pt x="276" y="519"/>
                    <a:pt x="276" y="519"/>
                    <a:pt x="276" y="519"/>
                  </a:cubicBezTo>
                  <a:cubicBezTo>
                    <a:pt x="286" y="530"/>
                    <a:pt x="286" y="530"/>
                    <a:pt x="286" y="530"/>
                  </a:cubicBezTo>
                  <a:cubicBezTo>
                    <a:pt x="300" y="531"/>
                    <a:pt x="300" y="531"/>
                    <a:pt x="300" y="531"/>
                  </a:cubicBezTo>
                  <a:cubicBezTo>
                    <a:pt x="305" y="525"/>
                    <a:pt x="305" y="525"/>
                    <a:pt x="305" y="525"/>
                  </a:cubicBezTo>
                  <a:cubicBezTo>
                    <a:pt x="316" y="525"/>
                    <a:pt x="316" y="525"/>
                    <a:pt x="316" y="525"/>
                  </a:cubicBezTo>
                  <a:cubicBezTo>
                    <a:pt x="322" y="511"/>
                    <a:pt x="322" y="511"/>
                    <a:pt x="322" y="511"/>
                  </a:cubicBezTo>
                  <a:cubicBezTo>
                    <a:pt x="329" y="514"/>
                    <a:pt x="329" y="514"/>
                    <a:pt x="329" y="514"/>
                  </a:cubicBezTo>
                  <a:cubicBezTo>
                    <a:pt x="331" y="510"/>
                    <a:pt x="331" y="510"/>
                    <a:pt x="331" y="510"/>
                  </a:cubicBezTo>
                  <a:cubicBezTo>
                    <a:pt x="331" y="510"/>
                    <a:pt x="340" y="516"/>
                    <a:pt x="347" y="514"/>
                  </a:cubicBezTo>
                  <a:cubicBezTo>
                    <a:pt x="353" y="511"/>
                    <a:pt x="360" y="503"/>
                    <a:pt x="360" y="503"/>
                  </a:cubicBezTo>
                  <a:cubicBezTo>
                    <a:pt x="375" y="502"/>
                    <a:pt x="375" y="502"/>
                    <a:pt x="375" y="502"/>
                  </a:cubicBezTo>
                  <a:cubicBezTo>
                    <a:pt x="394" y="487"/>
                    <a:pt x="394" y="487"/>
                    <a:pt x="394" y="487"/>
                  </a:cubicBezTo>
                  <a:cubicBezTo>
                    <a:pt x="394" y="487"/>
                    <a:pt x="410" y="492"/>
                    <a:pt x="411" y="492"/>
                  </a:cubicBezTo>
                  <a:cubicBezTo>
                    <a:pt x="412" y="491"/>
                    <a:pt x="436" y="478"/>
                    <a:pt x="438" y="478"/>
                  </a:cubicBezTo>
                  <a:cubicBezTo>
                    <a:pt x="439" y="478"/>
                    <a:pt x="481" y="482"/>
                    <a:pt x="481" y="482"/>
                  </a:cubicBezTo>
                  <a:cubicBezTo>
                    <a:pt x="481" y="482"/>
                    <a:pt x="510" y="462"/>
                    <a:pt x="518" y="461"/>
                  </a:cubicBezTo>
                  <a:cubicBezTo>
                    <a:pt x="526" y="460"/>
                    <a:pt x="526" y="457"/>
                    <a:pt x="526" y="457"/>
                  </a:cubicBezTo>
                  <a:cubicBezTo>
                    <a:pt x="524" y="451"/>
                    <a:pt x="524" y="451"/>
                    <a:pt x="524" y="451"/>
                  </a:cubicBezTo>
                  <a:cubicBezTo>
                    <a:pt x="532" y="445"/>
                    <a:pt x="532" y="445"/>
                    <a:pt x="532" y="445"/>
                  </a:cubicBezTo>
                  <a:cubicBezTo>
                    <a:pt x="532" y="445"/>
                    <a:pt x="532" y="432"/>
                    <a:pt x="532" y="431"/>
                  </a:cubicBezTo>
                  <a:cubicBezTo>
                    <a:pt x="532" y="429"/>
                    <a:pt x="539" y="421"/>
                    <a:pt x="539" y="421"/>
                  </a:cubicBezTo>
                  <a:cubicBezTo>
                    <a:pt x="538" y="411"/>
                    <a:pt x="538" y="411"/>
                    <a:pt x="538" y="411"/>
                  </a:cubicBezTo>
                  <a:cubicBezTo>
                    <a:pt x="548" y="411"/>
                    <a:pt x="548" y="411"/>
                    <a:pt x="548" y="411"/>
                  </a:cubicBezTo>
                  <a:cubicBezTo>
                    <a:pt x="556" y="401"/>
                    <a:pt x="556" y="401"/>
                    <a:pt x="556" y="401"/>
                  </a:cubicBezTo>
                  <a:cubicBezTo>
                    <a:pt x="556" y="397"/>
                    <a:pt x="555" y="393"/>
                    <a:pt x="555" y="393"/>
                  </a:cubicBezTo>
                  <a:lnTo>
                    <a:pt x="560" y="38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70" name="Freeform 335">
              <a:extLst>
                <a:ext uri="{FF2B5EF4-FFF2-40B4-BE49-F238E27FC236}">
                  <a16:creationId xmlns:a16="http://schemas.microsoft.com/office/drawing/2014/main" id="{23580FF5-0213-4230-A7AD-7EE29BAD3B63}"/>
                </a:ext>
              </a:extLst>
            </p:cNvPr>
            <p:cNvSpPr>
              <a:spLocks noChangeAspect="1"/>
            </p:cNvSpPr>
            <p:nvPr/>
          </p:nvSpPr>
          <p:spPr bwMode="auto">
            <a:xfrm>
              <a:off x="13984" y="3001"/>
              <a:ext cx="257" cy="401"/>
            </a:xfrm>
            <a:custGeom>
              <a:avLst/>
              <a:gdLst/>
              <a:ahLst/>
              <a:cxnLst>
                <a:cxn ang="0">
                  <a:pos x="8" y="177"/>
                </a:cxn>
                <a:cxn ang="0">
                  <a:pos x="10" y="198"/>
                </a:cxn>
                <a:cxn ang="0">
                  <a:pos x="28" y="201"/>
                </a:cxn>
                <a:cxn ang="0">
                  <a:pos x="55" y="201"/>
                </a:cxn>
                <a:cxn ang="0">
                  <a:pos x="65" y="177"/>
                </a:cxn>
                <a:cxn ang="0">
                  <a:pos x="77" y="178"/>
                </a:cxn>
                <a:cxn ang="0">
                  <a:pos x="78" y="165"/>
                </a:cxn>
                <a:cxn ang="0">
                  <a:pos x="87" y="165"/>
                </a:cxn>
                <a:cxn ang="0">
                  <a:pos x="102" y="140"/>
                </a:cxn>
                <a:cxn ang="0">
                  <a:pos x="102" y="124"/>
                </a:cxn>
                <a:cxn ang="0">
                  <a:pos x="115" y="107"/>
                </a:cxn>
                <a:cxn ang="0">
                  <a:pos x="123" y="109"/>
                </a:cxn>
                <a:cxn ang="0">
                  <a:pos x="129" y="92"/>
                </a:cxn>
                <a:cxn ang="0">
                  <a:pos x="129" y="22"/>
                </a:cxn>
                <a:cxn ang="0">
                  <a:pos x="99" y="4"/>
                </a:cxn>
                <a:cxn ang="0">
                  <a:pos x="101" y="0"/>
                </a:cxn>
                <a:cxn ang="0">
                  <a:pos x="76" y="1"/>
                </a:cxn>
                <a:cxn ang="0">
                  <a:pos x="76" y="7"/>
                </a:cxn>
                <a:cxn ang="0">
                  <a:pos x="64" y="7"/>
                </a:cxn>
                <a:cxn ang="0">
                  <a:pos x="64" y="12"/>
                </a:cxn>
                <a:cxn ang="0">
                  <a:pos x="54" y="12"/>
                </a:cxn>
                <a:cxn ang="0">
                  <a:pos x="45" y="29"/>
                </a:cxn>
                <a:cxn ang="0">
                  <a:pos x="55" y="36"/>
                </a:cxn>
                <a:cxn ang="0">
                  <a:pos x="52" y="44"/>
                </a:cxn>
                <a:cxn ang="0">
                  <a:pos x="59" y="54"/>
                </a:cxn>
                <a:cxn ang="0">
                  <a:pos x="38" y="56"/>
                </a:cxn>
                <a:cxn ang="0">
                  <a:pos x="58" y="75"/>
                </a:cxn>
                <a:cxn ang="0">
                  <a:pos x="59" y="93"/>
                </a:cxn>
                <a:cxn ang="0">
                  <a:pos x="44" y="105"/>
                </a:cxn>
                <a:cxn ang="0">
                  <a:pos x="40" y="120"/>
                </a:cxn>
                <a:cxn ang="0">
                  <a:pos x="34" y="124"/>
                </a:cxn>
                <a:cxn ang="0">
                  <a:pos x="33" y="137"/>
                </a:cxn>
                <a:cxn ang="0">
                  <a:pos x="8" y="138"/>
                </a:cxn>
                <a:cxn ang="0">
                  <a:pos x="0" y="148"/>
                </a:cxn>
                <a:cxn ang="0">
                  <a:pos x="7" y="156"/>
                </a:cxn>
                <a:cxn ang="0">
                  <a:pos x="2" y="164"/>
                </a:cxn>
                <a:cxn ang="0">
                  <a:pos x="3" y="172"/>
                </a:cxn>
                <a:cxn ang="0">
                  <a:pos x="3" y="172"/>
                </a:cxn>
                <a:cxn ang="0">
                  <a:pos x="8" y="177"/>
                </a:cxn>
              </a:cxnLst>
              <a:rect l="0" t="0" r="r" b="b"/>
              <a:pathLst>
                <a:path w="129" h="201">
                  <a:moveTo>
                    <a:pt x="8" y="177"/>
                  </a:moveTo>
                  <a:cubicBezTo>
                    <a:pt x="8" y="181"/>
                    <a:pt x="10" y="198"/>
                    <a:pt x="10" y="198"/>
                  </a:cubicBezTo>
                  <a:cubicBezTo>
                    <a:pt x="28" y="201"/>
                    <a:pt x="28" y="201"/>
                    <a:pt x="28" y="201"/>
                  </a:cubicBezTo>
                  <a:cubicBezTo>
                    <a:pt x="55" y="201"/>
                    <a:pt x="55" y="201"/>
                    <a:pt x="55" y="201"/>
                  </a:cubicBezTo>
                  <a:cubicBezTo>
                    <a:pt x="65" y="177"/>
                    <a:pt x="65" y="177"/>
                    <a:pt x="65" y="177"/>
                  </a:cubicBezTo>
                  <a:cubicBezTo>
                    <a:pt x="77" y="178"/>
                    <a:pt x="77" y="178"/>
                    <a:pt x="77" y="178"/>
                  </a:cubicBezTo>
                  <a:cubicBezTo>
                    <a:pt x="78" y="165"/>
                    <a:pt x="78" y="165"/>
                    <a:pt x="78" y="165"/>
                  </a:cubicBezTo>
                  <a:cubicBezTo>
                    <a:pt x="87" y="165"/>
                    <a:pt x="87" y="165"/>
                    <a:pt x="87" y="165"/>
                  </a:cubicBezTo>
                  <a:cubicBezTo>
                    <a:pt x="102" y="140"/>
                    <a:pt x="102" y="140"/>
                    <a:pt x="102" y="140"/>
                  </a:cubicBezTo>
                  <a:cubicBezTo>
                    <a:pt x="102" y="140"/>
                    <a:pt x="102" y="126"/>
                    <a:pt x="102" y="124"/>
                  </a:cubicBezTo>
                  <a:cubicBezTo>
                    <a:pt x="102" y="121"/>
                    <a:pt x="107" y="114"/>
                    <a:pt x="115" y="107"/>
                  </a:cubicBezTo>
                  <a:cubicBezTo>
                    <a:pt x="123" y="101"/>
                    <a:pt x="123" y="109"/>
                    <a:pt x="123" y="109"/>
                  </a:cubicBezTo>
                  <a:cubicBezTo>
                    <a:pt x="129" y="92"/>
                    <a:pt x="129" y="92"/>
                    <a:pt x="129" y="92"/>
                  </a:cubicBezTo>
                  <a:cubicBezTo>
                    <a:pt x="129" y="22"/>
                    <a:pt x="129" y="22"/>
                    <a:pt x="129" y="22"/>
                  </a:cubicBezTo>
                  <a:cubicBezTo>
                    <a:pt x="99" y="4"/>
                    <a:pt x="99" y="4"/>
                    <a:pt x="99" y="4"/>
                  </a:cubicBezTo>
                  <a:cubicBezTo>
                    <a:pt x="101" y="0"/>
                    <a:pt x="101" y="0"/>
                    <a:pt x="101" y="0"/>
                  </a:cubicBezTo>
                  <a:cubicBezTo>
                    <a:pt x="76" y="1"/>
                    <a:pt x="76" y="1"/>
                    <a:pt x="76" y="1"/>
                  </a:cubicBezTo>
                  <a:cubicBezTo>
                    <a:pt x="76" y="7"/>
                    <a:pt x="76" y="7"/>
                    <a:pt x="76" y="7"/>
                  </a:cubicBezTo>
                  <a:cubicBezTo>
                    <a:pt x="76" y="7"/>
                    <a:pt x="66" y="7"/>
                    <a:pt x="64" y="7"/>
                  </a:cubicBezTo>
                  <a:cubicBezTo>
                    <a:pt x="63" y="7"/>
                    <a:pt x="64" y="12"/>
                    <a:pt x="64" y="12"/>
                  </a:cubicBezTo>
                  <a:cubicBezTo>
                    <a:pt x="64" y="12"/>
                    <a:pt x="62" y="12"/>
                    <a:pt x="54" y="12"/>
                  </a:cubicBezTo>
                  <a:cubicBezTo>
                    <a:pt x="46" y="12"/>
                    <a:pt x="45" y="29"/>
                    <a:pt x="45" y="29"/>
                  </a:cubicBezTo>
                  <a:cubicBezTo>
                    <a:pt x="55" y="36"/>
                    <a:pt x="55" y="36"/>
                    <a:pt x="55" y="36"/>
                  </a:cubicBezTo>
                  <a:cubicBezTo>
                    <a:pt x="55" y="36"/>
                    <a:pt x="52" y="43"/>
                    <a:pt x="52" y="44"/>
                  </a:cubicBezTo>
                  <a:cubicBezTo>
                    <a:pt x="52" y="46"/>
                    <a:pt x="59" y="54"/>
                    <a:pt x="59" y="54"/>
                  </a:cubicBezTo>
                  <a:cubicBezTo>
                    <a:pt x="38" y="56"/>
                    <a:pt x="38" y="56"/>
                    <a:pt x="38" y="56"/>
                  </a:cubicBezTo>
                  <a:cubicBezTo>
                    <a:pt x="38" y="56"/>
                    <a:pt x="49" y="70"/>
                    <a:pt x="58" y="75"/>
                  </a:cubicBezTo>
                  <a:cubicBezTo>
                    <a:pt x="67" y="80"/>
                    <a:pt x="59" y="87"/>
                    <a:pt x="59" y="93"/>
                  </a:cubicBezTo>
                  <a:cubicBezTo>
                    <a:pt x="59" y="99"/>
                    <a:pt x="44" y="105"/>
                    <a:pt x="44" y="105"/>
                  </a:cubicBezTo>
                  <a:cubicBezTo>
                    <a:pt x="40" y="120"/>
                    <a:pt x="40" y="120"/>
                    <a:pt x="40" y="120"/>
                  </a:cubicBezTo>
                  <a:cubicBezTo>
                    <a:pt x="34" y="124"/>
                    <a:pt x="34" y="124"/>
                    <a:pt x="34" y="124"/>
                  </a:cubicBezTo>
                  <a:cubicBezTo>
                    <a:pt x="33" y="137"/>
                    <a:pt x="33" y="137"/>
                    <a:pt x="33" y="137"/>
                  </a:cubicBezTo>
                  <a:cubicBezTo>
                    <a:pt x="8" y="138"/>
                    <a:pt x="8" y="138"/>
                    <a:pt x="8" y="138"/>
                  </a:cubicBezTo>
                  <a:cubicBezTo>
                    <a:pt x="0" y="148"/>
                    <a:pt x="0" y="148"/>
                    <a:pt x="0" y="148"/>
                  </a:cubicBezTo>
                  <a:cubicBezTo>
                    <a:pt x="7" y="156"/>
                    <a:pt x="7" y="156"/>
                    <a:pt x="7" y="156"/>
                  </a:cubicBezTo>
                  <a:cubicBezTo>
                    <a:pt x="2" y="164"/>
                    <a:pt x="2" y="164"/>
                    <a:pt x="2" y="164"/>
                  </a:cubicBezTo>
                  <a:cubicBezTo>
                    <a:pt x="2" y="164"/>
                    <a:pt x="3" y="168"/>
                    <a:pt x="3" y="172"/>
                  </a:cubicBezTo>
                  <a:cubicBezTo>
                    <a:pt x="3" y="172"/>
                    <a:pt x="3" y="172"/>
                    <a:pt x="3" y="172"/>
                  </a:cubicBezTo>
                  <a:cubicBezTo>
                    <a:pt x="3" y="172"/>
                    <a:pt x="8" y="172"/>
                    <a:pt x="8" y="177"/>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1" name="Freeform 337">
              <a:extLst>
                <a:ext uri="{FF2B5EF4-FFF2-40B4-BE49-F238E27FC236}">
                  <a16:creationId xmlns:a16="http://schemas.microsoft.com/office/drawing/2014/main" id="{177CA0CA-CAAE-48F3-8AD9-E9F3AAF71371}"/>
                </a:ext>
              </a:extLst>
            </p:cNvPr>
            <p:cNvSpPr>
              <a:spLocks noChangeAspect="1"/>
            </p:cNvSpPr>
            <p:nvPr/>
          </p:nvSpPr>
          <p:spPr bwMode="auto">
            <a:xfrm>
              <a:off x="13479" y="1161"/>
              <a:ext cx="687" cy="1000"/>
            </a:xfrm>
            <a:custGeom>
              <a:avLst/>
              <a:gdLst/>
              <a:ahLst/>
              <a:cxnLst>
                <a:cxn ang="0">
                  <a:pos x="46" y="488"/>
                </a:cxn>
                <a:cxn ang="0">
                  <a:pos x="88" y="478"/>
                </a:cxn>
                <a:cxn ang="0">
                  <a:pos x="102" y="474"/>
                </a:cxn>
                <a:cxn ang="0">
                  <a:pos x="124" y="465"/>
                </a:cxn>
                <a:cxn ang="0">
                  <a:pos x="142" y="435"/>
                </a:cxn>
                <a:cxn ang="0">
                  <a:pos x="154" y="395"/>
                </a:cxn>
                <a:cxn ang="0">
                  <a:pos x="183" y="404"/>
                </a:cxn>
                <a:cxn ang="0">
                  <a:pos x="231" y="396"/>
                </a:cxn>
                <a:cxn ang="0">
                  <a:pos x="283" y="384"/>
                </a:cxn>
                <a:cxn ang="0">
                  <a:pos x="321" y="318"/>
                </a:cxn>
                <a:cxn ang="0">
                  <a:pos x="322" y="288"/>
                </a:cxn>
                <a:cxn ang="0">
                  <a:pos x="336" y="268"/>
                </a:cxn>
                <a:cxn ang="0">
                  <a:pos x="336" y="254"/>
                </a:cxn>
                <a:cxn ang="0">
                  <a:pos x="333" y="242"/>
                </a:cxn>
                <a:cxn ang="0">
                  <a:pos x="310" y="203"/>
                </a:cxn>
                <a:cxn ang="0">
                  <a:pos x="289" y="135"/>
                </a:cxn>
                <a:cxn ang="0">
                  <a:pos x="288" y="113"/>
                </a:cxn>
                <a:cxn ang="0">
                  <a:pos x="295" y="79"/>
                </a:cxn>
                <a:cxn ang="0">
                  <a:pos x="285" y="67"/>
                </a:cxn>
                <a:cxn ang="0">
                  <a:pos x="284" y="57"/>
                </a:cxn>
                <a:cxn ang="0">
                  <a:pos x="280" y="43"/>
                </a:cxn>
                <a:cxn ang="0">
                  <a:pos x="289" y="23"/>
                </a:cxn>
                <a:cxn ang="0">
                  <a:pos x="265" y="12"/>
                </a:cxn>
                <a:cxn ang="0">
                  <a:pos x="252" y="0"/>
                </a:cxn>
                <a:cxn ang="0">
                  <a:pos x="250" y="30"/>
                </a:cxn>
                <a:cxn ang="0">
                  <a:pos x="235" y="45"/>
                </a:cxn>
                <a:cxn ang="0">
                  <a:pos x="202" y="74"/>
                </a:cxn>
                <a:cxn ang="0">
                  <a:pos x="194" y="107"/>
                </a:cxn>
                <a:cxn ang="0">
                  <a:pos x="191" y="142"/>
                </a:cxn>
                <a:cxn ang="0">
                  <a:pos x="186" y="164"/>
                </a:cxn>
                <a:cxn ang="0">
                  <a:pos x="177" y="179"/>
                </a:cxn>
                <a:cxn ang="0">
                  <a:pos x="176" y="196"/>
                </a:cxn>
                <a:cxn ang="0">
                  <a:pos x="194" y="217"/>
                </a:cxn>
                <a:cxn ang="0">
                  <a:pos x="166" y="246"/>
                </a:cxn>
                <a:cxn ang="0">
                  <a:pos x="146" y="243"/>
                </a:cxn>
                <a:cxn ang="0">
                  <a:pos x="110" y="262"/>
                </a:cxn>
                <a:cxn ang="0">
                  <a:pos x="81" y="284"/>
                </a:cxn>
                <a:cxn ang="0">
                  <a:pos x="65" y="291"/>
                </a:cxn>
                <a:cxn ang="0">
                  <a:pos x="35" y="304"/>
                </a:cxn>
                <a:cxn ang="0">
                  <a:pos x="16" y="343"/>
                </a:cxn>
                <a:cxn ang="0">
                  <a:pos x="3" y="373"/>
                </a:cxn>
                <a:cxn ang="0">
                  <a:pos x="9" y="403"/>
                </a:cxn>
                <a:cxn ang="0">
                  <a:pos x="11" y="411"/>
                </a:cxn>
                <a:cxn ang="0">
                  <a:pos x="0" y="454"/>
                </a:cxn>
                <a:cxn ang="0">
                  <a:pos x="8" y="459"/>
                </a:cxn>
                <a:cxn ang="0">
                  <a:pos x="23" y="453"/>
                </a:cxn>
                <a:cxn ang="0">
                  <a:pos x="37" y="464"/>
                </a:cxn>
              </a:cxnLst>
              <a:rect l="0" t="0" r="r" b="b"/>
              <a:pathLst>
                <a:path w="343" h="499">
                  <a:moveTo>
                    <a:pt x="37" y="464"/>
                  </a:moveTo>
                  <a:cubicBezTo>
                    <a:pt x="37" y="471"/>
                    <a:pt x="36" y="487"/>
                    <a:pt x="46" y="488"/>
                  </a:cubicBezTo>
                  <a:cubicBezTo>
                    <a:pt x="56" y="489"/>
                    <a:pt x="56" y="499"/>
                    <a:pt x="69" y="496"/>
                  </a:cubicBezTo>
                  <a:cubicBezTo>
                    <a:pt x="82" y="493"/>
                    <a:pt x="88" y="478"/>
                    <a:pt x="88" y="478"/>
                  </a:cubicBezTo>
                  <a:cubicBezTo>
                    <a:pt x="100" y="481"/>
                    <a:pt x="100" y="481"/>
                    <a:pt x="100" y="481"/>
                  </a:cubicBezTo>
                  <a:cubicBezTo>
                    <a:pt x="102" y="474"/>
                    <a:pt x="102" y="474"/>
                    <a:pt x="102" y="474"/>
                  </a:cubicBezTo>
                  <a:cubicBezTo>
                    <a:pt x="102" y="474"/>
                    <a:pt x="114" y="481"/>
                    <a:pt x="115" y="479"/>
                  </a:cubicBezTo>
                  <a:cubicBezTo>
                    <a:pt x="115" y="478"/>
                    <a:pt x="124" y="465"/>
                    <a:pt x="124" y="465"/>
                  </a:cubicBezTo>
                  <a:cubicBezTo>
                    <a:pt x="124" y="465"/>
                    <a:pt x="135" y="465"/>
                    <a:pt x="135" y="463"/>
                  </a:cubicBezTo>
                  <a:cubicBezTo>
                    <a:pt x="135" y="461"/>
                    <a:pt x="144" y="443"/>
                    <a:pt x="142" y="435"/>
                  </a:cubicBezTo>
                  <a:cubicBezTo>
                    <a:pt x="140" y="427"/>
                    <a:pt x="129" y="422"/>
                    <a:pt x="133" y="416"/>
                  </a:cubicBezTo>
                  <a:cubicBezTo>
                    <a:pt x="137" y="410"/>
                    <a:pt x="154" y="395"/>
                    <a:pt x="154" y="395"/>
                  </a:cubicBezTo>
                  <a:cubicBezTo>
                    <a:pt x="173" y="407"/>
                    <a:pt x="173" y="407"/>
                    <a:pt x="173" y="407"/>
                  </a:cubicBezTo>
                  <a:cubicBezTo>
                    <a:pt x="183" y="404"/>
                    <a:pt x="183" y="404"/>
                    <a:pt x="183" y="404"/>
                  </a:cubicBezTo>
                  <a:cubicBezTo>
                    <a:pt x="183" y="404"/>
                    <a:pt x="185" y="415"/>
                    <a:pt x="194" y="414"/>
                  </a:cubicBezTo>
                  <a:cubicBezTo>
                    <a:pt x="203" y="413"/>
                    <a:pt x="231" y="396"/>
                    <a:pt x="231" y="396"/>
                  </a:cubicBezTo>
                  <a:cubicBezTo>
                    <a:pt x="256" y="394"/>
                    <a:pt x="256" y="394"/>
                    <a:pt x="256" y="394"/>
                  </a:cubicBezTo>
                  <a:cubicBezTo>
                    <a:pt x="256" y="394"/>
                    <a:pt x="276" y="389"/>
                    <a:pt x="283" y="384"/>
                  </a:cubicBezTo>
                  <a:cubicBezTo>
                    <a:pt x="291" y="379"/>
                    <a:pt x="313" y="365"/>
                    <a:pt x="313" y="365"/>
                  </a:cubicBezTo>
                  <a:cubicBezTo>
                    <a:pt x="313" y="365"/>
                    <a:pt x="321" y="328"/>
                    <a:pt x="321" y="318"/>
                  </a:cubicBezTo>
                  <a:cubicBezTo>
                    <a:pt x="321" y="308"/>
                    <a:pt x="327" y="302"/>
                    <a:pt x="326" y="298"/>
                  </a:cubicBezTo>
                  <a:cubicBezTo>
                    <a:pt x="324" y="294"/>
                    <a:pt x="322" y="289"/>
                    <a:pt x="322" y="288"/>
                  </a:cubicBezTo>
                  <a:cubicBezTo>
                    <a:pt x="322" y="288"/>
                    <a:pt x="335" y="281"/>
                    <a:pt x="335" y="281"/>
                  </a:cubicBezTo>
                  <a:cubicBezTo>
                    <a:pt x="335" y="281"/>
                    <a:pt x="329" y="272"/>
                    <a:pt x="336" y="268"/>
                  </a:cubicBezTo>
                  <a:cubicBezTo>
                    <a:pt x="342" y="264"/>
                    <a:pt x="339" y="258"/>
                    <a:pt x="339" y="258"/>
                  </a:cubicBezTo>
                  <a:cubicBezTo>
                    <a:pt x="336" y="254"/>
                    <a:pt x="336" y="254"/>
                    <a:pt x="336" y="254"/>
                  </a:cubicBezTo>
                  <a:cubicBezTo>
                    <a:pt x="336" y="254"/>
                    <a:pt x="343" y="251"/>
                    <a:pt x="340" y="249"/>
                  </a:cubicBezTo>
                  <a:cubicBezTo>
                    <a:pt x="337" y="246"/>
                    <a:pt x="333" y="242"/>
                    <a:pt x="333" y="242"/>
                  </a:cubicBezTo>
                  <a:cubicBezTo>
                    <a:pt x="322" y="243"/>
                    <a:pt x="322" y="243"/>
                    <a:pt x="322" y="243"/>
                  </a:cubicBezTo>
                  <a:cubicBezTo>
                    <a:pt x="310" y="203"/>
                    <a:pt x="310" y="203"/>
                    <a:pt x="310" y="203"/>
                  </a:cubicBezTo>
                  <a:cubicBezTo>
                    <a:pt x="309" y="151"/>
                    <a:pt x="309" y="151"/>
                    <a:pt x="309" y="151"/>
                  </a:cubicBezTo>
                  <a:cubicBezTo>
                    <a:pt x="289" y="135"/>
                    <a:pt x="289" y="135"/>
                    <a:pt x="289" y="135"/>
                  </a:cubicBezTo>
                  <a:cubicBezTo>
                    <a:pt x="293" y="123"/>
                    <a:pt x="293" y="123"/>
                    <a:pt x="293" y="123"/>
                  </a:cubicBezTo>
                  <a:cubicBezTo>
                    <a:pt x="293" y="123"/>
                    <a:pt x="288" y="114"/>
                    <a:pt x="288" y="113"/>
                  </a:cubicBezTo>
                  <a:cubicBezTo>
                    <a:pt x="288" y="112"/>
                    <a:pt x="297" y="98"/>
                    <a:pt x="297" y="98"/>
                  </a:cubicBezTo>
                  <a:cubicBezTo>
                    <a:pt x="295" y="79"/>
                    <a:pt x="295" y="79"/>
                    <a:pt x="295" y="79"/>
                  </a:cubicBezTo>
                  <a:cubicBezTo>
                    <a:pt x="288" y="78"/>
                    <a:pt x="288" y="78"/>
                    <a:pt x="288" y="78"/>
                  </a:cubicBezTo>
                  <a:cubicBezTo>
                    <a:pt x="285" y="67"/>
                    <a:pt x="285" y="67"/>
                    <a:pt x="285" y="67"/>
                  </a:cubicBezTo>
                  <a:cubicBezTo>
                    <a:pt x="290" y="61"/>
                    <a:pt x="290" y="61"/>
                    <a:pt x="290" y="61"/>
                  </a:cubicBezTo>
                  <a:cubicBezTo>
                    <a:pt x="284" y="57"/>
                    <a:pt x="284" y="57"/>
                    <a:pt x="284" y="57"/>
                  </a:cubicBezTo>
                  <a:cubicBezTo>
                    <a:pt x="284" y="44"/>
                    <a:pt x="284" y="44"/>
                    <a:pt x="284" y="44"/>
                  </a:cubicBezTo>
                  <a:cubicBezTo>
                    <a:pt x="280" y="43"/>
                    <a:pt x="280" y="43"/>
                    <a:pt x="280" y="43"/>
                  </a:cubicBezTo>
                  <a:cubicBezTo>
                    <a:pt x="281" y="29"/>
                    <a:pt x="281" y="29"/>
                    <a:pt x="281" y="29"/>
                  </a:cubicBezTo>
                  <a:cubicBezTo>
                    <a:pt x="289" y="23"/>
                    <a:pt x="289" y="23"/>
                    <a:pt x="289" y="23"/>
                  </a:cubicBezTo>
                  <a:cubicBezTo>
                    <a:pt x="287" y="12"/>
                    <a:pt x="287" y="12"/>
                    <a:pt x="287" y="12"/>
                  </a:cubicBezTo>
                  <a:cubicBezTo>
                    <a:pt x="275" y="12"/>
                    <a:pt x="265" y="12"/>
                    <a:pt x="265" y="12"/>
                  </a:cubicBezTo>
                  <a:cubicBezTo>
                    <a:pt x="255" y="2"/>
                    <a:pt x="255" y="2"/>
                    <a:pt x="255" y="2"/>
                  </a:cubicBezTo>
                  <a:cubicBezTo>
                    <a:pt x="252" y="0"/>
                    <a:pt x="252" y="0"/>
                    <a:pt x="252" y="0"/>
                  </a:cubicBezTo>
                  <a:cubicBezTo>
                    <a:pt x="256" y="17"/>
                    <a:pt x="256" y="17"/>
                    <a:pt x="256" y="17"/>
                  </a:cubicBezTo>
                  <a:cubicBezTo>
                    <a:pt x="250" y="30"/>
                    <a:pt x="250" y="30"/>
                    <a:pt x="250" y="30"/>
                  </a:cubicBezTo>
                  <a:cubicBezTo>
                    <a:pt x="239" y="31"/>
                    <a:pt x="239" y="31"/>
                    <a:pt x="239" y="31"/>
                  </a:cubicBezTo>
                  <a:cubicBezTo>
                    <a:pt x="239" y="31"/>
                    <a:pt x="238" y="39"/>
                    <a:pt x="235" y="45"/>
                  </a:cubicBezTo>
                  <a:cubicBezTo>
                    <a:pt x="232" y="50"/>
                    <a:pt x="215" y="47"/>
                    <a:pt x="211" y="49"/>
                  </a:cubicBezTo>
                  <a:cubicBezTo>
                    <a:pt x="206" y="51"/>
                    <a:pt x="203" y="72"/>
                    <a:pt x="202" y="74"/>
                  </a:cubicBezTo>
                  <a:cubicBezTo>
                    <a:pt x="202" y="76"/>
                    <a:pt x="184" y="90"/>
                    <a:pt x="185" y="94"/>
                  </a:cubicBezTo>
                  <a:cubicBezTo>
                    <a:pt x="185" y="98"/>
                    <a:pt x="194" y="107"/>
                    <a:pt x="194" y="107"/>
                  </a:cubicBezTo>
                  <a:cubicBezTo>
                    <a:pt x="194" y="107"/>
                    <a:pt x="187" y="116"/>
                    <a:pt x="187" y="123"/>
                  </a:cubicBezTo>
                  <a:cubicBezTo>
                    <a:pt x="186" y="131"/>
                    <a:pt x="191" y="142"/>
                    <a:pt x="191" y="142"/>
                  </a:cubicBezTo>
                  <a:cubicBezTo>
                    <a:pt x="194" y="160"/>
                    <a:pt x="194" y="160"/>
                    <a:pt x="194" y="160"/>
                  </a:cubicBezTo>
                  <a:cubicBezTo>
                    <a:pt x="186" y="164"/>
                    <a:pt x="186" y="164"/>
                    <a:pt x="186" y="164"/>
                  </a:cubicBezTo>
                  <a:cubicBezTo>
                    <a:pt x="186" y="171"/>
                    <a:pt x="186" y="171"/>
                    <a:pt x="186" y="171"/>
                  </a:cubicBezTo>
                  <a:cubicBezTo>
                    <a:pt x="186" y="171"/>
                    <a:pt x="181" y="175"/>
                    <a:pt x="177" y="179"/>
                  </a:cubicBezTo>
                  <a:cubicBezTo>
                    <a:pt x="173" y="183"/>
                    <a:pt x="182" y="191"/>
                    <a:pt x="182" y="191"/>
                  </a:cubicBezTo>
                  <a:cubicBezTo>
                    <a:pt x="176" y="196"/>
                    <a:pt x="176" y="196"/>
                    <a:pt x="176" y="196"/>
                  </a:cubicBezTo>
                  <a:cubicBezTo>
                    <a:pt x="181" y="206"/>
                    <a:pt x="181" y="206"/>
                    <a:pt x="181" y="206"/>
                  </a:cubicBezTo>
                  <a:cubicBezTo>
                    <a:pt x="194" y="217"/>
                    <a:pt x="194" y="217"/>
                    <a:pt x="194" y="217"/>
                  </a:cubicBezTo>
                  <a:cubicBezTo>
                    <a:pt x="194" y="217"/>
                    <a:pt x="186" y="241"/>
                    <a:pt x="185" y="244"/>
                  </a:cubicBezTo>
                  <a:cubicBezTo>
                    <a:pt x="184" y="248"/>
                    <a:pt x="170" y="246"/>
                    <a:pt x="166" y="246"/>
                  </a:cubicBezTo>
                  <a:cubicBezTo>
                    <a:pt x="162" y="246"/>
                    <a:pt x="154" y="250"/>
                    <a:pt x="154" y="250"/>
                  </a:cubicBezTo>
                  <a:cubicBezTo>
                    <a:pt x="154" y="250"/>
                    <a:pt x="149" y="246"/>
                    <a:pt x="146" y="243"/>
                  </a:cubicBezTo>
                  <a:cubicBezTo>
                    <a:pt x="143" y="241"/>
                    <a:pt x="123" y="244"/>
                    <a:pt x="123" y="244"/>
                  </a:cubicBezTo>
                  <a:cubicBezTo>
                    <a:pt x="123" y="244"/>
                    <a:pt x="118" y="251"/>
                    <a:pt x="110" y="262"/>
                  </a:cubicBezTo>
                  <a:cubicBezTo>
                    <a:pt x="102" y="274"/>
                    <a:pt x="89" y="271"/>
                    <a:pt x="88" y="273"/>
                  </a:cubicBezTo>
                  <a:cubicBezTo>
                    <a:pt x="87" y="275"/>
                    <a:pt x="81" y="284"/>
                    <a:pt x="81" y="284"/>
                  </a:cubicBezTo>
                  <a:cubicBezTo>
                    <a:pt x="70" y="284"/>
                    <a:pt x="70" y="284"/>
                    <a:pt x="70" y="284"/>
                  </a:cubicBezTo>
                  <a:cubicBezTo>
                    <a:pt x="65" y="291"/>
                    <a:pt x="65" y="291"/>
                    <a:pt x="65" y="291"/>
                  </a:cubicBezTo>
                  <a:cubicBezTo>
                    <a:pt x="52" y="291"/>
                    <a:pt x="52" y="291"/>
                    <a:pt x="52" y="291"/>
                  </a:cubicBezTo>
                  <a:cubicBezTo>
                    <a:pt x="52" y="291"/>
                    <a:pt x="45" y="295"/>
                    <a:pt x="35" y="304"/>
                  </a:cubicBezTo>
                  <a:cubicBezTo>
                    <a:pt x="25" y="312"/>
                    <a:pt x="30" y="328"/>
                    <a:pt x="30" y="328"/>
                  </a:cubicBezTo>
                  <a:cubicBezTo>
                    <a:pt x="30" y="328"/>
                    <a:pt x="19" y="341"/>
                    <a:pt x="16" y="343"/>
                  </a:cubicBezTo>
                  <a:cubicBezTo>
                    <a:pt x="14" y="346"/>
                    <a:pt x="12" y="364"/>
                    <a:pt x="12" y="364"/>
                  </a:cubicBezTo>
                  <a:cubicBezTo>
                    <a:pt x="12" y="364"/>
                    <a:pt x="4" y="369"/>
                    <a:pt x="3" y="373"/>
                  </a:cubicBezTo>
                  <a:cubicBezTo>
                    <a:pt x="2" y="378"/>
                    <a:pt x="8" y="390"/>
                    <a:pt x="8" y="390"/>
                  </a:cubicBezTo>
                  <a:cubicBezTo>
                    <a:pt x="8" y="390"/>
                    <a:pt x="9" y="402"/>
                    <a:pt x="9" y="403"/>
                  </a:cubicBezTo>
                  <a:cubicBezTo>
                    <a:pt x="10" y="404"/>
                    <a:pt x="18" y="408"/>
                    <a:pt x="18" y="408"/>
                  </a:cubicBezTo>
                  <a:cubicBezTo>
                    <a:pt x="11" y="411"/>
                    <a:pt x="11" y="411"/>
                    <a:pt x="11" y="411"/>
                  </a:cubicBezTo>
                  <a:cubicBezTo>
                    <a:pt x="11" y="440"/>
                    <a:pt x="11" y="440"/>
                    <a:pt x="11" y="440"/>
                  </a:cubicBezTo>
                  <a:cubicBezTo>
                    <a:pt x="0" y="454"/>
                    <a:pt x="0" y="454"/>
                    <a:pt x="0" y="454"/>
                  </a:cubicBezTo>
                  <a:cubicBezTo>
                    <a:pt x="1" y="454"/>
                    <a:pt x="2" y="454"/>
                    <a:pt x="2" y="454"/>
                  </a:cubicBezTo>
                  <a:cubicBezTo>
                    <a:pt x="8" y="459"/>
                    <a:pt x="8" y="459"/>
                    <a:pt x="8" y="459"/>
                  </a:cubicBezTo>
                  <a:cubicBezTo>
                    <a:pt x="22" y="449"/>
                    <a:pt x="22" y="449"/>
                    <a:pt x="22" y="449"/>
                  </a:cubicBezTo>
                  <a:cubicBezTo>
                    <a:pt x="23" y="453"/>
                    <a:pt x="23" y="453"/>
                    <a:pt x="23" y="453"/>
                  </a:cubicBezTo>
                  <a:cubicBezTo>
                    <a:pt x="29" y="450"/>
                    <a:pt x="29" y="450"/>
                    <a:pt x="29" y="450"/>
                  </a:cubicBezTo>
                  <a:cubicBezTo>
                    <a:pt x="29" y="450"/>
                    <a:pt x="37" y="458"/>
                    <a:pt x="37" y="464"/>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2" name="Freeform 338">
              <a:extLst>
                <a:ext uri="{FF2B5EF4-FFF2-40B4-BE49-F238E27FC236}">
                  <a16:creationId xmlns:a16="http://schemas.microsoft.com/office/drawing/2014/main" id="{C9C16710-B433-4ACC-AAB9-9E4FAB3441DA}"/>
                </a:ext>
              </a:extLst>
            </p:cNvPr>
            <p:cNvSpPr>
              <a:spLocks noChangeAspect="1"/>
            </p:cNvSpPr>
            <p:nvPr/>
          </p:nvSpPr>
          <p:spPr bwMode="auto">
            <a:xfrm>
              <a:off x="14040" y="1167"/>
              <a:ext cx="500" cy="617"/>
            </a:xfrm>
            <a:custGeom>
              <a:avLst/>
              <a:gdLst/>
              <a:ahLst/>
              <a:cxnLst>
                <a:cxn ang="0">
                  <a:pos x="76" y="284"/>
                </a:cxn>
                <a:cxn ang="0">
                  <a:pos x="98" y="274"/>
                </a:cxn>
                <a:cxn ang="0">
                  <a:pos x="113" y="285"/>
                </a:cxn>
                <a:cxn ang="0">
                  <a:pos x="125" y="289"/>
                </a:cxn>
                <a:cxn ang="0">
                  <a:pos x="129" y="299"/>
                </a:cxn>
                <a:cxn ang="0">
                  <a:pos x="132" y="296"/>
                </a:cxn>
                <a:cxn ang="0">
                  <a:pos x="148" y="308"/>
                </a:cxn>
                <a:cxn ang="0">
                  <a:pos x="154" y="296"/>
                </a:cxn>
                <a:cxn ang="0">
                  <a:pos x="161" y="294"/>
                </a:cxn>
                <a:cxn ang="0">
                  <a:pos x="167" y="284"/>
                </a:cxn>
                <a:cxn ang="0">
                  <a:pos x="172" y="275"/>
                </a:cxn>
                <a:cxn ang="0">
                  <a:pos x="164" y="262"/>
                </a:cxn>
                <a:cxn ang="0">
                  <a:pos x="157" y="254"/>
                </a:cxn>
                <a:cxn ang="0">
                  <a:pos x="167" y="246"/>
                </a:cxn>
                <a:cxn ang="0">
                  <a:pos x="167" y="230"/>
                </a:cxn>
                <a:cxn ang="0">
                  <a:pos x="175" y="220"/>
                </a:cxn>
                <a:cxn ang="0">
                  <a:pos x="179" y="200"/>
                </a:cxn>
                <a:cxn ang="0">
                  <a:pos x="194" y="195"/>
                </a:cxn>
                <a:cxn ang="0">
                  <a:pos x="201" y="183"/>
                </a:cxn>
                <a:cxn ang="0">
                  <a:pos x="205" y="172"/>
                </a:cxn>
                <a:cxn ang="0">
                  <a:pos x="214" y="166"/>
                </a:cxn>
                <a:cxn ang="0">
                  <a:pos x="214" y="155"/>
                </a:cxn>
                <a:cxn ang="0">
                  <a:pos x="220" y="151"/>
                </a:cxn>
                <a:cxn ang="0">
                  <a:pos x="224" y="134"/>
                </a:cxn>
                <a:cxn ang="0">
                  <a:pos x="250" y="127"/>
                </a:cxn>
                <a:cxn ang="0">
                  <a:pos x="250" y="126"/>
                </a:cxn>
                <a:cxn ang="0">
                  <a:pos x="240" y="113"/>
                </a:cxn>
                <a:cxn ang="0">
                  <a:pos x="229" y="115"/>
                </a:cxn>
                <a:cxn ang="0">
                  <a:pos x="183" y="67"/>
                </a:cxn>
                <a:cxn ang="0">
                  <a:pos x="179" y="57"/>
                </a:cxn>
                <a:cxn ang="0">
                  <a:pos x="160" y="55"/>
                </a:cxn>
                <a:cxn ang="0">
                  <a:pos x="158" y="47"/>
                </a:cxn>
                <a:cxn ang="0">
                  <a:pos x="148" y="41"/>
                </a:cxn>
                <a:cxn ang="0">
                  <a:pos x="128" y="30"/>
                </a:cxn>
                <a:cxn ang="0">
                  <a:pos x="102" y="16"/>
                </a:cxn>
                <a:cxn ang="0">
                  <a:pos x="90" y="5"/>
                </a:cxn>
                <a:cxn ang="0">
                  <a:pos x="56" y="2"/>
                </a:cxn>
                <a:cxn ang="0">
                  <a:pos x="33" y="9"/>
                </a:cxn>
                <a:cxn ang="0">
                  <a:pos x="7" y="9"/>
                </a:cxn>
                <a:cxn ang="0">
                  <a:pos x="9" y="20"/>
                </a:cxn>
                <a:cxn ang="0">
                  <a:pos x="1" y="26"/>
                </a:cxn>
                <a:cxn ang="0">
                  <a:pos x="0" y="40"/>
                </a:cxn>
                <a:cxn ang="0">
                  <a:pos x="4" y="41"/>
                </a:cxn>
                <a:cxn ang="0">
                  <a:pos x="4" y="54"/>
                </a:cxn>
                <a:cxn ang="0">
                  <a:pos x="10" y="58"/>
                </a:cxn>
                <a:cxn ang="0">
                  <a:pos x="5" y="64"/>
                </a:cxn>
                <a:cxn ang="0">
                  <a:pos x="8" y="75"/>
                </a:cxn>
                <a:cxn ang="0">
                  <a:pos x="15" y="76"/>
                </a:cxn>
                <a:cxn ang="0">
                  <a:pos x="17" y="95"/>
                </a:cxn>
                <a:cxn ang="0">
                  <a:pos x="8" y="110"/>
                </a:cxn>
                <a:cxn ang="0">
                  <a:pos x="13" y="120"/>
                </a:cxn>
                <a:cxn ang="0">
                  <a:pos x="9" y="132"/>
                </a:cxn>
                <a:cxn ang="0">
                  <a:pos x="29" y="148"/>
                </a:cxn>
                <a:cxn ang="0">
                  <a:pos x="30" y="200"/>
                </a:cxn>
                <a:cxn ang="0">
                  <a:pos x="42" y="240"/>
                </a:cxn>
                <a:cxn ang="0">
                  <a:pos x="53" y="239"/>
                </a:cxn>
                <a:cxn ang="0">
                  <a:pos x="60" y="246"/>
                </a:cxn>
                <a:cxn ang="0">
                  <a:pos x="56" y="251"/>
                </a:cxn>
                <a:cxn ang="0">
                  <a:pos x="59" y="255"/>
                </a:cxn>
                <a:cxn ang="0">
                  <a:pos x="56" y="265"/>
                </a:cxn>
                <a:cxn ang="0">
                  <a:pos x="54" y="277"/>
                </a:cxn>
                <a:cxn ang="0">
                  <a:pos x="70" y="281"/>
                </a:cxn>
                <a:cxn ang="0">
                  <a:pos x="76" y="284"/>
                </a:cxn>
              </a:cxnLst>
              <a:rect l="0" t="0" r="r" b="b"/>
              <a:pathLst>
                <a:path w="250" h="308">
                  <a:moveTo>
                    <a:pt x="76" y="284"/>
                  </a:moveTo>
                  <a:cubicBezTo>
                    <a:pt x="76" y="284"/>
                    <a:pt x="86" y="274"/>
                    <a:pt x="98" y="274"/>
                  </a:cubicBezTo>
                  <a:cubicBezTo>
                    <a:pt x="109" y="275"/>
                    <a:pt x="113" y="285"/>
                    <a:pt x="113" y="285"/>
                  </a:cubicBezTo>
                  <a:cubicBezTo>
                    <a:pt x="113" y="285"/>
                    <a:pt x="123" y="281"/>
                    <a:pt x="125" y="289"/>
                  </a:cubicBezTo>
                  <a:cubicBezTo>
                    <a:pt x="127" y="297"/>
                    <a:pt x="129" y="299"/>
                    <a:pt x="129" y="299"/>
                  </a:cubicBezTo>
                  <a:cubicBezTo>
                    <a:pt x="132" y="296"/>
                    <a:pt x="132" y="296"/>
                    <a:pt x="132" y="296"/>
                  </a:cubicBezTo>
                  <a:cubicBezTo>
                    <a:pt x="148" y="308"/>
                    <a:pt x="148" y="308"/>
                    <a:pt x="148" y="308"/>
                  </a:cubicBezTo>
                  <a:cubicBezTo>
                    <a:pt x="148" y="308"/>
                    <a:pt x="148" y="297"/>
                    <a:pt x="154" y="296"/>
                  </a:cubicBezTo>
                  <a:cubicBezTo>
                    <a:pt x="159" y="295"/>
                    <a:pt x="161" y="294"/>
                    <a:pt x="161" y="294"/>
                  </a:cubicBezTo>
                  <a:cubicBezTo>
                    <a:pt x="161" y="294"/>
                    <a:pt x="165" y="287"/>
                    <a:pt x="167" y="284"/>
                  </a:cubicBezTo>
                  <a:cubicBezTo>
                    <a:pt x="169" y="282"/>
                    <a:pt x="175" y="281"/>
                    <a:pt x="172" y="275"/>
                  </a:cubicBezTo>
                  <a:cubicBezTo>
                    <a:pt x="170" y="269"/>
                    <a:pt x="165" y="263"/>
                    <a:pt x="164" y="262"/>
                  </a:cubicBezTo>
                  <a:cubicBezTo>
                    <a:pt x="164" y="261"/>
                    <a:pt x="157" y="255"/>
                    <a:pt x="157" y="254"/>
                  </a:cubicBezTo>
                  <a:cubicBezTo>
                    <a:pt x="157" y="254"/>
                    <a:pt x="167" y="247"/>
                    <a:pt x="167" y="246"/>
                  </a:cubicBezTo>
                  <a:cubicBezTo>
                    <a:pt x="167" y="245"/>
                    <a:pt x="167" y="230"/>
                    <a:pt x="167" y="230"/>
                  </a:cubicBezTo>
                  <a:cubicBezTo>
                    <a:pt x="167" y="230"/>
                    <a:pt x="175" y="223"/>
                    <a:pt x="175" y="220"/>
                  </a:cubicBezTo>
                  <a:cubicBezTo>
                    <a:pt x="174" y="217"/>
                    <a:pt x="173" y="201"/>
                    <a:pt x="179" y="200"/>
                  </a:cubicBezTo>
                  <a:cubicBezTo>
                    <a:pt x="185" y="199"/>
                    <a:pt x="192" y="197"/>
                    <a:pt x="194" y="195"/>
                  </a:cubicBezTo>
                  <a:cubicBezTo>
                    <a:pt x="196" y="193"/>
                    <a:pt x="201" y="188"/>
                    <a:pt x="201" y="183"/>
                  </a:cubicBezTo>
                  <a:cubicBezTo>
                    <a:pt x="201" y="178"/>
                    <a:pt x="200" y="176"/>
                    <a:pt x="205" y="172"/>
                  </a:cubicBezTo>
                  <a:cubicBezTo>
                    <a:pt x="211" y="168"/>
                    <a:pt x="214" y="166"/>
                    <a:pt x="214" y="166"/>
                  </a:cubicBezTo>
                  <a:cubicBezTo>
                    <a:pt x="214" y="165"/>
                    <a:pt x="214" y="155"/>
                    <a:pt x="214" y="155"/>
                  </a:cubicBezTo>
                  <a:cubicBezTo>
                    <a:pt x="220" y="151"/>
                    <a:pt x="220" y="151"/>
                    <a:pt x="220" y="151"/>
                  </a:cubicBezTo>
                  <a:cubicBezTo>
                    <a:pt x="220" y="151"/>
                    <a:pt x="217" y="136"/>
                    <a:pt x="224" y="134"/>
                  </a:cubicBezTo>
                  <a:cubicBezTo>
                    <a:pt x="232" y="132"/>
                    <a:pt x="250" y="127"/>
                    <a:pt x="250" y="127"/>
                  </a:cubicBezTo>
                  <a:cubicBezTo>
                    <a:pt x="250" y="127"/>
                    <a:pt x="250" y="127"/>
                    <a:pt x="250" y="126"/>
                  </a:cubicBezTo>
                  <a:cubicBezTo>
                    <a:pt x="240" y="113"/>
                    <a:pt x="240" y="113"/>
                    <a:pt x="240" y="113"/>
                  </a:cubicBezTo>
                  <a:cubicBezTo>
                    <a:pt x="229" y="115"/>
                    <a:pt x="229" y="115"/>
                    <a:pt x="229" y="115"/>
                  </a:cubicBezTo>
                  <a:cubicBezTo>
                    <a:pt x="229" y="115"/>
                    <a:pt x="192" y="72"/>
                    <a:pt x="183" y="67"/>
                  </a:cubicBezTo>
                  <a:cubicBezTo>
                    <a:pt x="174" y="62"/>
                    <a:pt x="179" y="57"/>
                    <a:pt x="179" y="57"/>
                  </a:cubicBezTo>
                  <a:cubicBezTo>
                    <a:pt x="160" y="55"/>
                    <a:pt x="160" y="55"/>
                    <a:pt x="160" y="55"/>
                  </a:cubicBezTo>
                  <a:cubicBezTo>
                    <a:pt x="158" y="47"/>
                    <a:pt x="158" y="47"/>
                    <a:pt x="158" y="47"/>
                  </a:cubicBezTo>
                  <a:cubicBezTo>
                    <a:pt x="148" y="41"/>
                    <a:pt x="148" y="41"/>
                    <a:pt x="148" y="41"/>
                  </a:cubicBezTo>
                  <a:cubicBezTo>
                    <a:pt x="148" y="41"/>
                    <a:pt x="139" y="40"/>
                    <a:pt x="128" y="30"/>
                  </a:cubicBezTo>
                  <a:cubicBezTo>
                    <a:pt x="117" y="20"/>
                    <a:pt x="109" y="17"/>
                    <a:pt x="102" y="16"/>
                  </a:cubicBezTo>
                  <a:cubicBezTo>
                    <a:pt x="95" y="15"/>
                    <a:pt x="90" y="5"/>
                    <a:pt x="90" y="5"/>
                  </a:cubicBezTo>
                  <a:cubicBezTo>
                    <a:pt x="90" y="5"/>
                    <a:pt x="58" y="0"/>
                    <a:pt x="56" y="2"/>
                  </a:cubicBezTo>
                  <a:cubicBezTo>
                    <a:pt x="54" y="4"/>
                    <a:pt x="34" y="9"/>
                    <a:pt x="33" y="9"/>
                  </a:cubicBezTo>
                  <a:cubicBezTo>
                    <a:pt x="33" y="10"/>
                    <a:pt x="19" y="10"/>
                    <a:pt x="7" y="9"/>
                  </a:cubicBezTo>
                  <a:cubicBezTo>
                    <a:pt x="9" y="20"/>
                    <a:pt x="9" y="20"/>
                    <a:pt x="9" y="20"/>
                  </a:cubicBezTo>
                  <a:cubicBezTo>
                    <a:pt x="1" y="26"/>
                    <a:pt x="1" y="26"/>
                    <a:pt x="1" y="26"/>
                  </a:cubicBezTo>
                  <a:cubicBezTo>
                    <a:pt x="0" y="40"/>
                    <a:pt x="0" y="40"/>
                    <a:pt x="0" y="40"/>
                  </a:cubicBezTo>
                  <a:cubicBezTo>
                    <a:pt x="4" y="41"/>
                    <a:pt x="4" y="41"/>
                    <a:pt x="4" y="41"/>
                  </a:cubicBezTo>
                  <a:cubicBezTo>
                    <a:pt x="4" y="54"/>
                    <a:pt x="4" y="54"/>
                    <a:pt x="4" y="54"/>
                  </a:cubicBezTo>
                  <a:cubicBezTo>
                    <a:pt x="10" y="58"/>
                    <a:pt x="10" y="58"/>
                    <a:pt x="10" y="58"/>
                  </a:cubicBezTo>
                  <a:cubicBezTo>
                    <a:pt x="5" y="64"/>
                    <a:pt x="5" y="64"/>
                    <a:pt x="5" y="64"/>
                  </a:cubicBezTo>
                  <a:cubicBezTo>
                    <a:pt x="8" y="75"/>
                    <a:pt x="8" y="75"/>
                    <a:pt x="8" y="75"/>
                  </a:cubicBezTo>
                  <a:cubicBezTo>
                    <a:pt x="15" y="76"/>
                    <a:pt x="15" y="76"/>
                    <a:pt x="15" y="76"/>
                  </a:cubicBezTo>
                  <a:cubicBezTo>
                    <a:pt x="17" y="95"/>
                    <a:pt x="17" y="95"/>
                    <a:pt x="17" y="95"/>
                  </a:cubicBezTo>
                  <a:cubicBezTo>
                    <a:pt x="17" y="95"/>
                    <a:pt x="8" y="109"/>
                    <a:pt x="8" y="110"/>
                  </a:cubicBezTo>
                  <a:cubicBezTo>
                    <a:pt x="8" y="111"/>
                    <a:pt x="13" y="120"/>
                    <a:pt x="13" y="120"/>
                  </a:cubicBezTo>
                  <a:cubicBezTo>
                    <a:pt x="9" y="132"/>
                    <a:pt x="9" y="132"/>
                    <a:pt x="9" y="132"/>
                  </a:cubicBezTo>
                  <a:cubicBezTo>
                    <a:pt x="29" y="148"/>
                    <a:pt x="29" y="148"/>
                    <a:pt x="29" y="148"/>
                  </a:cubicBezTo>
                  <a:cubicBezTo>
                    <a:pt x="30" y="200"/>
                    <a:pt x="30" y="200"/>
                    <a:pt x="30" y="200"/>
                  </a:cubicBezTo>
                  <a:cubicBezTo>
                    <a:pt x="42" y="240"/>
                    <a:pt x="42" y="240"/>
                    <a:pt x="42" y="240"/>
                  </a:cubicBezTo>
                  <a:cubicBezTo>
                    <a:pt x="53" y="239"/>
                    <a:pt x="53" y="239"/>
                    <a:pt x="53" y="239"/>
                  </a:cubicBezTo>
                  <a:cubicBezTo>
                    <a:pt x="53" y="239"/>
                    <a:pt x="57" y="243"/>
                    <a:pt x="60" y="246"/>
                  </a:cubicBezTo>
                  <a:cubicBezTo>
                    <a:pt x="63" y="248"/>
                    <a:pt x="56" y="251"/>
                    <a:pt x="56" y="251"/>
                  </a:cubicBezTo>
                  <a:cubicBezTo>
                    <a:pt x="59" y="255"/>
                    <a:pt x="59" y="255"/>
                    <a:pt x="59" y="255"/>
                  </a:cubicBezTo>
                  <a:cubicBezTo>
                    <a:pt x="59" y="255"/>
                    <a:pt x="62" y="261"/>
                    <a:pt x="56" y="265"/>
                  </a:cubicBezTo>
                  <a:cubicBezTo>
                    <a:pt x="51" y="268"/>
                    <a:pt x="53" y="275"/>
                    <a:pt x="54" y="277"/>
                  </a:cubicBezTo>
                  <a:cubicBezTo>
                    <a:pt x="70" y="281"/>
                    <a:pt x="70" y="281"/>
                    <a:pt x="70" y="281"/>
                  </a:cubicBezTo>
                  <a:lnTo>
                    <a:pt x="76" y="284"/>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3" name="Freeform 339">
              <a:extLst>
                <a:ext uri="{FF2B5EF4-FFF2-40B4-BE49-F238E27FC236}">
                  <a16:creationId xmlns:a16="http://schemas.microsoft.com/office/drawing/2014/main" id="{B611B1BA-ECD9-44FE-990A-2497C83F0260}"/>
                </a:ext>
              </a:extLst>
            </p:cNvPr>
            <p:cNvSpPr>
              <a:spLocks noChangeAspect="1"/>
            </p:cNvSpPr>
            <p:nvPr/>
          </p:nvSpPr>
          <p:spPr bwMode="auto">
            <a:xfrm>
              <a:off x="14386" y="1419"/>
              <a:ext cx="433" cy="261"/>
            </a:xfrm>
            <a:custGeom>
              <a:avLst/>
              <a:gdLst/>
              <a:ahLst/>
              <a:cxnLst>
                <a:cxn ang="0">
                  <a:pos x="16" y="104"/>
                </a:cxn>
                <a:cxn ang="0">
                  <a:pos x="19" y="98"/>
                </a:cxn>
                <a:cxn ang="0">
                  <a:pos x="25" y="103"/>
                </a:cxn>
                <a:cxn ang="0">
                  <a:pos x="32" y="96"/>
                </a:cxn>
                <a:cxn ang="0">
                  <a:pos x="41" y="94"/>
                </a:cxn>
                <a:cxn ang="0">
                  <a:pos x="48" y="82"/>
                </a:cxn>
                <a:cxn ang="0">
                  <a:pos x="63" y="80"/>
                </a:cxn>
                <a:cxn ang="0">
                  <a:pos x="78" y="70"/>
                </a:cxn>
                <a:cxn ang="0">
                  <a:pos x="83" y="79"/>
                </a:cxn>
                <a:cxn ang="0">
                  <a:pos x="77" y="82"/>
                </a:cxn>
                <a:cxn ang="0">
                  <a:pos x="69" y="92"/>
                </a:cxn>
                <a:cxn ang="0">
                  <a:pos x="71" y="98"/>
                </a:cxn>
                <a:cxn ang="0">
                  <a:pos x="64" y="104"/>
                </a:cxn>
                <a:cxn ang="0">
                  <a:pos x="63" y="112"/>
                </a:cxn>
                <a:cxn ang="0">
                  <a:pos x="81" y="119"/>
                </a:cxn>
                <a:cxn ang="0">
                  <a:pos x="103" y="115"/>
                </a:cxn>
                <a:cxn ang="0">
                  <a:pos x="108" y="130"/>
                </a:cxn>
                <a:cxn ang="0">
                  <a:pos x="123" y="119"/>
                </a:cxn>
                <a:cxn ang="0">
                  <a:pos x="121" y="112"/>
                </a:cxn>
                <a:cxn ang="0">
                  <a:pos x="125" y="108"/>
                </a:cxn>
                <a:cxn ang="0">
                  <a:pos x="120" y="99"/>
                </a:cxn>
                <a:cxn ang="0">
                  <a:pos x="131" y="90"/>
                </a:cxn>
                <a:cxn ang="0">
                  <a:pos x="153" y="97"/>
                </a:cxn>
                <a:cxn ang="0">
                  <a:pos x="188" y="97"/>
                </a:cxn>
                <a:cxn ang="0">
                  <a:pos x="193" y="102"/>
                </a:cxn>
                <a:cxn ang="0">
                  <a:pos x="216" y="102"/>
                </a:cxn>
                <a:cxn ang="0">
                  <a:pos x="215" y="98"/>
                </a:cxn>
                <a:cxn ang="0">
                  <a:pos x="209" y="87"/>
                </a:cxn>
                <a:cxn ang="0">
                  <a:pos x="208" y="69"/>
                </a:cxn>
                <a:cxn ang="0">
                  <a:pos x="201" y="46"/>
                </a:cxn>
                <a:cxn ang="0">
                  <a:pos x="181" y="19"/>
                </a:cxn>
                <a:cxn ang="0">
                  <a:pos x="160" y="12"/>
                </a:cxn>
                <a:cxn ang="0">
                  <a:pos x="138" y="18"/>
                </a:cxn>
                <a:cxn ang="0">
                  <a:pos x="128" y="12"/>
                </a:cxn>
                <a:cxn ang="0">
                  <a:pos x="115" y="19"/>
                </a:cxn>
                <a:cxn ang="0">
                  <a:pos x="101" y="7"/>
                </a:cxn>
                <a:cxn ang="0">
                  <a:pos x="82" y="7"/>
                </a:cxn>
                <a:cxn ang="0">
                  <a:pos x="77" y="0"/>
                </a:cxn>
                <a:cxn ang="0">
                  <a:pos x="77" y="1"/>
                </a:cxn>
                <a:cxn ang="0">
                  <a:pos x="51" y="8"/>
                </a:cxn>
                <a:cxn ang="0">
                  <a:pos x="47" y="25"/>
                </a:cxn>
                <a:cxn ang="0">
                  <a:pos x="41" y="29"/>
                </a:cxn>
                <a:cxn ang="0">
                  <a:pos x="41" y="40"/>
                </a:cxn>
                <a:cxn ang="0">
                  <a:pos x="32" y="46"/>
                </a:cxn>
                <a:cxn ang="0">
                  <a:pos x="28" y="57"/>
                </a:cxn>
                <a:cxn ang="0">
                  <a:pos x="21" y="69"/>
                </a:cxn>
                <a:cxn ang="0">
                  <a:pos x="6" y="74"/>
                </a:cxn>
                <a:cxn ang="0">
                  <a:pos x="2" y="94"/>
                </a:cxn>
                <a:cxn ang="0">
                  <a:pos x="2" y="94"/>
                </a:cxn>
                <a:cxn ang="0">
                  <a:pos x="10" y="97"/>
                </a:cxn>
                <a:cxn ang="0">
                  <a:pos x="16" y="104"/>
                </a:cxn>
              </a:cxnLst>
              <a:rect l="0" t="0" r="r" b="b"/>
              <a:pathLst>
                <a:path w="216" h="131">
                  <a:moveTo>
                    <a:pt x="16" y="104"/>
                  </a:moveTo>
                  <a:cubicBezTo>
                    <a:pt x="19" y="98"/>
                    <a:pt x="19" y="98"/>
                    <a:pt x="19" y="98"/>
                  </a:cubicBezTo>
                  <a:cubicBezTo>
                    <a:pt x="25" y="103"/>
                    <a:pt x="25" y="103"/>
                    <a:pt x="25" y="103"/>
                  </a:cubicBezTo>
                  <a:cubicBezTo>
                    <a:pt x="25" y="103"/>
                    <a:pt x="33" y="96"/>
                    <a:pt x="32" y="96"/>
                  </a:cubicBezTo>
                  <a:cubicBezTo>
                    <a:pt x="31" y="95"/>
                    <a:pt x="35" y="94"/>
                    <a:pt x="41" y="94"/>
                  </a:cubicBezTo>
                  <a:cubicBezTo>
                    <a:pt x="46" y="94"/>
                    <a:pt x="47" y="86"/>
                    <a:pt x="48" y="82"/>
                  </a:cubicBezTo>
                  <a:cubicBezTo>
                    <a:pt x="50" y="79"/>
                    <a:pt x="58" y="81"/>
                    <a:pt x="63" y="80"/>
                  </a:cubicBezTo>
                  <a:cubicBezTo>
                    <a:pt x="68" y="80"/>
                    <a:pt x="78" y="70"/>
                    <a:pt x="78" y="70"/>
                  </a:cubicBezTo>
                  <a:cubicBezTo>
                    <a:pt x="78" y="70"/>
                    <a:pt x="83" y="78"/>
                    <a:pt x="83" y="79"/>
                  </a:cubicBezTo>
                  <a:cubicBezTo>
                    <a:pt x="83" y="79"/>
                    <a:pt x="77" y="82"/>
                    <a:pt x="77" y="82"/>
                  </a:cubicBezTo>
                  <a:cubicBezTo>
                    <a:pt x="69" y="92"/>
                    <a:pt x="69" y="92"/>
                    <a:pt x="69" y="92"/>
                  </a:cubicBezTo>
                  <a:cubicBezTo>
                    <a:pt x="71" y="98"/>
                    <a:pt x="71" y="98"/>
                    <a:pt x="71" y="98"/>
                  </a:cubicBezTo>
                  <a:cubicBezTo>
                    <a:pt x="71" y="98"/>
                    <a:pt x="65" y="103"/>
                    <a:pt x="64" y="104"/>
                  </a:cubicBezTo>
                  <a:cubicBezTo>
                    <a:pt x="64" y="105"/>
                    <a:pt x="63" y="112"/>
                    <a:pt x="63" y="112"/>
                  </a:cubicBezTo>
                  <a:cubicBezTo>
                    <a:pt x="63" y="112"/>
                    <a:pt x="79" y="119"/>
                    <a:pt x="81" y="119"/>
                  </a:cubicBezTo>
                  <a:cubicBezTo>
                    <a:pt x="83" y="120"/>
                    <a:pt x="95" y="114"/>
                    <a:pt x="103" y="115"/>
                  </a:cubicBezTo>
                  <a:cubicBezTo>
                    <a:pt x="112" y="115"/>
                    <a:pt x="108" y="129"/>
                    <a:pt x="108" y="130"/>
                  </a:cubicBezTo>
                  <a:cubicBezTo>
                    <a:pt x="108" y="131"/>
                    <a:pt x="123" y="119"/>
                    <a:pt x="123" y="119"/>
                  </a:cubicBezTo>
                  <a:cubicBezTo>
                    <a:pt x="121" y="112"/>
                    <a:pt x="121" y="112"/>
                    <a:pt x="121" y="112"/>
                  </a:cubicBezTo>
                  <a:cubicBezTo>
                    <a:pt x="125" y="108"/>
                    <a:pt x="125" y="108"/>
                    <a:pt x="125" y="108"/>
                  </a:cubicBezTo>
                  <a:cubicBezTo>
                    <a:pt x="120" y="99"/>
                    <a:pt x="120" y="99"/>
                    <a:pt x="120" y="99"/>
                  </a:cubicBezTo>
                  <a:cubicBezTo>
                    <a:pt x="120" y="99"/>
                    <a:pt x="125" y="90"/>
                    <a:pt x="131" y="90"/>
                  </a:cubicBezTo>
                  <a:cubicBezTo>
                    <a:pt x="138" y="89"/>
                    <a:pt x="153" y="97"/>
                    <a:pt x="153" y="97"/>
                  </a:cubicBezTo>
                  <a:cubicBezTo>
                    <a:pt x="153" y="97"/>
                    <a:pt x="188" y="97"/>
                    <a:pt x="188" y="97"/>
                  </a:cubicBezTo>
                  <a:cubicBezTo>
                    <a:pt x="189" y="97"/>
                    <a:pt x="193" y="102"/>
                    <a:pt x="193" y="102"/>
                  </a:cubicBezTo>
                  <a:cubicBezTo>
                    <a:pt x="216" y="102"/>
                    <a:pt x="216" y="102"/>
                    <a:pt x="216" y="102"/>
                  </a:cubicBezTo>
                  <a:cubicBezTo>
                    <a:pt x="216" y="100"/>
                    <a:pt x="215" y="98"/>
                    <a:pt x="215" y="98"/>
                  </a:cubicBezTo>
                  <a:cubicBezTo>
                    <a:pt x="209" y="87"/>
                    <a:pt x="209" y="87"/>
                    <a:pt x="209" y="87"/>
                  </a:cubicBezTo>
                  <a:cubicBezTo>
                    <a:pt x="208" y="69"/>
                    <a:pt x="208" y="69"/>
                    <a:pt x="208" y="69"/>
                  </a:cubicBezTo>
                  <a:cubicBezTo>
                    <a:pt x="208" y="69"/>
                    <a:pt x="201" y="55"/>
                    <a:pt x="201" y="46"/>
                  </a:cubicBezTo>
                  <a:cubicBezTo>
                    <a:pt x="201" y="36"/>
                    <a:pt x="190" y="26"/>
                    <a:pt x="181" y="19"/>
                  </a:cubicBezTo>
                  <a:cubicBezTo>
                    <a:pt x="173" y="11"/>
                    <a:pt x="160" y="12"/>
                    <a:pt x="160" y="12"/>
                  </a:cubicBezTo>
                  <a:cubicBezTo>
                    <a:pt x="160" y="12"/>
                    <a:pt x="143" y="17"/>
                    <a:pt x="138" y="18"/>
                  </a:cubicBezTo>
                  <a:cubicBezTo>
                    <a:pt x="134" y="19"/>
                    <a:pt x="128" y="12"/>
                    <a:pt x="128" y="12"/>
                  </a:cubicBezTo>
                  <a:cubicBezTo>
                    <a:pt x="115" y="19"/>
                    <a:pt x="115" y="19"/>
                    <a:pt x="115" y="19"/>
                  </a:cubicBezTo>
                  <a:cubicBezTo>
                    <a:pt x="101" y="7"/>
                    <a:pt x="101" y="7"/>
                    <a:pt x="101" y="7"/>
                  </a:cubicBezTo>
                  <a:cubicBezTo>
                    <a:pt x="82" y="7"/>
                    <a:pt x="82" y="7"/>
                    <a:pt x="82" y="7"/>
                  </a:cubicBezTo>
                  <a:cubicBezTo>
                    <a:pt x="77" y="0"/>
                    <a:pt x="77" y="0"/>
                    <a:pt x="77" y="0"/>
                  </a:cubicBezTo>
                  <a:cubicBezTo>
                    <a:pt x="77" y="1"/>
                    <a:pt x="77" y="1"/>
                    <a:pt x="77" y="1"/>
                  </a:cubicBezTo>
                  <a:cubicBezTo>
                    <a:pt x="77" y="1"/>
                    <a:pt x="59" y="6"/>
                    <a:pt x="51" y="8"/>
                  </a:cubicBezTo>
                  <a:cubicBezTo>
                    <a:pt x="44" y="10"/>
                    <a:pt x="47" y="25"/>
                    <a:pt x="47" y="25"/>
                  </a:cubicBezTo>
                  <a:cubicBezTo>
                    <a:pt x="41" y="29"/>
                    <a:pt x="41" y="29"/>
                    <a:pt x="41" y="29"/>
                  </a:cubicBezTo>
                  <a:cubicBezTo>
                    <a:pt x="41" y="29"/>
                    <a:pt x="41" y="39"/>
                    <a:pt x="41" y="40"/>
                  </a:cubicBezTo>
                  <a:cubicBezTo>
                    <a:pt x="41" y="40"/>
                    <a:pt x="38" y="42"/>
                    <a:pt x="32" y="46"/>
                  </a:cubicBezTo>
                  <a:cubicBezTo>
                    <a:pt x="27" y="50"/>
                    <a:pt x="28" y="52"/>
                    <a:pt x="28" y="57"/>
                  </a:cubicBezTo>
                  <a:cubicBezTo>
                    <a:pt x="28" y="62"/>
                    <a:pt x="23" y="67"/>
                    <a:pt x="21" y="69"/>
                  </a:cubicBezTo>
                  <a:cubicBezTo>
                    <a:pt x="19" y="71"/>
                    <a:pt x="12" y="73"/>
                    <a:pt x="6" y="74"/>
                  </a:cubicBezTo>
                  <a:cubicBezTo>
                    <a:pt x="0" y="75"/>
                    <a:pt x="1" y="91"/>
                    <a:pt x="2" y="94"/>
                  </a:cubicBezTo>
                  <a:cubicBezTo>
                    <a:pt x="2" y="94"/>
                    <a:pt x="2" y="94"/>
                    <a:pt x="2" y="94"/>
                  </a:cubicBezTo>
                  <a:cubicBezTo>
                    <a:pt x="10" y="97"/>
                    <a:pt x="10" y="97"/>
                    <a:pt x="10" y="97"/>
                  </a:cubicBezTo>
                  <a:lnTo>
                    <a:pt x="16" y="104"/>
                  </a:lnTo>
                  <a:close/>
                </a:path>
              </a:pathLst>
            </a:custGeom>
            <a:solidFill>
              <a:srgbClr val="00B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4" name="Freeform 340">
              <a:extLst>
                <a:ext uri="{FF2B5EF4-FFF2-40B4-BE49-F238E27FC236}">
                  <a16:creationId xmlns:a16="http://schemas.microsoft.com/office/drawing/2014/main" id="{8EE01042-2E3B-42C8-8355-7FB91EAE752A}"/>
                </a:ext>
              </a:extLst>
            </p:cNvPr>
            <p:cNvSpPr>
              <a:spLocks noChangeAspect="1"/>
            </p:cNvSpPr>
            <p:nvPr/>
          </p:nvSpPr>
          <p:spPr bwMode="auto">
            <a:xfrm>
              <a:off x="14352" y="1559"/>
              <a:ext cx="479" cy="283"/>
            </a:xfrm>
            <a:custGeom>
              <a:avLst/>
              <a:gdLst/>
              <a:ahLst/>
              <a:cxnLst>
                <a:cxn ang="0">
                  <a:pos x="34" y="111"/>
                </a:cxn>
                <a:cxn ang="0">
                  <a:pos x="48" y="109"/>
                </a:cxn>
                <a:cxn ang="0">
                  <a:pos x="71" y="92"/>
                </a:cxn>
                <a:cxn ang="0">
                  <a:pos x="93" y="75"/>
                </a:cxn>
                <a:cxn ang="0">
                  <a:pos x="97" y="97"/>
                </a:cxn>
                <a:cxn ang="0">
                  <a:pos x="93" y="110"/>
                </a:cxn>
                <a:cxn ang="0">
                  <a:pos x="100" y="120"/>
                </a:cxn>
                <a:cxn ang="0">
                  <a:pos x="112" y="140"/>
                </a:cxn>
                <a:cxn ang="0">
                  <a:pos x="131" y="130"/>
                </a:cxn>
                <a:cxn ang="0">
                  <a:pos x="142" y="115"/>
                </a:cxn>
                <a:cxn ang="0">
                  <a:pos x="176" y="107"/>
                </a:cxn>
                <a:cxn ang="0">
                  <a:pos x="202" y="98"/>
                </a:cxn>
                <a:cxn ang="0">
                  <a:pos x="219" y="84"/>
                </a:cxn>
                <a:cxn ang="0">
                  <a:pos x="237" y="62"/>
                </a:cxn>
                <a:cxn ang="0">
                  <a:pos x="209" y="32"/>
                </a:cxn>
                <a:cxn ang="0">
                  <a:pos x="169" y="27"/>
                </a:cxn>
                <a:cxn ang="0">
                  <a:pos x="136" y="29"/>
                </a:cxn>
                <a:cxn ang="0">
                  <a:pos x="137" y="42"/>
                </a:cxn>
                <a:cxn ang="0">
                  <a:pos x="124" y="60"/>
                </a:cxn>
                <a:cxn ang="0">
                  <a:pos x="97" y="49"/>
                </a:cxn>
                <a:cxn ang="0">
                  <a:pos x="80" y="34"/>
                </a:cxn>
                <a:cxn ang="0">
                  <a:pos x="85" y="22"/>
                </a:cxn>
                <a:cxn ang="0">
                  <a:pos x="99" y="9"/>
                </a:cxn>
                <a:cxn ang="0">
                  <a:pos x="79" y="10"/>
                </a:cxn>
                <a:cxn ang="0">
                  <a:pos x="57" y="24"/>
                </a:cxn>
                <a:cxn ang="0">
                  <a:pos x="41" y="33"/>
                </a:cxn>
                <a:cxn ang="0">
                  <a:pos x="32" y="34"/>
                </a:cxn>
                <a:cxn ang="0">
                  <a:pos x="18" y="24"/>
                </a:cxn>
                <a:cxn ang="0">
                  <a:pos x="10" y="50"/>
                </a:cxn>
                <a:cxn ang="0">
                  <a:pos x="7" y="66"/>
                </a:cxn>
                <a:cxn ang="0">
                  <a:pos x="10" y="88"/>
                </a:cxn>
                <a:cxn ang="0">
                  <a:pos x="16" y="108"/>
                </a:cxn>
              </a:cxnLst>
              <a:rect l="0" t="0" r="r" b="b"/>
              <a:pathLst>
                <a:path w="239" h="141">
                  <a:moveTo>
                    <a:pt x="27" y="100"/>
                  </a:moveTo>
                  <a:cubicBezTo>
                    <a:pt x="27" y="100"/>
                    <a:pt x="33" y="111"/>
                    <a:pt x="34" y="111"/>
                  </a:cubicBezTo>
                  <a:cubicBezTo>
                    <a:pt x="35" y="110"/>
                    <a:pt x="43" y="104"/>
                    <a:pt x="43" y="104"/>
                  </a:cubicBezTo>
                  <a:cubicBezTo>
                    <a:pt x="43" y="104"/>
                    <a:pt x="47" y="110"/>
                    <a:pt x="48" y="109"/>
                  </a:cubicBezTo>
                  <a:cubicBezTo>
                    <a:pt x="48" y="108"/>
                    <a:pt x="58" y="101"/>
                    <a:pt x="62" y="99"/>
                  </a:cubicBezTo>
                  <a:cubicBezTo>
                    <a:pt x="66" y="96"/>
                    <a:pt x="68" y="92"/>
                    <a:pt x="71" y="92"/>
                  </a:cubicBezTo>
                  <a:cubicBezTo>
                    <a:pt x="74" y="92"/>
                    <a:pt x="78" y="91"/>
                    <a:pt x="78" y="90"/>
                  </a:cubicBezTo>
                  <a:cubicBezTo>
                    <a:pt x="78" y="89"/>
                    <a:pt x="93" y="75"/>
                    <a:pt x="93" y="75"/>
                  </a:cubicBezTo>
                  <a:cubicBezTo>
                    <a:pt x="93" y="75"/>
                    <a:pt x="113" y="85"/>
                    <a:pt x="110" y="89"/>
                  </a:cubicBezTo>
                  <a:cubicBezTo>
                    <a:pt x="108" y="93"/>
                    <a:pt x="97" y="97"/>
                    <a:pt x="97" y="97"/>
                  </a:cubicBezTo>
                  <a:cubicBezTo>
                    <a:pt x="100" y="106"/>
                    <a:pt x="100" y="106"/>
                    <a:pt x="100" y="106"/>
                  </a:cubicBezTo>
                  <a:cubicBezTo>
                    <a:pt x="93" y="110"/>
                    <a:pt x="93" y="110"/>
                    <a:pt x="93" y="110"/>
                  </a:cubicBezTo>
                  <a:cubicBezTo>
                    <a:pt x="90" y="120"/>
                    <a:pt x="90" y="120"/>
                    <a:pt x="90" y="120"/>
                  </a:cubicBezTo>
                  <a:cubicBezTo>
                    <a:pt x="100" y="120"/>
                    <a:pt x="100" y="120"/>
                    <a:pt x="100" y="120"/>
                  </a:cubicBezTo>
                  <a:cubicBezTo>
                    <a:pt x="99" y="133"/>
                    <a:pt x="99" y="133"/>
                    <a:pt x="99" y="133"/>
                  </a:cubicBezTo>
                  <a:cubicBezTo>
                    <a:pt x="99" y="133"/>
                    <a:pt x="112" y="141"/>
                    <a:pt x="112" y="140"/>
                  </a:cubicBezTo>
                  <a:cubicBezTo>
                    <a:pt x="112" y="139"/>
                    <a:pt x="123" y="130"/>
                    <a:pt x="123" y="130"/>
                  </a:cubicBezTo>
                  <a:cubicBezTo>
                    <a:pt x="131" y="130"/>
                    <a:pt x="131" y="130"/>
                    <a:pt x="131" y="130"/>
                  </a:cubicBezTo>
                  <a:cubicBezTo>
                    <a:pt x="130" y="117"/>
                    <a:pt x="130" y="117"/>
                    <a:pt x="130" y="117"/>
                  </a:cubicBezTo>
                  <a:cubicBezTo>
                    <a:pt x="142" y="115"/>
                    <a:pt x="142" y="115"/>
                    <a:pt x="142" y="115"/>
                  </a:cubicBezTo>
                  <a:cubicBezTo>
                    <a:pt x="142" y="115"/>
                    <a:pt x="144" y="109"/>
                    <a:pt x="145" y="109"/>
                  </a:cubicBezTo>
                  <a:cubicBezTo>
                    <a:pt x="145" y="109"/>
                    <a:pt x="176" y="107"/>
                    <a:pt x="176" y="107"/>
                  </a:cubicBezTo>
                  <a:cubicBezTo>
                    <a:pt x="176" y="107"/>
                    <a:pt x="179" y="101"/>
                    <a:pt x="190" y="100"/>
                  </a:cubicBezTo>
                  <a:cubicBezTo>
                    <a:pt x="200" y="99"/>
                    <a:pt x="202" y="98"/>
                    <a:pt x="202" y="98"/>
                  </a:cubicBezTo>
                  <a:cubicBezTo>
                    <a:pt x="202" y="98"/>
                    <a:pt x="201" y="88"/>
                    <a:pt x="202" y="88"/>
                  </a:cubicBezTo>
                  <a:cubicBezTo>
                    <a:pt x="202" y="87"/>
                    <a:pt x="219" y="84"/>
                    <a:pt x="219" y="84"/>
                  </a:cubicBezTo>
                  <a:cubicBezTo>
                    <a:pt x="239" y="102"/>
                    <a:pt x="239" y="102"/>
                    <a:pt x="239" y="102"/>
                  </a:cubicBezTo>
                  <a:cubicBezTo>
                    <a:pt x="239" y="86"/>
                    <a:pt x="238" y="65"/>
                    <a:pt x="237" y="62"/>
                  </a:cubicBezTo>
                  <a:cubicBezTo>
                    <a:pt x="237" y="59"/>
                    <a:pt x="234" y="41"/>
                    <a:pt x="232" y="32"/>
                  </a:cubicBezTo>
                  <a:cubicBezTo>
                    <a:pt x="209" y="32"/>
                    <a:pt x="209" y="32"/>
                    <a:pt x="209" y="32"/>
                  </a:cubicBezTo>
                  <a:cubicBezTo>
                    <a:pt x="209" y="32"/>
                    <a:pt x="205" y="27"/>
                    <a:pt x="204" y="27"/>
                  </a:cubicBezTo>
                  <a:cubicBezTo>
                    <a:pt x="204" y="27"/>
                    <a:pt x="169" y="27"/>
                    <a:pt x="169" y="27"/>
                  </a:cubicBezTo>
                  <a:cubicBezTo>
                    <a:pt x="169" y="27"/>
                    <a:pt x="154" y="19"/>
                    <a:pt x="147" y="20"/>
                  </a:cubicBezTo>
                  <a:cubicBezTo>
                    <a:pt x="141" y="20"/>
                    <a:pt x="136" y="29"/>
                    <a:pt x="136" y="29"/>
                  </a:cubicBezTo>
                  <a:cubicBezTo>
                    <a:pt x="141" y="38"/>
                    <a:pt x="141" y="38"/>
                    <a:pt x="141" y="38"/>
                  </a:cubicBezTo>
                  <a:cubicBezTo>
                    <a:pt x="137" y="42"/>
                    <a:pt x="137" y="42"/>
                    <a:pt x="137" y="42"/>
                  </a:cubicBezTo>
                  <a:cubicBezTo>
                    <a:pt x="139" y="49"/>
                    <a:pt x="139" y="49"/>
                    <a:pt x="139" y="49"/>
                  </a:cubicBezTo>
                  <a:cubicBezTo>
                    <a:pt x="139" y="49"/>
                    <a:pt x="124" y="61"/>
                    <a:pt x="124" y="60"/>
                  </a:cubicBezTo>
                  <a:cubicBezTo>
                    <a:pt x="124" y="59"/>
                    <a:pt x="128" y="45"/>
                    <a:pt x="119" y="45"/>
                  </a:cubicBezTo>
                  <a:cubicBezTo>
                    <a:pt x="111" y="44"/>
                    <a:pt x="99" y="50"/>
                    <a:pt x="97" y="49"/>
                  </a:cubicBezTo>
                  <a:cubicBezTo>
                    <a:pt x="95" y="49"/>
                    <a:pt x="79" y="42"/>
                    <a:pt x="79" y="42"/>
                  </a:cubicBezTo>
                  <a:cubicBezTo>
                    <a:pt x="79" y="42"/>
                    <a:pt x="80" y="35"/>
                    <a:pt x="80" y="34"/>
                  </a:cubicBezTo>
                  <a:cubicBezTo>
                    <a:pt x="81" y="33"/>
                    <a:pt x="87" y="28"/>
                    <a:pt x="87" y="28"/>
                  </a:cubicBezTo>
                  <a:cubicBezTo>
                    <a:pt x="85" y="22"/>
                    <a:pt x="85" y="22"/>
                    <a:pt x="85" y="22"/>
                  </a:cubicBezTo>
                  <a:cubicBezTo>
                    <a:pt x="93" y="12"/>
                    <a:pt x="93" y="12"/>
                    <a:pt x="93" y="12"/>
                  </a:cubicBezTo>
                  <a:cubicBezTo>
                    <a:pt x="93" y="12"/>
                    <a:pt x="99" y="9"/>
                    <a:pt x="99" y="9"/>
                  </a:cubicBezTo>
                  <a:cubicBezTo>
                    <a:pt x="99" y="8"/>
                    <a:pt x="94" y="0"/>
                    <a:pt x="94" y="0"/>
                  </a:cubicBezTo>
                  <a:cubicBezTo>
                    <a:pt x="94" y="0"/>
                    <a:pt x="84" y="10"/>
                    <a:pt x="79" y="10"/>
                  </a:cubicBezTo>
                  <a:cubicBezTo>
                    <a:pt x="74" y="11"/>
                    <a:pt x="66" y="9"/>
                    <a:pt x="64" y="12"/>
                  </a:cubicBezTo>
                  <a:cubicBezTo>
                    <a:pt x="63" y="16"/>
                    <a:pt x="62" y="24"/>
                    <a:pt x="57" y="24"/>
                  </a:cubicBezTo>
                  <a:cubicBezTo>
                    <a:pt x="51" y="24"/>
                    <a:pt x="47" y="25"/>
                    <a:pt x="48" y="26"/>
                  </a:cubicBezTo>
                  <a:cubicBezTo>
                    <a:pt x="49" y="26"/>
                    <a:pt x="41" y="33"/>
                    <a:pt x="41" y="33"/>
                  </a:cubicBezTo>
                  <a:cubicBezTo>
                    <a:pt x="35" y="28"/>
                    <a:pt x="35" y="28"/>
                    <a:pt x="35" y="28"/>
                  </a:cubicBezTo>
                  <a:cubicBezTo>
                    <a:pt x="32" y="34"/>
                    <a:pt x="32" y="34"/>
                    <a:pt x="32" y="34"/>
                  </a:cubicBezTo>
                  <a:cubicBezTo>
                    <a:pt x="26" y="27"/>
                    <a:pt x="26" y="27"/>
                    <a:pt x="26" y="27"/>
                  </a:cubicBezTo>
                  <a:cubicBezTo>
                    <a:pt x="18" y="24"/>
                    <a:pt x="18" y="24"/>
                    <a:pt x="18" y="24"/>
                  </a:cubicBezTo>
                  <a:cubicBezTo>
                    <a:pt x="17" y="27"/>
                    <a:pt x="10" y="34"/>
                    <a:pt x="10" y="34"/>
                  </a:cubicBezTo>
                  <a:cubicBezTo>
                    <a:pt x="10" y="34"/>
                    <a:pt x="10" y="49"/>
                    <a:pt x="10" y="50"/>
                  </a:cubicBezTo>
                  <a:cubicBezTo>
                    <a:pt x="10" y="51"/>
                    <a:pt x="0" y="58"/>
                    <a:pt x="0" y="58"/>
                  </a:cubicBezTo>
                  <a:cubicBezTo>
                    <a:pt x="0" y="59"/>
                    <a:pt x="7" y="65"/>
                    <a:pt x="7" y="66"/>
                  </a:cubicBezTo>
                  <a:cubicBezTo>
                    <a:pt x="8" y="67"/>
                    <a:pt x="13" y="73"/>
                    <a:pt x="15" y="79"/>
                  </a:cubicBezTo>
                  <a:cubicBezTo>
                    <a:pt x="18" y="85"/>
                    <a:pt x="12" y="86"/>
                    <a:pt x="10" y="88"/>
                  </a:cubicBezTo>
                  <a:cubicBezTo>
                    <a:pt x="9" y="90"/>
                    <a:pt x="5" y="96"/>
                    <a:pt x="4" y="97"/>
                  </a:cubicBezTo>
                  <a:cubicBezTo>
                    <a:pt x="16" y="108"/>
                    <a:pt x="16" y="108"/>
                    <a:pt x="16" y="108"/>
                  </a:cubicBezTo>
                  <a:lnTo>
                    <a:pt x="27" y="100"/>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5" name="Freeform 341">
              <a:extLst>
                <a:ext uri="{FF2B5EF4-FFF2-40B4-BE49-F238E27FC236}">
                  <a16:creationId xmlns:a16="http://schemas.microsoft.com/office/drawing/2014/main" id="{8DD1326F-65A4-4DAA-974B-9E56E6699C65}"/>
                </a:ext>
              </a:extLst>
            </p:cNvPr>
            <p:cNvSpPr>
              <a:spLocks noChangeAspect="1"/>
            </p:cNvSpPr>
            <p:nvPr/>
          </p:nvSpPr>
          <p:spPr bwMode="auto">
            <a:xfrm>
              <a:off x="14062" y="1709"/>
              <a:ext cx="773" cy="280"/>
            </a:xfrm>
            <a:custGeom>
              <a:avLst/>
              <a:gdLst>
                <a:gd name="T0" fmla="*/ 773 w 386"/>
                <a:gd name="T1" fmla="*/ 86 h 140"/>
                <a:gd name="T2" fmla="*/ 731 w 386"/>
                <a:gd name="T3" fmla="*/ 18 h 140"/>
                <a:gd name="T4" fmla="*/ 697 w 386"/>
                <a:gd name="T5" fmla="*/ 46 h 140"/>
                <a:gd name="T6" fmla="*/ 645 w 386"/>
                <a:gd name="T7" fmla="*/ 64 h 140"/>
                <a:gd name="T8" fmla="*/ 577 w 386"/>
                <a:gd name="T9" fmla="*/ 80 h 140"/>
                <a:gd name="T10" fmla="*/ 555 w 386"/>
                <a:gd name="T11" fmla="*/ 110 h 140"/>
                <a:gd name="T12" fmla="*/ 517 w 386"/>
                <a:gd name="T13" fmla="*/ 130 h 140"/>
                <a:gd name="T14" fmla="*/ 493 w 386"/>
                <a:gd name="T15" fmla="*/ 90 h 140"/>
                <a:gd name="T16" fmla="*/ 479 w 386"/>
                <a:gd name="T17" fmla="*/ 70 h 140"/>
                <a:gd name="T18" fmla="*/ 487 w 386"/>
                <a:gd name="T19" fmla="*/ 44 h 140"/>
                <a:gd name="T20" fmla="*/ 479 w 386"/>
                <a:gd name="T21" fmla="*/ 0 h 140"/>
                <a:gd name="T22" fmla="*/ 435 w 386"/>
                <a:gd name="T23" fmla="*/ 34 h 140"/>
                <a:gd name="T24" fmla="*/ 389 w 386"/>
                <a:gd name="T25" fmla="*/ 68 h 140"/>
                <a:gd name="T26" fmla="*/ 360 w 386"/>
                <a:gd name="T27" fmla="*/ 72 h 140"/>
                <a:gd name="T28" fmla="*/ 324 w 386"/>
                <a:gd name="T29" fmla="*/ 66 h 140"/>
                <a:gd name="T30" fmla="*/ 300 w 386"/>
                <a:gd name="T31" fmla="*/ 46 h 140"/>
                <a:gd name="T32" fmla="*/ 274 w 386"/>
                <a:gd name="T33" fmla="*/ 74 h 140"/>
                <a:gd name="T34" fmla="*/ 236 w 386"/>
                <a:gd name="T35" fmla="*/ 56 h 140"/>
                <a:gd name="T36" fmla="*/ 204 w 386"/>
                <a:gd name="T37" fmla="*/ 28 h 140"/>
                <a:gd name="T38" fmla="*/ 130 w 386"/>
                <a:gd name="T39" fmla="*/ 26 h 140"/>
                <a:gd name="T40" fmla="*/ 86 w 386"/>
                <a:gd name="T41" fmla="*/ 12 h 140"/>
                <a:gd name="T42" fmla="*/ 62 w 386"/>
                <a:gd name="T43" fmla="*/ 28 h 140"/>
                <a:gd name="T44" fmla="*/ 60 w 386"/>
                <a:gd name="T45" fmla="*/ 88 h 140"/>
                <a:gd name="T46" fmla="*/ 0 w 386"/>
                <a:gd name="T47" fmla="*/ 210 h 140"/>
                <a:gd name="T48" fmla="*/ 70 w 386"/>
                <a:gd name="T49" fmla="*/ 274 h 140"/>
                <a:gd name="T50" fmla="*/ 120 w 386"/>
                <a:gd name="T51" fmla="*/ 222 h 140"/>
                <a:gd name="T52" fmla="*/ 164 w 386"/>
                <a:gd name="T53" fmla="*/ 208 h 140"/>
                <a:gd name="T54" fmla="*/ 182 w 386"/>
                <a:gd name="T55" fmla="*/ 188 h 140"/>
                <a:gd name="T56" fmla="*/ 224 w 386"/>
                <a:gd name="T57" fmla="*/ 154 h 140"/>
                <a:gd name="T58" fmla="*/ 308 w 386"/>
                <a:gd name="T59" fmla="*/ 208 h 140"/>
                <a:gd name="T60" fmla="*/ 334 w 386"/>
                <a:gd name="T61" fmla="*/ 220 h 140"/>
                <a:gd name="T62" fmla="*/ 356 w 386"/>
                <a:gd name="T63" fmla="*/ 222 h 140"/>
                <a:gd name="T64" fmla="*/ 366 w 386"/>
                <a:gd name="T65" fmla="*/ 254 h 140"/>
                <a:gd name="T66" fmla="*/ 415 w 386"/>
                <a:gd name="T67" fmla="*/ 196 h 140"/>
                <a:gd name="T68" fmla="*/ 453 w 386"/>
                <a:gd name="T69" fmla="*/ 210 h 140"/>
                <a:gd name="T70" fmla="*/ 479 w 386"/>
                <a:gd name="T71" fmla="*/ 242 h 140"/>
                <a:gd name="T72" fmla="*/ 517 w 386"/>
                <a:gd name="T73" fmla="*/ 260 h 140"/>
                <a:gd name="T74" fmla="*/ 567 w 386"/>
                <a:gd name="T75" fmla="*/ 250 h 140"/>
                <a:gd name="T76" fmla="*/ 605 w 386"/>
                <a:gd name="T77" fmla="*/ 234 h 140"/>
                <a:gd name="T78" fmla="*/ 649 w 386"/>
                <a:gd name="T79" fmla="*/ 192 h 140"/>
                <a:gd name="T80" fmla="*/ 685 w 386"/>
                <a:gd name="T81" fmla="*/ 194 h 140"/>
                <a:gd name="T82" fmla="*/ 755 w 386"/>
                <a:gd name="T83" fmla="*/ 15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6"/>
                <a:gd name="T127" fmla="*/ 0 h 140"/>
                <a:gd name="T128" fmla="*/ 386 w 38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6" h="140">
                  <a:moveTo>
                    <a:pt x="375" y="65"/>
                  </a:moveTo>
                  <a:cubicBezTo>
                    <a:pt x="386" y="43"/>
                    <a:pt x="386" y="43"/>
                    <a:pt x="386" y="43"/>
                  </a:cubicBezTo>
                  <a:cubicBezTo>
                    <a:pt x="386" y="43"/>
                    <a:pt x="386" y="36"/>
                    <a:pt x="385" y="27"/>
                  </a:cubicBezTo>
                  <a:cubicBezTo>
                    <a:pt x="365" y="9"/>
                    <a:pt x="365" y="9"/>
                    <a:pt x="365" y="9"/>
                  </a:cubicBezTo>
                  <a:cubicBezTo>
                    <a:pt x="365" y="9"/>
                    <a:pt x="348" y="12"/>
                    <a:pt x="348" y="13"/>
                  </a:cubicBezTo>
                  <a:cubicBezTo>
                    <a:pt x="347" y="13"/>
                    <a:pt x="348" y="23"/>
                    <a:pt x="348" y="23"/>
                  </a:cubicBezTo>
                  <a:cubicBezTo>
                    <a:pt x="348" y="23"/>
                    <a:pt x="346" y="24"/>
                    <a:pt x="336" y="25"/>
                  </a:cubicBezTo>
                  <a:cubicBezTo>
                    <a:pt x="325" y="26"/>
                    <a:pt x="322" y="32"/>
                    <a:pt x="322" y="32"/>
                  </a:cubicBezTo>
                  <a:cubicBezTo>
                    <a:pt x="322" y="32"/>
                    <a:pt x="291" y="34"/>
                    <a:pt x="291" y="34"/>
                  </a:cubicBezTo>
                  <a:cubicBezTo>
                    <a:pt x="290" y="34"/>
                    <a:pt x="288" y="40"/>
                    <a:pt x="288" y="40"/>
                  </a:cubicBezTo>
                  <a:cubicBezTo>
                    <a:pt x="276" y="42"/>
                    <a:pt x="276" y="42"/>
                    <a:pt x="276" y="42"/>
                  </a:cubicBezTo>
                  <a:cubicBezTo>
                    <a:pt x="277" y="55"/>
                    <a:pt x="277" y="55"/>
                    <a:pt x="277" y="55"/>
                  </a:cubicBezTo>
                  <a:cubicBezTo>
                    <a:pt x="269" y="55"/>
                    <a:pt x="269" y="55"/>
                    <a:pt x="269" y="55"/>
                  </a:cubicBezTo>
                  <a:cubicBezTo>
                    <a:pt x="269" y="55"/>
                    <a:pt x="258" y="64"/>
                    <a:pt x="258" y="65"/>
                  </a:cubicBezTo>
                  <a:cubicBezTo>
                    <a:pt x="258" y="66"/>
                    <a:pt x="245" y="58"/>
                    <a:pt x="245" y="58"/>
                  </a:cubicBezTo>
                  <a:cubicBezTo>
                    <a:pt x="246" y="45"/>
                    <a:pt x="246" y="45"/>
                    <a:pt x="246" y="45"/>
                  </a:cubicBezTo>
                  <a:cubicBezTo>
                    <a:pt x="236" y="45"/>
                    <a:pt x="236" y="45"/>
                    <a:pt x="236" y="45"/>
                  </a:cubicBezTo>
                  <a:cubicBezTo>
                    <a:pt x="239" y="35"/>
                    <a:pt x="239" y="35"/>
                    <a:pt x="239" y="35"/>
                  </a:cubicBezTo>
                  <a:cubicBezTo>
                    <a:pt x="246" y="31"/>
                    <a:pt x="246" y="31"/>
                    <a:pt x="246" y="31"/>
                  </a:cubicBezTo>
                  <a:cubicBezTo>
                    <a:pt x="243" y="22"/>
                    <a:pt x="243" y="22"/>
                    <a:pt x="243" y="22"/>
                  </a:cubicBezTo>
                  <a:cubicBezTo>
                    <a:pt x="243" y="22"/>
                    <a:pt x="254" y="18"/>
                    <a:pt x="256" y="14"/>
                  </a:cubicBezTo>
                  <a:cubicBezTo>
                    <a:pt x="259" y="10"/>
                    <a:pt x="239" y="0"/>
                    <a:pt x="239" y="0"/>
                  </a:cubicBezTo>
                  <a:cubicBezTo>
                    <a:pt x="239" y="0"/>
                    <a:pt x="224" y="14"/>
                    <a:pt x="224" y="15"/>
                  </a:cubicBezTo>
                  <a:cubicBezTo>
                    <a:pt x="224" y="16"/>
                    <a:pt x="220" y="17"/>
                    <a:pt x="217" y="17"/>
                  </a:cubicBezTo>
                  <a:cubicBezTo>
                    <a:pt x="214" y="17"/>
                    <a:pt x="212" y="21"/>
                    <a:pt x="208" y="24"/>
                  </a:cubicBezTo>
                  <a:cubicBezTo>
                    <a:pt x="204" y="26"/>
                    <a:pt x="194" y="33"/>
                    <a:pt x="194" y="34"/>
                  </a:cubicBezTo>
                  <a:cubicBezTo>
                    <a:pt x="193" y="35"/>
                    <a:pt x="189" y="29"/>
                    <a:pt x="189" y="29"/>
                  </a:cubicBezTo>
                  <a:cubicBezTo>
                    <a:pt x="189" y="29"/>
                    <a:pt x="181" y="35"/>
                    <a:pt x="180" y="36"/>
                  </a:cubicBezTo>
                  <a:cubicBezTo>
                    <a:pt x="179" y="36"/>
                    <a:pt x="173" y="25"/>
                    <a:pt x="173" y="25"/>
                  </a:cubicBezTo>
                  <a:cubicBezTo>
                    <a:pt x="162" y="33"/>
                    <a:pt x="162" y="33"/>
                    <a:pt x="162" y="33"/>
                  </a:cubicBezTo>
                  <a:cubicBezTo>
                    <a:pt x="150" y="22"/>
                    <a:pt x="150" y="22"/>
                    <a:pt x="150" y="22"/>
                  </a:cubicBezTo>
                  <a:cubicBezTo>
                    <a:pt x="150" y="23"/>
                    <a:pt x="150" y="23"/>
                    <a:pt x="150" y="23"/>
                  </a:cubicBezTo>
                  <a:cubicBezTo>
                    <a:pt x="150" y="23"/>
                    <a:pt x="148" y="24"/>
                    <a:pt x="143" y="25"/>
                  </a:cubicBezTo>
                  <a:cubicBezTo>
                    <a:pt x="137" y="26"/>
                    <a:pt x="137" y="37"/>
                    <a:pt x="137" y="37"/>
                  </a:cubicBezTo>
                  <a:cubicBezTo>
                    <a:pt x="121" y="25"/>
                    <a:pt x="121" y="25"/>
                    <a:pt x="121" y="25"/>
                  </a:cubicBezTo>
                  <a:cubicBezTo>
                    <a:pt x="118" y="28"/>
                    <a:pt x="118" y="28"/>
                    <a:pt x="118" y="28"/>
                  </a:cubicBezTo>
                  <a:cubicBezTo>
                    <a:pt x="118" y="28"/>
                    <a:pt x="116" y="26"/>
                    <a:pt x="114" y="18"/>
                  </a:cubicBezTo>
                  <a:cubicBezTo>
                    <a:pt x="112" y="10"/>
                    <a:pt x="102" y="14"/>
                    <a:pt x="102" y="14"/>
                  </a:cubicBezTo>
                  <a:cubicBezTo>
                    <a:pt x="102" y="14"/>
                    <a:pt x="98" y="4"/>
                    <a:pt x="87" y="3"/>
                  </a:cubicBezTo>
                  <a:cubicBezTo>
                    <a:pt x="75" y="3"/>
                    <a:pt x="65" y="13"/>
                    <a:pt x="65" y="13"/>
                  </a:cubicBezTo>
                  <a:cubicBezTo>
                    <a:pt x="59" y="10"/>
                    <a:pt x="59" y="10"/>
                    <a:pt x="59" y="10"/>
                  </a:cubicBezTo>
                  <a:cubicBezTo>
                    <a:pt x="43" y="6"/>
                    <a:pt x="43" y="6"/>
                    <a:pt x="43" y="6"/>
                  </a:cubicBezTo>
                  <a:cubicBezTo>
                    <a:pt x="44" y="7"/>
                    <a:pt x="44" y="7"/>
                    <a:pt x="44" y="7"/>
                  </a:cubicBezTo>
                  <a:cubicBezTo>
                    <a:pt x="44" y="7"/>
                    <a:pt x="31" y="14"/>
                    <a:pt x="31" y="14"/>
                  </a:cubicBezTo>
                  <a:cubicBezTo>
                    <a:pt x="31" y="15"/>
                    <a:pt x="33" y="20"/>
                    <a:pt x="35" y="24"/>
                  </a:cubicBezTo>
                  <a:cubicBezTo>
                    <a:pt x="36" y="28"/>
                    <a:pt x="30" y="34"/>
                    <a:pt x="30" y="44"/>
                  </a:cubicBezTo>
                  <a:cubicBezTo>
                    <a:pt x="30" y="54"/>
                    <a:pt x="22" y="91"/>
                    <a:pt x="22" y="91"/>
                  </a:cubicBezTo>
                  <a:cubicBezTo>
                    <a:pt x="22" y="91"/>
                    <a:pt x="10" y="98"/>
                    <a:pt x="0" y="105"/>
                  </a:cubicBezTo>
                  <a:cubicBezTo>
                    <a:pt x="9" y="106"/>
                    <a:pt x="18" y="108"/>
                    <a:pt x="20" y="115"/>
                  </a:cubicBezTo>
                  <a:cubicBezTo>
                    <a:pt x="24" y="126"/>
                    <a:pt x="28" y="140"/>
                    <a:pt x="35" y="137"/>
                  </a:cubicBezTo>
                  <a:cubicBezTo>
                    <a:pt x="41" y="135"/>
                    <a:pt x="55" y="123"/>
                    <a:pt x="56" y="118"/>
                  </a:cubicBezTo>
                  <a:cubicBezTo>
                    <a:pt x="58" y="114"/>
                    <a:pt x="60" y="111"/>
                    <a:pt x="60" y="111"/>
                  </a:cubicBezTo>
                  <a:cubicBezTo>
                    <a:pt x="60" y="111"/>
                    <a:pt x="60" y="114"/>
                    <a:pt x="68" y="111"/>
                  </a:cubicBezTo>
                  <a:cubicBezTo>
                    <a:pt x="75" y="109"/>
                    <a:pt x="82" y="105"/>
                    <a:pt x="82" y="104"/>
                  </a:cubicBezTo>
                  <a:cubicBezTo>
                    <a:pt x="82" y="103"/>
                    <a:pt x="81" y="96"/>
                    <a:pt x="81" y="96"/>
                  </a:cubicBezTo>
                  <a:cubicBezTo>
                    <a:pt x="91" y="94"/>
                    <a:pt x="91" y="94"/>
                    <a:pt x="91" y="94"/>
                  </a:cubicBezTo>
                  <a:cubicBezTo>
                    <a:pt x="91" y="94"/>
                    <a:pt x="92" y="86"/>
                    <a:pt x="92" y="85"/>
                  </a:cubicBezTo>
                  <a:cubicBezTo>
                    <a:pt x="92" y="85"/>
                    <a:pt x="112" y="77"/>
                    <a:pt x="112" y="77"/>
                  </a:cubicBezTo>
                  <a:cubicBezTo>
                    <a:pt x="112" y="77"/>
                    <a:pt x="122" y="87"/>
                    <a:pt x="127" y="89"/>
                  </a:cubicBezTo>
                  <a:cubicBezTo>
                    <a:pt x="133" y="91"/>
                    <a:pt x="154" y="104"/>
                    <a:pt x="154" y="104"/>
                  </a:cubicBezTo>
                  <a:cubicBezTo>
                    <a:pt x="154" y="104"/>
                    <a:pt x="165" y="94"/>
                    <a:pt x="165" y="96"/>
                  </a:cubicBezTo>
                  <a:cubicBezTo>
                    <a:pt x="165" y="97"/>
                    <a:pt x="167" y="110"/>
                    <a:pt x="167" y="110"/>
                  </a:cubicBezTo>
                  <a:cubicBezTo>
                    <a:pt x="176" y="107"/>
                    <a:pt x="176" y="107"/>
                    <a:pt x="176" y="107"/>
                  </a:cubicBezTo>
                  <a:cubicBezTo>
                    <a:pt x="178" y="111"/>
                    <a:pt x="178" y="111"/>
                    <a:pt x="178" y="111"/>
                  </a:cubicBezTo>
                  <a:cubicBezTo>
                    <a:pt x="175" y="117"/>
                    <a:pt x="175" y="117"/>
                    <a:pt x="175" y="117"/>
                  </a:cubicBezTo>
                  <a:cubicBezTo>
                    <a:pt x="183" y="127"/>
                    <a:pt x="183" y="127"/>
                    <a:pt x="183" y="127"/>
                  </a:cubicBezTo>
                  <a:cubicBezTo>
                    <a:pt x="183" y="127"/>
                    <a:pt x="188" y="120"/>
                    <a:pt x="194" y="116"/>
                  </a:cubicBezTo>
                  <a:cubicBezTo>
                    <a:pt x="200" y="112"/>
                    <a:pt x="207" y="98"/>
                    <a:pt x="207" y="98"/>
                  </a:cubicBezTo>
                  <a:cubicBezTo>
                    <a:pt x="207" y="98"/>
                    <a:pt x="214" y="107"/>
                    <a:pt x="215" y="107"/>
                  </a:cubicBezTo>
                  <a:cubicBezTo>
                    <a:pt x="216" y="107"/>
                    <a:pt x="226" y="105"/>
                    <a:pt x="226" y="105"/>
                  </a:cubicBezTo>
                  <a:cubicBezTo>
                    <a:pt x="235" y="114"/>
                    <a:pt x="235" y="114"/>
                    <a:pt x="235" y="114"/>
                  </a:cubicBezTo>
                  <a:cubicBezTo>
                    <a:pt x="239" y="121"/>
                    <a:pt x="239" y="121"/>
                    <a:pt x="239" y="121"/>
                  </a:cubicBezTo>
                  <a:cubicBezTo>
                    <a:pt x="249" y="123"/>
                    <a:pt x="249" y="123"/>
                    <a:pt x="249" y="123"/>
                  </a:cubicBezTo>
                  <a:cubicBezTo>
                    <a:pt x="258" y="130"/>
                    <a:pt x="258" y="130"/>
                    <a:pt x="258" y="130"/>
                  </a:cubicBezTo>
                  <a:cubicBezTo>
                    <a:pt x="263" y="122"/>
                    <a:pt x="263" y="122"/>
                    <a:pt x="263" y="122"/>
                  </a:cubicBezTo>
                  <a:cubicBezTo>
                    <a:pt x="263" y="122"/>
                    <a:pt x="277" y="127"/>
                    <a:pt x="283" y="125"/>
                  </a:cubicBezTo>
                  <a:cubicBezTo>
                    <a:pt x="289" y="122"/>
                    <a:pt x="291" y="117"/>
                    <a:pt x="291" y="117"/>
                  </a:cubicBezTo>
                  <a:cubicBezTo>
                    <a:pt x="302" y="117"/>
                    <a:pt x="302" y="117"/>
                    <a:pt x="302" y="117"/>
                  </a:cubicBezTo>
                  <a:cubicBezTo>
                    <a:pt x="302" y="117"/>
                    <a:pt x="306" y="103"/>
                    <a:pt x="311" y="101"/>
                  </a:cubicBezTo>
                  <a:cubicBezTo>
                    <a:pt x="316" y="100"/>
                    <a:pt x="323" y="96"/>
                    <a:pt x="324" y="96"/>
                  </a:cubicBezTo>
                  <a:cubicBezTo>
                    <a:pt x="324" y="96"/>
                    <a:pt x="334" y="101"/>
                    <a:pt x="334" y="101"/>
                  </a:cubicBezTo>
                  <a:cubicBezTo>
                    <a:pt x="342" y="97"/>
                    <a:pt x="342" y="97"/>
                    <a:pt x="342" y="97"/>
                  </a:cubicBezTo>
                  <a:cubicBezTo>
                    <a:pt x="370" y="97"/>
                    <a:pt x="370" y="97"/>
                    <a:pt x="370" y="97"/>
                  </a:cubicBezTo>
                  <a:cubicBezTo>
                    <a:pt x="377" y="86"/>
                    <a:pt x="377" y="76"/>
                    <a:pt x="377" y="76"/>
                  </a:cubicBezTo>
                  <a:lnTo>
                    <a:pt x="375" y="6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6" name="Freeform 342">
              <a:extLst>
                <a:ext uri="{FF2B5EF4-FFF2-40B4-BE49-F238E27FC236}">
                  <a16:creationId xmlns:a16="http://schemas.microsoft.com/office/drawing/2014/main" id="{9B41C16F-D7FF-4427-BBEC-9173381F4FAE}"/>
                </a:ext>
              </a:extLst>
            </p:cNvPr>
            <p:cNvSpPr>
              <a:spLocks noChangeAspect="1"/>
            </p:cNvSpPr>
            <p:nvPr/>
          </p:nvSpPr>
          <p:spPr bwMode="auto">
            <a:xfrm>
              <a:off x="14426" y="1902"/>
              <a:ext cx="375" cy="203"/>
            </a:xfrm>
            <a:custGeom>
              <a:avLst/>
              <a:gdLst/>
              <a:ahLst/>
              <a:cxnLst>
                <a:cxn ang="0">
                  <a:pos x="109" y="101"/>
                </a:cxn>
                <a:cxn ang="0">
                  <a:pos x="184" y="7"/>
                </a:cxn>
                <a:cxn ang="0">
                  <a:pos x="188" y="1"/>
                </a:cxn>
                <a:cxn ang="0">
                  <a:pos x="160" y="1"/>
                </a:cxn>
                <a:cxn ang="0">
                  <a:pos x="152" y="5"/>
                </a:cxn>
                <a:cxn ang="0">
                  <a:pos x="142" y="0"/>
                </a:cxn>
                <a:cxn ang="0">
                  <a:pos x="129" y="5"/>
                </a:cxn>
                <a:cxn ang="0">
                  <a:pos x="120" y="21"/>
                </a:cxn>
                <a:cxn ang="0">
                  <a:pos x="109" y="21"/>
                </a:cxn>
                <a:cxn ang="0">
                  <a:pos x="101" y="29"/>
                </a:cxn>
                <a:cxn ang="0">
                  <a:pos x="81" y="26"/>
                </a:cxn>
                <a:cxn ang="0">
                  <a:pos x="76" y="34"/>
                </a:cxn>
                <a:cxn ang="0">
                  <a:pos x="67" y="27"/>
                </a:cxn>
                <a:cxn ang="0">
                  <a:pos x="57" y="25"/>
                </a:cxn>
                <a:cxn ang="0">
                  <a:pos x="53" y="18"/>
                </a:cxn>
                <a:cxn ang="0">
                  <a:pos x="44" y="9"/>
                </a:cxn>
                <a:cxn ang="0">
                  <a:pos x="33" y="11"/>
                </a:cxn>
                <a:cxn ang="0">
                  <a:pos x="25" y="2"/>
                </a:cxn>
                <a:cxn ang="0">
                  <a:pos x="12" y="20"/>
                </a:cxn>
                <a:cxn ang="0">
                  <a:pos x="1" y="31"/>
                </a:cxn>
                <a:cxn ang="0">
                  <a:pos x="0" y="30"/>
                </a:cxn>
                <a:cxn ang="0">
                  <a:pos x="0" y="36"/>
                </a:cxn>
                <a:cxn ang="0">
                  <a:pos x="12" y="40"/>
                </a:cxn>
                <a:cxn ang="0">
                  <a:pos x="12" y="45"/>
                </a:cxn>
                <a:cxn ang="0">
                  <a:pos x="26" y="47"/>
                </a:cxn>
                <a:cxn ang="0">
                  <a:pos x="42" y="57"/>
                </a:cxn>
                <a:cxn ang="0">
                  <a:pos x="52" y="59"/>
                </a:cxn>
                <a:cxn ang="0">
                  <a:pos x="63" y="67"/>
                </a:cxn>
                <a:cxn ang="0">
                  <a:pos x="74" y="72"/>
                </a:cxn>
                <a:cxn ang="0">
                  <a:pos x="80" y="84"/>
                </a:cxn>
                <a:cxn ang="0">
                  <a:pos x="98" y="88"/>
                </a:cxn>
                <a:cxn ang="0">
                  <a:pos x="102" y="94"/>
                </a:cxn>
                <a:cxn ang="0">
                  <a:pos x="102" y="100"/>
                </a:cxn>
                <a:cxn ang="0">
                  <a:pos x="109" y="101"/>
                </a:cxn>
              </a:cxnLst>
              <a:rect l="0" t="0" r="r" b="b"/>
              <a:pathLst>
                <a:path w="188" h="101">
                  <a:moveTo>
                    <a:pt x="109" y="101"/>
                  </a:moveTo>
                  <a:cubicBezTo>
                    <a:pt x="109" y="101"/>
                    <a:pt x="174" y="21"/>
                    <a:pt x="184" y="7"/>
                  </a:cubicBezTo>
                  <a:cubicBezTo>
                    <a:pt x="186" y="5"/>
                    <a:pt x="187" y="3"/>
                    <a:pt x="188" y="1"/>
                  </a:cubicBezTo>
                  <a:cubicBezTo>
                    <a:pt x="160" y="1"/>
                    <a:pt x="160" y="1"/>
                    <a:pt x="160" y="1"/>
                  </a:cubicBezTo>
                  <a:cubicBezTo>
                    <a:pt x="152" y="5"/>
                    <a:pt x="152" y="5"/>
                    <a:pt x="152" y="5"/>
                  </a:cubicBezTo>
                  <a:cubicBezTo>
                    <a:pt x="152" y="5"/>
                    <a:pt x="142" y="0"/>
                    <a:pt x="142" y="0"/>
                  </a:cubicBezTo>
                  <a:cubicBezTo>
                    <a:pt x="141" y="0"/>
                    <a:pt x="134" y="4"/>
                    <a:pt x="129" y="5"/>
                  </a:cubicBezTo>
                  <a:cubicBezTo>
                    <a:pt x="124" y="7"/>
                    <a:pt x="120" y="21"/>
                    <a:pt x="120" y="21"/>
                  </a:cubicBezTo>
                  <a:cubicBezTo>
                    <a:pt x="109" y="21"/>
                    <a:pt x="109" y="21"/>
                    <a:pt x="109" y="21"/>
                  </a:cubicBezTo>
                  <a:cubicBezTo>
                    <a:pt x="109" y="21"/>
                    <a:pt x="107" y="26"/>
                    <a:pt x="101" y="29"/>
                  </a:cubicBezTo>
                  <a:cubicBezTo>
                    <a:pt x="95" y="31"/>
                    <a:pt x="81" y="26"/>
                    <a:pt x="81" y="26"/>
                  </a:cubicBezTo>
                  <a:cubicBezTo>
                    <a:pt x="76" y="34"/>
                    <a:pt x="76" y="34"/>
                    <a:pt x="76" y="34"/>
                  </a:cubicBezTo>
                  <a:cubicBezTo>
                    <a:pt x="67" y="27"/>
                    <a:pt x="67" y="27"/>
                    <a:pt x="67" y="27"/>
                  </a:cubicBezTo>
                  <a:cubicBezTo>
                    <a:pt x="57" y="25"/>
                    <a:pt x="57" y="25"/>
                    <a:pt x="57" y="25"/>
                  </a:cubicBezTo>
                  <a:cubicBezTo>
                    <a:pt x="53" y="18"/>
                    <a:pt x="53" y="18"/>
                    <a:pt x="53" y="18"/>
                  </a:cubicBezTo>
                  <a:cubicBezTo>
                    <a:pt x="44" y="9"/>
                    <a:pt x="44" y="9"/>
                    <a:pt x="44" y="9"/>
                  </a:cubicBezTo>
                  <a:cubicBezTo>
                    <a:pt x="44" y="9"/>
                    <a:pt x="34" y="11"/>
                    <a:pt x="33" y="11"/>
                  </a:cubicBezTo>
                  <a:cubicBezTo>
                    <a:pt x="32" y="11"/>
                    <a:pt x="25" y="2"/>
                    <a:pt x="25" y="2"/>
                  </a:cubicBezTo>
                  <a:cubicBezTo>
                    <a:pt x="25" y="2"/>
                    <a:pt x="18" y="16"/>
                    <a:pt x="12" y="20"/>
                  </a:cubicBezTo>
                  <a:cubicBezTo>
                    <a:pt x="6" y="24"/>
                    <a:pt x="1" y="31"/>
                    <a:pt x="1" y="31"/>
                  </a:cubicBezTo>
                  <a:cubicBezTo>
                    <a:pt x="0" y="30"/>
                    <a:pt x="0" y="30"/>
                    <a:pt x="0" y="30"/>
                  </a:cubicBezTo>
                  <a:cubicBezTo>
                    <a:pt x="0" y="36"/>
                    <a:pt x="0" y="36"/>
                    <a:pt x="0" y="36"/>
                  </a:cubicBezTo>
                  <a:cubicBezTo>
                    <a:pt x="0" y="36"/>
                    <a:pt x="12" y="36"/>
                    <a:pt x="12" y="40"/>
                  </a:cubicBezTo>
                  <a:cubicBezTo>
                    <a:pt x="12" y="44"/>
                    <a:pt x="12" y="45"/>
                    <a:pt x="12" y="45"/>
                  </a:cubicBezTo>
                  <a:cubicBezTo>
                    <a:pt x="12" y="45"/>
                    <a:pt x="21" y="45"/>
                    <a:pt x="26" y="47"/>
                  </a:cubicBezTo>
                  <a:cubicBezTo>
                    <a:pt x="31" y="50"/>
                    <a:pt x="42" y="57"/>
                    <a:pt x="42" y="57"/>
                  </a:cubicBezTo>
                  <a:cubicBezTo>
                    <a:pt x="52" y="59"/>
                    <a:pt x="52" y="59"/>
                    <a:pt x="52" y="59"/>
                  </a:cubicBezTo>
                  <a:cubicBezTo>
                    <a:pt x="52" y="59"/>
                    <a:pt x="57" y="66"/>
                    <a:pt x="63" y="67"/>
                  </a:cubicBezTo>
                  <a:cubicBezTo>
                    <a:pt x="68" y="69"/>
                    <a:pt x="74" y="72"/>
                    <a:pt x="74" y="72"/>
                  </a:cubicBezTo>
                  <a:cubicBezTo>
                    <a:pt x="74" y="72"/>
                    <a:pt x="72" y="79"/>
                    <a:pt x="80" y="84"/>
                  </a:cubicBezTo>
                  <a:cubicBezTo>
                    <a:pt x="88" y="88"/>
                    <a:pt x="98" y="88"/>
                    <a:pt x="98" y="88"/>
                  </a:cubicBezTo>
                  <a:cubicBezTo>
                    <a:pt x="98" y="88"/>
                    <a:pt x="103" y="94"/>
                    <a:pt x="102" y="94"/>
                  </a:cubicBezTo>
                  <a:cubicBezTo>
                    <a:pt x="102" y="94"/>
                    <a:pt x="102" y="97"/>
                    <a:pt x="102" y="100"/>
                  </a:cubicBezTo>
                  <a:cubicBezTo>
                    <a:pt x="106" y="99"/>
                    <a:pt x="109" y="101"/>
                    <a:pt x="109" y="101"/>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7" name="Freeform 344">
              <a:extLst>
                <a:ext uri="{FF2B5EF4-FFF2-40B4-BE49-F238E27FC236}">
                  <a16:creationId xmlns:a16="http://schemas.microsoft.com/office/drawing/2014/main" id="{25F29B42-1771-465C-B840-809408B6B3C8}"/>
                </a:ext>
              </a:extLst>
            </p:cNvPr>
            <p:cNvSpPr>
              <a:spLocks noChangeAspect="1"/>
            </p:cNvSpPr>
            <p:nvPr/>
          </p:nvSpPr>
          <p:spPr bwMode="auto">
            <a:xfrm>
              <a:off x="14426" y="1984"/>
              <a:ext cx="206" cy="251"/>
            </a:xfrm>
            <a:custGeom>
              <a:avLst/>
              <a:gdLst/>
              <a:ahLst/>
              <a:cxnLst>
                <a:cxn ang="0">
                  <a:pos x="102" y="59"/>
                </a:cxn>
                <a:cxn ang="0">
                  <a:pos x="102" y="53"/>
                </a:cxn>
                <a:cxn ang="0">
                  <a:pos x="98" y="47"/>
                </a:cxn>
                <a:cxn ang="0">
                  <a:pos x="80" y="43"/>
                </a:cxn>
                <a:cxn ang="0">
                  <a:pos x="74" y="31"/>
                </a:cxn>
                <a:cxn ang="0">
                  <a:pos x="63" y="26"/>
                </a:cxn>
                <a:cxn ang="0">
                  <a:pos x="52" y="18"/>
                </a:cxn>
                <a:cxn ang="0">
                  <a:pos x="42" y="16"/>
                </a:cxn>
                <a:cxn ang="0">
                  <a:pos x="26" y="6"/>
                </a:cxn>
                <a:cxn ang="0">
                  <a:pos x="12" y="4"/>
                </a:cxn>
                <a:cxn ang="0">
                  <a:pos x="12" y="0"/>
                </a:cxn>
                <a:cxn ang="0">
                  <a:pos x="8" y="5"/>
                </a:cxn>
                <a:cxn ang="0">
                  <a:pos x="12" y="9"/>
                </a:cxn>
                <a:cxn ang="0">
                  <a:pos x="7" y="13"/>
                </a:cxn>
                <a:cxn ang="0">
                  <a:pos x="12" y="19"/>
                </a:cxn>
                <a:cxn ang="0">
                  <a:pos x="13" y="27"/>
                </a:cxn>
                <a:cxn ang="0">
                  <a:pos x="21" y="31"/>
                </a:cxn>
                <a:cxn ang="0">
                  <a:pos x="31" y="40"/>
                </a:cxn>
                <a:cxn ang="0">
                  <a:pos x="28" y="51"/>
                </a:cxn>
                <a:cxn ang="0">
                  <a:pos x="19" y="56"/>
                </a:cxn>
                <a:cxn ang="0">
                  <a:pos x="24" y="62"/>
                </a:cxn>
                <a:cxn ang="0">
                  <a:pos x="23" y="70"/>
                </a:cxn>
                <a:cxn ang="0">
                  <a:pos x="13" y="76"/>
                </a:cxn>
                <a:cxn ang="0">
                  <a:pos x="7" y="70"/>
                </a:cxn>
                <a:cxn ang="0">
                  <a:pos x="0" y="72"/>
                </a:cxn>
                <a:cxn ang="0">
                  <a:pos x="1" y="88"/>
                </a:cxn>
                <a:cxn ang="0">
                  <a:pos x="4" y="95"/>
                </a:cxn>
                <a:cxn ang="0">
                  <a:pos x="10" y="102"/>
                </a:cxn>
                <a:cxn ang="0">
                  <a:pos x="10" y="114"/>
                </a:cxn>
                <a:cxn ang="0">
                  <a:pos x="21" y="116"/>
                </a:cxn>
                <a:cxn ang="0">
                  <a:pos x="26" y="124"/>
                </a:cxn>
                <a:cxn ang="0">
                  <a:pos x="49" y="125"/>
                </a:cxn>
                <a:cxn ang="0">
                  <a:pos x="89" y="66"/>
                </a:cxn>
                <a:cxn ang="0">
                  <a:pos x="102" y="59"/>
                </a:cxn>
              </a:cxnLst>
              <a:rect l="0" t="0" r="r" b="b"/>
              <a:pathLst>
                <a:path w="103" h="125">
                  <a:moveTo>
                    <a:pt x="102" y="59"/>
                  </a:moveTo>
                  <a:cubicBezTo>
                    <a:pt x="102" y="56"/>
                    <a:pt x="102" y="53"/>
                    <a:pt x="102" y="53"/>
                  </a:cubicBezTo>
                  <a:cubicBezTo>
                    <a:pt x="103" y="53"/>
                    <a:pt x="98" y="47"/>
                    <a:pt x="98" y="47"/>
                  </a:cubicBezTo>
                  <a:cubicBezTo>
                    <a:pt x="98" y="47"/>
                    <a:pt x="88" y="47"/>
                    <a:pt x="80" y="43"/>
                  </a:cubicBezTo>
                  <a:cubicBezTo>
                    <a:pt x="72" y="38"/>
                    <a:pt x="74" y="31"/>
                    <a:pt x="74" y="31"/>
                  </a:cubicBezTo>
                  <a:cubicBezTo>
                    <a:pt x="74" y="31"/>
                    <a:pt x="68" y="28"/>
                    <a:pt x="63" y="26"/>
                  </a:cubicBezTo>
                  <a:cubicBezTo>
                    <a:pt x="57" y="25"/>
                    <a:pt x="52" y="18"/>
                    <a:pt x="52" y="18"/>
                  </a:cubicBezTo>
                  <a:cubicBezTo>
                    <a:pt x="42" y="16"/>
                    <a:pt x="42" y="16"/>
                    <a:pt x="42" y="16"/>
                  </a:cubicBezTo>
                  <a:cubicBezTo>
                    <a:pt x="42" y="16"/>
                    <a:pt x="31" y="9"/>
                    <a:pt x="26" y="6"/>
                  </a:cubicBezTo>
                  <a:cubicBezTo>
                    <a:pt x="21" y="4"/>
                    <a:pt x="12" y="4"/>
                    <a:pt x="12" y="4"/>
                  </a:cubicBezTo>
                  <a:cubicBezTo>
                    <a:pt x="12" y="4"/>
                    <a:pt x="12" y="3"/>
                    <a:pt x="12" y="0"/>
                  </a:cubicBezTo>
                  <a:cubicBezTo>
                    <a:pt x="8" y="5"/>
                    <a:pt x="8" y="5"/>
                    <a:pt x="8" y="5"/>
                  </a:cubicBezTo>
                  <a:cubicBezTo>
                    <a:pt x="12" y="9"/>
                    <a:pt x="12" y="9"/>
                    <a:pt x="12" y="9"/>
                  </a:cubicBezTo>
                  <a:cubicBezTo>
                    <a:pt x="7" y="13"/>
                    <a:pt x="7" y="13"/>
                    <a:pt x="7" y="13"/>
                  </a:cubicBezTo>
                  <a:cubicBezTo>
                    <a:pt x="12" y="19"/>
                    <a:pt x="12" y="19"/>
                    <a:pt x="12" y="19"/>
                  </a:cubicBezTo>
                  <a:cubicBezTo>
                    <a:pt x="13" y="27"/>
                    <a:pt x="13" y="27"/>
                    <a:pt x="13" y="27"/>
                  </a:cubicBezTo>
                  <a:cubicBezTo>
                    <a:pt x="21" y="31"/>
                    <a:pt x="21" y="31"/>
                    <a:pt x="21" y="31"/>
                  </a:cubicBezTo>
                  <a:cubicBezTo>
                    <a:pt x="31" y="40"/>
                    <a:pt x="31" y="40"/>
                    <a:pt x="31" y="40"/>
                  </a:cubicBezTo>
                  <a:cubicBezTo>
                    <a:pt x="28" y="51"/>
                    <a:pt x="28" y="51"/>
                    <a:pt x="28" y="51"/>
                  </a:cubicBezTo>
                  <a:cubicBezTo>
                    <a:pt x="19" y="56"/>
                    <a:pt x="19" y="56"/>
                    <a:pt x="19" y="56"/>
                  </a:cubicBezTo>
                  <a:cubicBezTo>
                    <a:pt x="24" y="62"/>
                    <a:pt x="24" y="62"/>
                    <a:pt x="24" y="62"/>
                  </a:cubicBezTo>
                  <a:cubicBezTo>
                    <a:pt x="23" y="70"/>
                    <a:pt x="23" y="70"/>
                    <a:pt x="23" y="70"/>
                  </a:cubicBezTo>
                  <a:cubicBezTo>
                    <a:pt x="13" y="76"/>
                    <a:pt x="13" y="76"/>
                    <a:pt x="13" y="76"/>
                  </a:cubicBezTo>
                  <a:cubicBezTo>
                    <a:pt x="7" y="70"/>
                    <a:pt x="7" y="70"/>
                    <a:pt x="7" y="70"/>
                  </a:cubicBezTo>
                  <a:cubicBezTo>
                    <a:pt x="0" y="72"/>
                    <a:pt x="0" y="72"/>
                    <a:pt x="0" y="72"/>
                  </a:cubicBezTo>
                  <a:cubicBezTo>
                    <a:pt x="1" y="88"/>
                    <a:pt x="1" y="88"/>
                    <a:pt x="1" y="88"/>
                  </a:cubicBezTo>
                  <a:cubicBezTo>
                    <a:pt x="1" y="88"/>
                    <a:pt x="4" y="93"/>
                    <a:pt x="4" y="95"/>
                  </a:cubicBezTo>
                  <a:cubicBezTo>
                    <a:pt x="4" y="98"/>
                    <a:pt x="10" y="102"/>
                    <a:pt x="10" y="102"/>
                  </a:cubicBezTo>
                  <a:cubicBezTo>
                    <a:pt x="10" y="114"/>
                    <a:pt x="10" y="114"/>
                    <a:pt x="10" y="114"/>
                  </a:cubicBezTo>
                  <a:cubicBezTo>
                    <a:pt x="21" y="116"/>
                    <a:pt x="21" y="116"/>
                    <a:pt x="21" y="116"/>
                  </a:cubicBezTo>
                  <a:cubicBezTo>
                    <a:pt x="26" y="124"/>
                    <a:pt x="26" y="124"/>
                    <a:pt x="26" y="124"/>
                  </a:cubicBezTo>
                  <a:cubicBezTo>
                    <a:pt x="49" y="125"/>
                    <a:pt x="49" y="125"/>
                    <a:pt x="49" y="125"/>
                  </a:cubicBezTo>
                  <a:cubicBezTo>
                    <a:pt x="64" y="100"/>
                    <a:pt x="82" y="74"/>
                    <a:pt x="89" y="66"/>
                  </a:cubicBezTo>
                  <a:cubicBezTo>
                    <a:pt x="94" y="61"/>
                    <a:pt x="98" y="59"/>
                    <a:pt x="102" y="59"/>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78" name="Freeform 323">
              <a:extLst>
                <a:ext uri="{FF2B5EF4-FFF2-40B4-BE49-F238E27FC236}">
                  <a16:creationId xmlns:a16="http://schemas.microsoft.com/office/drawing/2014/main" id="{D05237C0-37B9-44DA-B5CF-4938DF55AE00}"/>
                </a:ext>
              </a:extLst>
            </p:cNvPr>
            <p:cNvSpPr>
              <a:spLocks noChangeAspect="1"/>
            </p:cNvSpPr>
            <p:nvPr/>
          </p:nvSpPr>
          <p:spPr bwMode="auto">
            <a:xfrm>
              <a:off x="11921" y="523"/>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79" name="Freeform 324">
              <a:extLst>
                <a:ext uri="{FF2B5EF4-FFF2-40B4-BE49-F238E27FC236}">
                  <a16:creationId xmlns:a16="http://schemas.microsoft.com/office/drawing/2014/main" id="{9DAABCC8-BF00-46C2-9780-0451A10E665A}"/>
                </a:ext>
              </a:extLst>
            </p:cNvPr>
            <p:cNvSpPr>
              <a:spLocks noChangeAspect="1"/>
            </p:cNvSpPr>
            <p:nvPr/>
          </p:nvSpPr>
          <p:spPr bwMode="auto">
            <a:xfrm>
              <a:off x="12909" y="1460"/>
              <a:ext cx="621" cy="1009"/>
            </a:xfrm>
            <a:custGeom>
              <a:avLst/>
              <a:gdLst/>
              <a:ahLst/>
              <a:cxnLst>
                <a:cxn ang="0">
                  <a:pos x="9" y="363"/>
                </a:cxn>
                <a:cxn ang="0">
                  <a:pos x="2" y="400"/>
                </a:cxn>
                <a:cxn ang="0">
                  <a:pos x="8" y="434"/>
                </a:cxn>
                <a:cxn ang="0">
                  <a:pos x="39" y="437"/>
                </a:cxn>
                <a:cxn ang="0">
                  <a:pos x="52" y="473"/>
                </a:cxn>
                <a:cxn ang="0">
                  <a:pos x="100" y="461"/>
                </a:cxn>
                <a:cxn ang="0">
                  <a:pos x="118" y="465"/>
                </a:cxn>
                <a:cxn ang="0">
                  <a:pos x="129" y="491"/>
                </a:cxn>
                <a:cxn ang="0">
                  <a:pos x="141" y="495"/>
                </a:cxn>
                <a:cxn ang="0">
                  <a:pos x="160" y="493"/>
                </a:cxn>
                <a:cxn ang="0">
                  <a:pos x="187" y="504"/>
                </a:cxn>
                <a:cxn ang="0">
                  <a:pos x="189" y="480"/>
                </a:cxn>
                <a:cxn ang="0">
                  <a:pos x="212" y="483"/>
                </a:cxn>
                <a:cxn ang="0">
                  <a:pos x="237" y="473"/>
                </a:cxn>
                <a:cxn ang="0">
                  <a:pos x="264" y="468"/>
                </a:cxn>
                <a:cxn ang="0">
                  <a:pos x="264" y="429"/>
                </a:cxn>
                <a:cxn ang="0">
                  <a:pos x="278" y="407"/>
                </a:cxn>
                <a:cxn ang="0">
                  <a:pos x="279" y="390"/>
                </a:cxn>
                <a:cxn ang="0">
                  <a:pos x="249" y="370"/>
                </a:cxn>
                <a:cxn ang="0">
                  <a:pos x="272" y="329"/>
                </a:cxn>
                <a:cxn ang="0">
                  <a:pos x="310" y="309"/>
                </a:cxn>
                <a:cxn ang="0">
                  <a:pos x="293" y="311"/>
                </a:cxn>
                <a:cxn ang="0">
                  <a:pos x="264" y="301"/>
                </a:cxn>
                <a:cxn ang="0">
                  <a:pos x="248" y="280"/>
                </a:cxn>
                <a:cxn ang="0">
                  <a:pos x="240" y="254"/>
                </a:cxn>
                <a:cxn ang="0">
                  <a:pos x="221" y="236"/>
                </a:cxn>
                <a:cxn ang="0">
                  <a:pos x="238" y="201"/>
                </a:cxn>
                <a:cxn ang="0">
                  <a:pos x="258" y="170"/>
                </a:cxn>
                <a:cxn ang="0">
                  <a:pos x="179" y="124"/>
                </a:cxn>
                <a:cxn ang="0">
                  <a:pos x="204" y="68"/>
                </a:cxn>
                <a:cxn ang="0">
                  <a:pos x="175" y="14"/>
                </a:cxn>
                <a:cxn ang="0">
                  <a:pos x="161" y="11"/>
                </a:cxn>
                <a:cxn ang="0">
                  <a:pos x="130" y="14"/>
                </a:cxn>
                <a:cxn ang="0">
                  <a:pos x="119" y="14"/>
                </a:cxn>
                <a:cxn ang="0">
                  <a:pos x="146" y="23"/>
                </a:cxn>
                <a:cxn ang="0">
                  <a:pos x="152" y="40"/>
                </a:cxn>
                <a:cxn ang="0">
                  <a:pos x="143" y="51"/>
                </a:cxn>
                <a:cxn ang="0">
                  <a:pos x="140" y="63"/>
                </a:cxn>
                <a:cxn ang="0">
                  <a:pos x="130" y="79"/>
                </a:cxn>
                <a:cxn ang="0">
                  <a:pos x="106" y="97"/>
                </a:cxn>
                <a:cxn ang="0">
                  <a:pos x="96" y="130"/>
                </a:cxn>
                <a:cxn ang="0">
                  <a:pos x="86" y="149"/>
                </a:cxn>
                <a:cxn ang="0">
                  <a:pos x="91" y="173"/>
                </a:cxn>
                <a:cxn ang="0">
                  <a:pos x="69" y="222"/>
                </a:cxn>
                <a:cxn ang="0">
                  <a:pos x="53" y="240"/>
                </a:cxn>
                <a:cxn ang="0">
                  <a:pos x="31" y="283"/>
                </a:cxn>
                <a:cxn ang="0">
                  <a:pos x="10" y="332"/>
                </a:cxn>
              </a:cxnLst>
              <a:rect l="0" t="0" r="r" b="b"/>
              <a:pathLst>
                <a:path w="310" h="504">
                  <a:moveTo>
                    <a:pt x="10" y="332"/>
                  </a:moveTo>
                  <a:cubicBezTo>
                    <a:pt x="7" y="343"/>
                    <a:pt x="9" y="363"/>
                    <a:pt x="9" y="363"/>
                  </a:cubicBezTo>
                  <a:cubicBezTo>
                    <a:pt x="0" y="375"/>
                    <a:pt x="0" y="375"/>
                    <a:pt x="0" y="375"/>
                  </a:cubicBezTo>
                  <a:cubicBezTo>
                    <a:pt x="2" y="400"/>
                    <a:pt x="2" y="400"/>
                    <a:pt x="2" y="400"/>
                  </a:cubicBezTo>
                  <a:cubicBezTo>
                    <a:pt x="3" y="430"/>
                    <a:pt x="3" y="430"/>
                    <a:pt x="3" y="430"/>
                  </a:cubicBezTo>
                  <a:cubicBezTo>
                    <a:pt x="8" y="434"/>
                    <a:pt x="8" y="434"/>
                    <a:pt x="8" y="434"/>
                  </a:cubicBezTo>
                  <a:cubicBezTo>
                    <a:pt x="11" y="463"/>
                    <a:pt x="11" y="463"/>
                    <a:pt x="11" y="463"/>
                  </a:cubicBezTo>
                  <a:cubicBezTo>
                    <a:pt x="39" y="437"/>
                    <a:pt x="39" y="437"/>
                    <a:pt x="39" y="437"/>
                  </a:cubicBezTo>
                  <a:cubicBezTo>
                    <a:pt x="27" y="468"/>
                    <a:pt x="27" y="468"/>
                    <a:pt x="27" y="468"/>
                  </a:cubicBezTo>
                  <a:cubicBezTo>
                    <a:pt x="52" y="473"/>
                    <a:pt x="52" y="473"/>
                    <a:pt x="52" y="473"/>
                  </a:cubicBezTo>
                  <a:cubicBezTo>
                    <a:pt x="85" y="492"/>
                    <a:pt x="85" y="492"/>
                    <a:pt x="85" y="492"/>
                  </a:cubicBezTo>
                  <a:cubicBezTo>
                    <a:pt x="100" y="461"/>
                    <a:pt x="100" y="461"/>
                    <a:pt x="100" y="461"/>
                  </a:cubicBezTo>
                  <a:cubicBezTo>
                    <a:pt x="108" y="472"/>
                    <a:pt x="108" y="472"/>
                    <a:pt x="108" y="472"/>
                  </a:cubicBezTo>
                  <a:cubicBezTo>
                    <a:pt x="118" y="465"/>
                    <a:pt x="118" y="465"/>
                    <a:pt x="118" y="465"/>
                  </a:cubicBezTo>
                  <a:cubicBezTo>
                    <a:pt x="133" y="481"/>
                    <a:pt x="133" y="481"/>
                    <a:pt x="133" y="481"/>
                  </a:cubicBezTo>
                  <a:cubicBezTo>
                    <a:pt x="129" y="491"/>
                    <a:pt x="129" y="491"/>
                    <a:pt x="129" y="491"/>
                  </a:cubicBezTo>
                  <a:cubicBezTo>
                    <a:pt x="140" y="488"/>
                    <a:pt x="140" y="488"/>
                    <a:pt x="140" y="488"/>
                  </a:cubicBezTo>
                  <a:cubicBezTo>
                    <a:pt x="141" y="495"/>
                    <a:pt x="141" y="495"/>
                    <a:pt x="141" y="495"/>
                  </a:cubicBezTo>
                  <a:cubicBezTo>
                    <a:pt x="152" y="486"/>
                    <a:pt x="152" y="486"/>
                    <a:pt x="152" y="486"/>
                  </a:cubicBezTo>
                  <a:cubicBezTo>
                    <a:pt x="160" y="493"/>
                    <a:pt x="160" y="493"/>
                    <a:pt x="160" y="493"/>
                  </a:cubicBezTo>
                  <a:cubicBezTo>
                    <a:pt x="172" y="492"/>
                    <a:pt x="172" y="492"/>
                    <a:pt x="172" y="492"/>
                  </a:cubicBezTo>
                  <a:cubicBezTo>
                    <a:pt x="187" y="504"/>
                    <a:pt x="187" y="504"/>
                    <a:pt x="187" y="504"/>
                  </a:cubicBezTo>
                  <a:cubicBezTo>
                    <a:pt x="193" y="497"/>
                    <a:pt x="193" y="497"/>
                    <a:pt x="193" y="497"/>
                  </a:cubicBezTo>
                  <a:cubicBezTo>
                    <a:pt x="189" y="480"/>
                    <a:pt x="189" y="480"/>
                    <a:pt x="189" y="480"/>
                  </a:cubicBezTo>
                  <a:cubicBezTo>
                    <a:pt x="205" y="489"/>
                    <a:pt x="205" y="489"/>
                    <a:pt x="205" y="489"/>
                  </a:cubicBezTo>
                  <a:cubicBezTo>
                    <a:pt x="212" y="483"/>
                    <a:pt x="212" y="483"/>
                    <a:pt x="212" y="483"/>
                  </a:cubicBezTo>
                  <a:cubicBezTo>
                    <a:pt x="224" y="485"/>
                    <a:pt x="224" y="485"/>
                    <a:pt x="224" y="485"/>
                  </a:cubicBezTo>
                  <a:cubicBezTo>
                    <a:pt x="237" y="473"/>
                    <a:pt x="237" y="473"/>
                    <a:pt x="237" y="473"/>
                  </a:cubicBezTo>
                  <a:cubicBezTo>
                    <a:pt x="266" y="468"/>
                    <a:pt x="266" y="468"/>
                    <a:pt x="266" y="468"/>
                  </a:cubicBezTo>
                  <a:cubicBezTo>
                    <a:pt x="265" y="468"/>
                    <a:pt x="265" y="468"/>
                    <a:pt x="264" y="468"/>
                  </a:cubicBezTo>
                  <a:cubicBezTo>
                    <a:pt x="263" y="468"/>
                    <a:pt x="274" y="453"/>
                    <a:pt x="276" y="444"/>
                  </a:cubicBezTo>
                  <a:cubicBezTo>
                    <a:pt x="279" y="436"/>
                    <a:pt x="264" y="429"/>
                    <a:pt x="264" y="429"/>
                  </a:cubicBezTo>
                  <a:cubicBezTo>
                    <a:pt x="266" y="413"/>
                    <a:pt x="266" y="413"/>
                    <a:pt x="266" y="413"/>
                  </a:cubicBezTo>
                  <a:cubicBezTo>
                    <a:pt x="278" y="407"/>
                    <a:pt x="278" y="407"/>
                    <a:pt x="278" y="407"/>
                  </a:cubicBezTo>
                  <a:cubicBezTo>
                    <a:pt x="268" y="401"/>
                    <a:pt x="268" y="401"/>
                    <a:pt x="268" y="401"/>
                  </a:cubicBezTo>
                  <a:cubicBezTo>
                    <a:pt x="279" y="390"/>
                    <a:pt x="279" y="390"/>
                    <a:pt x="279" y="390"/>
                  </a:cubicBezTo>
                  <a:cubicBezTo>
                    <a:pt x="279" y="390"/>
                    <a:pt x="269" y="387"/>
                    <a:pt x="259" y="386"/>
                  </a:cubicBezTo>
                  <a:cubicBezTo>
                    <a:pt x="250" y="386"/>
                    <a:pt x="249" y="370"/>
                    <a:pt x="249" y="370"/>
                  </a:cubicBezTo>
                  <a:cubicBezTo>
                    <a:pt x="269" y="348"/>
                    <a:pt x="269" y="348"/>
                    <a:pt x="269" y="348"/>
                  </a:cubicBezTo>
                  <a:cubicBezTo>
                    <a:pt x="272" y="329"/>
                    <a:pt x="272" y="329"/>
                    <a:pt x="272" y="329"/>
                  </a:cubicBezTo>
                  <a:cubicBezTo>
                    <a:pt x="272" y="329"/>
                    <a:pt x="275" y="329"/>
                    <a:pt x="281" y="329"/>
                  </a:cubicBezTo>
                  <a:cubicBezTo>
                    <a:pt x="287" y="329"/>
                    <a:pt x="310" y="309"/>
                    <a:pt x="310" y="309"/>
                  </a:cubicBezTo>
                  <a:cubicBezTo>
                    <a:pt x="307" y="301"/>
                    <a:pt x="307" y="301"/>
                    <a:pt x="307" y="301"/>
                  </a:cubicBezTo>
                  <a:cubicBezTo>
                    <a:pt x="293" y="311"/>
                    <a:pt x="293" y="311"/>
                    <a:pt x="293" y="311"/>
                  </a:cubicBezTo>
                  <a:cubicBezTo>
                    <a:pt x="287" y="306"/>
                    <a:pt x="287" y="306"/>
                    <a:pt x="287" y="306"/>
                  </a:cubicBezTo>
                  <a:cubicBezTo>
                    <a:pt x="287" y="306"/>
                    <a:pt x="283" y="310"/>
                    <a:pt x="264" y="301"/>
                  </a:cubicBezTo>
                  <a:cubicBezTo>
                    <a:pt x="244" y="292"/>
                    <a:pt x="258" y="283"/>
                    <a:pt x="258" y="283"/>
                  </a:cubicBezTo>
                  <a:cubicBezTo>
                    <a:pt x="248" y="280"/>
                    <a:pt x="248" y="280"/>
                    <a:pt x="248" y="280"/>
                  </a:cubicBezTo>
                  <a:cubicBezTo>
                    <a:pt x="257" y="267"/>
                    <a:pt x="257" y="267"/>
                    <a:pt x="257" y="267"/>
                  </a:cubicBezTo>
                  <a:cubicBezTo>
                    <a:pt x="240" y="254"/>
                    <a:pt x="240" y="254"/>
                    <a:pt x="240" y="254"/>
                  </a:cubicBezTo>
                  <a:cubicBezTo>
                    <a:pt x="238" y="243"/>
                    <a:pt x="238" y="243"/>
                    <a:pt x="238" y="243"/>
                  </a:cubicBezTo>
                  <a:cubicBezTo>
                    <a:pt x="221" y="236"/>
                    <a:pt x="221" y="236"/>
                    <a:pt x="221" y="236"/>
                  </a:cubicBezTo>
                  <a:cubicBezTo>
                    <a:pt x="233" y="225"/>
                    <a:pt x="233" y="225"/>
                    <a:pt x="233" y="225"/>
                  </a:cubicBezTo>
                  <a:cubicBezTo>
                    <a:pt x="233" y="225"/>
                    <a:pt x="232" y="211"/>
                    <a:pt x="238" y="201"/>
                  </a:cubicBezTo>
                  <a:cubicBezTo>
                    <a:pt x="244" y="192"/>
                    <a:pt x="249" y="195"/>
                    <a:pt x="249" y="195"/>
                  </a:cubicBezTo>
                  <a:cubicBezTo>
                    <a:pt x="249" y="195"/>
                    <a:pt x="263" y="184"/>
                    <a:pt x="258" y="170"/>
                  </a:cubicBezTo>
                  <a:cubicBezTo>
                    <a:pt x="253" y="156"/>
                    <a:pt x="226" y="176"/>
                    <a:pt x="226" y="176"/>
                  </a:cubicBezTo>
                  <a:cubicBezTo>
                    <a:pt x="179" y="124"/>
                    <a:pt x="179" y="124"/>
                    <a:pt x="179" y="124"/>
                  </a:cubicBezTo>
                  <a:cubicBezTo>
                    <a:pt x="179" y="124"/>
                    <a:pt x="183" y="122"/>
                    <a:pt x="189" y="120"/>
                  </a:cubicBezTo>
                  <a:cubicBezTo>
                    <a:pt x="194" y="118"/>
                    <a:pt x="204" y="68"/>
                    <a:pt x="204" y="68"/>
                  </a:cubicBezTo>
                  <a:cubicBezTo>
                    <a:pt x="204" y="68"/>
                    <a:pt x="196" y="22"/>
                    <a:pt x="196" y="20"/>
                  </a:cubicBezTo>
                  <a:cubicBezTo>
                    <a:pt x="196" y="19"/>
                    <a:pt x="175" y="14"/>
                    <a:pt x="175" y="14"/>
                  </a:cubicBezTo>
                  <a:cubicBezTo>
                    <a:pt x="173" y="5"/>
                    <a:pt x="173" y="5"/>
                    <a:pt x="173" y="5"/>
                  </a:cubicBezTo>
                  <a:cubicBezTo>
                    <a:pt x="173" y="5"/>
                    <a:pt x="167" y="9"/>
                    <a:pt x="161" y="11"/>
                  </a:cubicBezTo>
                  <a:cubicBezTo>
                    <a:pt x="155" y="14"/>
                    <a:pt x="144" y="0"/>
                    <a:pt x="144" y="0"/>
                  </a:cubicBezTo>
                  <a:cubicBezTo>
                    <a:pt x="130" y="14"/>
                    <a:pt x="130" y="14"/>
                    <a:pt x="130" y="14"/>
                  </a:cubicBezTo>
                  <a:cubicBezTo>
                    <a:pt x="123" y="10"/>
                    <a:pt x="123" y="10"/>
                    <a:pt x="123" y="10"/>
                  </a:cubicBezTo>
                  <a:cubicBezTo>
                    <a:pt x="120" y="12"/>
                    <a:pt x="119" y="14"/>
                    <a:pt x="119" y="14"/>
                  </a:cubicBezTo>
                  <a:cubicBezTo>
                    <a:pt x="146" y="18"/>
                    <a:pt x="146" y="18"/>
                    <a:pt x="146" y="18"/>
                  </a:cubicBezTo>
                  <a:cubicBezTo>
                    <a:pt x="146" y="23"/>
                    <a:pt x="146" y="23"/>
                    <a:pt x="146" y="23"/>
                  </a:cubicBezTo>
                  <a:cubicBezTo>
                    <a:pt x="159" y="33"/>
                    <a:pt x="159" y="33"/>
                    <a:pt x="159" y="33"/>
                  </a:cubicBezTo>
                  <a:cubicBezTo>
                    <a:pt x="159" y="33"/>
                    <a:pt x="152" y="37"/>
                    <a:pt x="152" y="40"/>
                  </a:cubicBezTo>
                  <a:cubicBezTo>
                    <a:pt x="151" y="44"/>
                    <a:pt x="155" y="50"/>
                    <a:pt x="155" y="50"/>
                  </a:cubicBezTo>
                  <a:cubicBezTo>
                    <a:pt x="143" y="51"/>
                    <a:pt x="143" y="51"/>
                    <a:pt x="143" y="51"/>
                  </a:cubicBezTo>
                  <a:cubicBezTo>
                    <a:pt x="151" y="62"/>
                    <a:pt x="151" y="62"/>
                    <a:pt x="151" y="62"/>
                  </a:cubicBezTo>
                  <a:cubicBezTo>
                    <a:pt x="140" y="63"/>
                    <a:pt x="140" y="63"/>
                    <a:pt x="140" y="63"/>
                  </a:cubicBezTo>
                  <a:cubicBezTo>
                    <a:pt x="140" y="74"/>
                    <a:pt x="140" y="74"/>
                    <a:pt x="140" y="74"/>
                  </a:cubicBezTo>
                  <a:cubicBezTo>
                    <a:pt x="140" y="74"/>
                    <a:pt x="143" y="77"/>
                    <a:pt x="130" y="79"/>
                  </a:cubicBezTo>
                  <a:cubicBezTo>
                    <a:pt x="117" y="81"/>
                    <a:pt x="130" y="87"/>
                    <a:pt x="123" y="93"/>
                  </a:cubicBezTo>
                  <a:cubicBezTo>
                    <a:pt x="116" y="99"/>
                    <a:pt x="106" y="97"/>
                    <a:pt x="106" y="97"/>
                  </a:cubicBezTo>
                  <a:cubicBezTo>
                    <a:pt x="93" y="103"/>
                    <a:pt x="93" y="103"/>
                    <a:pt x="93" y="103"/>
                  </a:cubicBezTo>
                  <a:cubicBezTo>
                    <a:pt x="96" y="130"/>
                    <a:pt x="96" y="130"/>
                    <a:pt x="96" y="130"/>
                  </a:cubicBezTo>
                  <a:cubicBezTo>
                    <a:pt x="86" y="135"/>
                    <a:pt x="86" y="135"/>
                    <a:pt x="86" y="135"/>
                  </a:cubicBezTo>
                  <a:cubicBezTo>
                    <a:pt x="86" y="149"/>
                    <a:pt x="86" y="149"/>
                    <a:pt x="86" y="149"/>
                  </a:cubicBezTo>
                  <a:cubicBezTo>
                    <a:pt x="99" y="162"/>
                    <a:pt x="99" y="162"/>
                    <a:pt x="99" y="162"/>
                  </a:cubicBezTo>
                  <a:cubicBezTo>
                    <a:pt x="91" y="173"/>
                    <a:pt x="91" y="173"/>
                    <a:pt x="91" y="173"/>
                  </a:cubicBezTo>
                  <a:cubicBezTo>
                    <a:pt x="91" y="173"/>
                    <a:pt x="91" y="185"/>
                    <a:pt x="91" y="191"/>
                  </a:cubicBezTo>
                  <a:cubicBezTo>
                    <a:pt x="91" y="197"/>
                    <a:pt x="69" y="222"/>
                    <a:pt x="69" y="222"/>
                  </a:cubicBezTo>
                  <a:cubicBezTo>
                    <a:pt x="66" y="222"/>
                    <a:pt x="66" y="222"/>
                    <a:pt x="66" y="222"/>
                  </a:cubicBezTo>
                  <a:cubicBezTo>
                    <a:pt x="53" y="240"/>
                    <a:pt x="53" y="240"/>
                    <a:pt x="53" y="240"/>
                  </a:cubicBezTo>
                  <a:cubicBezTo>
                    <a:pt x="53" y="240"/>
                    <a:pt x="40" y="255"/>
                    <a:pt x="38" y="270"/>
                  </a:cubicBezTo>
                  <a:cubicBezTo>
                    <a:pt x="37" y="276"/>
                    <a:pt x="34" y="280"/>
                    <a:pt x="31" y="283"/>
                  </a:cubicBezTo>
                  <a:cubicBezTo>
                    <a:pt x="32" y="283"/>
                    <a:pt x="32" y="283"/>
                    <a:pt x="32" y="283"/>
                  </a:cubicBezTo>
                  <a:cubicBezTo>
                    <a:pt x="32" y="283"/>
                    <a:pt x="14" y="321"/>
                    <a:pt x="10" y="332"/>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80" name="Freeform 329">
              <a:extLst>
                <a:ext uri="{FF2B5EF4-FFF2-40B4-BE49-F238E27FC236}">
                  <a16:creationId xmlns:a16="http://schemas.microsoft.com/office/drawing/2014/main" id="{5E288870-8C58-4EC8-B1F2-15B7B19B0596}"/>
                </a:ext>
              </a:extLst>
            </p:cNvPr>
            <p:cNvSpPr>
              <a:spLocks noChangeAspect="1"/>
            </p:cNvSpPr>
            <p:nvPr/>
          </p:nvSpPr>
          <p:spPr bwMode="auto">
            <a:xfrm>
              <a:off x="12081" y="4108"/>
              <a:ext cx="962" cy="802"/>
            </a:xfrm>
            <a:custGeom>
              <a:avLst/>
              <a:gdLst/>
              <a:ahLst/>
              <a:cxnLst>
                <a:cxn ang="0">
                  <a:pos x="455" y="134"/>
                </a:cxn>
                <a:cxn ang="0">
                  <a:pos x="451" y="129"/>
                </a:cxn>
                <a:cxn ang="0">
                  <a:pos x="460" y="123"/>
                </a:cxn>
                <a:cxn ang="0">
                  <a:pos x="462" y="108"/>
                </a:cxn>
                <a:cxn ang="0">
                  <a:pos x="476" y="92"/>
                </a:cxn>
                <a:cxn ang="0">
                  <a:pos x="477" y="83"/>
                </a:cxn>
                <a:cxn ang="0">
                  <a:pos x="429" y="83"/>
                </a:cxn>
                <a:cxn ang="0">
                  <a:pos x="389" y="42"/>
                </a:cxn>
                <a:cxn ang="0">
                  <a:pos x="371" y="23"/>
                </a:cxn>
                <a:cxn ang="0">
                  <a:pos x="352" y="25"/>
                </a:cxn>
                <a:cxn ang="0">
                  <a:pos x="299" y="8"/>
                </a:cxn>
                <a:cxn ang="0">
                  <a:pos x="283" y="9"/>
                </a:cxn>
                <a:cxn ang="0">
                  <a:pos x="276" y="0"/>
                </a:cxn>
                <a:cxn ang="0">
                  <a:pos x="264" y="8"/>
                </a:cxn>
                <a:cxn ang="0">
                  <a:pos x="256" y="0"/>
                </a:cxn>
                <a:cxn ang="0">
                  <a:pos x="246" y="8"/>
                </a:cxn>
                <a:cxn ang="0">
                  <a:pos x="233" y="0"/>
                </a:cxn>
                <a:cxn ang="0">
                  <a:pos x="228" y="7"/>
                </a:cxn>
                <a:cxn ang="0">
                  <a:pos x="206" y="21"/>
                </a:cxn>
                <a:cxn ang="0">
                  <a:pos x="188" y="21"/>
                </a:cxn>
                <a:cxn ang="0">
                  <a:pos x="181" y="31"/>
                </a:cxn>
                <a:cxn ang="0">
                  <a:pos x="172" y="30"/>
                </a:cxn>
                <a:cxn ang="0">
                  <a:pos x="160" y="48"/>
                </a:cxn>
                <a:cxn ang="0">
                  <a:pos x="151" y="47"/>
                </a:cxn>
                <a:cxn ang="0">
                  <a:pos x="111" y="68"/>
                </a:cxn>
                <a:cxn ang="0">
                  <a:pos x="115" y="79"/>
                </a:cxn>
                <a:cxn ang="0">
                  <a:pos x="100" y="82"/>
                </a:cxn>
                <a:cxn ang="0">
                  <a:pos x="74" y="110"/>
                </a:cxn>
                <a:cxn ang="0">
                  <a:pos x="73" y="123"/>
                </a:cxn>
                <a:cxn ang="0">
                  <a:pos x="60" y="123"/>
                </a:cxn>
                <a:cxn ang="0">
                  <a:pos x="54" y="135"/>
                </a:cxn>
                <a:cxn ang="0">
                  <a:pos x="38" y="155"/>
                </a:cxn>
                <a:cxn ang="0">
                  <a:pos x="18" y="166"/>
                </a:cxn>
                <a:cxn ang="0">
                  <a:pos x="17" y="175"/>
                </a:cxn>
                <a:cxn ang="0">
                  <a:pos x="0" y="187"/>
                </a:cxn>
                <a:cxn ang="0">
                  <a:pos x="8" y="195"/>
                </a:cxn>
                <a:cxn ang="0">
                  <a:pos x="25" y="195"/>
                </a:cxn>
                <a:cxn ang="0">
                  <a:pos x="34" y="179"/>
                </a:cxn>
                <a:cxn ang="0">
                  <a:pos x="48" y="181"/>
                </a:cxn>
                <a:cxn ang="0">
                  <a:pos x="97" y="225"/>
                </a:cxn>
                <a:cxn ang="0">
                  <a:pos x="99" y="242"/>
                </a:cxn>
                <a:cxn ang="0">
                  <a:pos x="123" y="226"/>
                </a:cxn>
                <a:cxn ang="0">
                  <a:pos x="145" y="251"/>
                </a:cxn>
                <a:cxn ang="0">
                  <a:pos x="167" y="263"/>
                </a:cxn>
                <a:cxn ang="0">
                  <a:pos x="190" y="264"/>
                </a:cxn>
                <a:cxn ang="0">
                  <a:pos x="191" y="272"/>
                </a:cxn>
                <a:cxn ang="0">
                  <a:pos x="214" y="290"/>
                </a:cxn>
                <a:cxn ang="0">
                  <a:pos x="236" y="305"/>
                </a:cxn>
                <a:cxn ang="0">
                  <a:pos x="245" y="324"/>
                </a:cxn>
                <a:cxn ang="0">
                  <a:pos x="265" y="333"/>
                </a:cxn>
                <a:cxn ang="0">
                  <a:pos x="277" y="342"/>
                </a:cxn>
                <a:cxn ang="0">
                  <a:pos x="247" y="364"/>
                </a:cxn>
                <a:cxn ang="0">
                  <a:pos x="248" y="396"/>
                </a:cxn>
                <a:cxn ang="0">
                  <a:pos x="259" y="400"/>
                </a:cxn>
                <a:cxn ang="0">
                  <a:pos x="301" y="361"/>
                </a:cxn>
                <a:cxn ang="0">
                  <a:pos x="316" y="325"/>
                </a:cxn>
                <a:cxn ang="0">
                  <a:pos x="344" y="295"/>
                </a:cxn>
                <a:cxn ang="0">
                  <a:pos x="393" y="261"/>
                </a:cxn>
                <a:cxn ang="0">
                  <a:pos x="436" y="210"/>
                </a:cxn>
                <a:cxn ang="0">
                  <a:pos x="471" y="142"/>
                </a:cxn>
                <a:cxn ang="0">
                  <a:pos x="476" y="135"/>
                </a:cxn>
                <a:cxn ang="0">
                  <a:pos x="464" y="128"/>
                </a:cxn>
                <a:cxn ang="0">
                  <a:pos x="455" y="134"/>
                </a:cxn>
              </a:cxnLst>
              <a:rect l="0" t="0" r="r" b="b"/>
              <a:pathLst>
                <a:path w="481" h="400">
                  <a:moveTo>
                    <a:pt x="455" y="134"/>
                  </a:moveTo>
                  <a:cubicBezTo>
                    <a:pt x="451" y="129"/>
                    <a:pt x="451" y="129"/>
                    <a:pt x="451" y="129"/>
                  </a:cubicBezTo>
                  <a:cubicBezTo>
                    <a:pt x="460" y="123"/>
                    <a:pt x="460" y="123"/>
                    <a:pt x="460" y="123"/>
                  </a:cubicBezTo>
                  <a:cubicBezTo>
                    <a:pt x="462" y="108"/>
                    <a:pt x="462" y="108"/>
                    <a:pt x="462" y="108"/>
                  </a:cubicBezTo>
                  <a:cubicBezTo>
                    <a:pt x="462" y="108"/>
                    <a:pt x="471" y="94"/>
                    <a:pt x="476" y="92"/>
                  </a:cubicBezTo>
                  <a:cubicBezTo>
                    <a:pt x="481" y="90"/>
                    <a:pt x="477" y="84"/>
                    <a:pt x="477" y="83"/>
                  </a:cubicBezTo>
                  <a:cubicBezTo>
                    <a:pt x="478" y="83"/>
                    <a:pt x="429" y="83"/>
                    <a:pt x="429" y="83"/>
                  </a:cubicBezTo>
                  <a:cubicBezTo>
                    <a:pt x="389" y="42"/>
                    <a:pt x="389" y="42"/>
                    <a:pt x="389" y="42"/>
                  </a:cubicBezTo>
                  <a:cubicBezTo>
                    <a:pt x="389" y="42"/>
                    <a:pt x="380" y="31"/>
                    <a:pt x="371" y="23"/>
                  </a:cubicBezTo>
                  <a:cubicBezTo>
                    <a:pt x="363" y="14"/>
                    <a:pt x="352" y="25"/>
                    <a:pt x="352" y="25"/>
                  </a:cubicBezTo>
                  <a:cubicBezTo>
                    <a:pt x="299" y="8"/>
                    <a:pt x="299" y="8"/>
                    <a:pt x="299" y="8"/>
                  </a:cubicBezTo>
                  <a:cubicBezTo>
                    <a:pt x="299" y="8"/>
                    <a:pt x="284" y="9"/>
                    <a:pt x="283" y="9"/>
                  </a:cubicBezTo>
                  <a:cubicBezTo>
                    <a:pt x="283" y="9"/>
                    <a:pt x="276" y="0"/>
                    <a:pt x="276" y="0"/>
                  </a:cubicBezTo>
                  <a:cubicBezTo>
                    <a:pt x="264" y="8"/>
                    <a:pt x="264" y="8"/>
                    <a:pt x="264" y="8"/>
                  </a:cubicBezTo>
                  <a:cubicBezTo>
                    <a:pt x="256" y="0"/>
                    <a:pt x="256" y="0"/>
                    <a:pt x="256" y="0"/>
                  </a:cubicBezTo>
                  <a:cubicBezTo>
                    <a:pt x="256" y="0"/>
                    <a:pt x="250" y="8"/>
                    <a:pt x="246" y="8"/>
                  </a:cubicBezTo>
                  <a:cubicBezTo>
                    <a:pt x="243" y="8"/>
                    <a:pt x="237" y="4"/>
                    <a:pt x="233" y="0"/>
                  </a:cubicBezTo>
                  <a:cubicBezTo>
                    <a:pt x="232" y="4"/>
                    <a:pt x="230" y="6"/>
                    <a:pt x="228" y="7"/>
                  </a:cubicBezTo>
                  <a:cubicBezTo>
                    <a:pt x="223" y="9"/>
                    <a:pt x="206" y="21"/>
                    <a:pt x="206" y="21"/>
                  </a:cubicBezTo>
                  <a:cubicBezTo>
                    <a:pt x="188" y="21"/>
                    <a:pt x="188" y="21"/>
                    <a:pt x="188" y="21"/>
                  </a:cubicBezTo>
                  <a:cubicBezTo>
                    <a:pt x="181" y="31"/>
                    <a:pt x="181" y="31"/>
                    <a:pt x="181" y="31"/>
                  </a:cubicBezTo>
                  <a:cubicBezTo>
                    <a:pt x="181" y="31"/>
                    <a:pt x="174" y="30"/>
                    <a:pt x="172" y="30"/>
                  </a:cubicBezTo>
                  <a:cubicBezTo>
                    <a:pt x="170" y="31"/>
                    <a:pt x="160" y="47"/>
                    <a:pt x="160" y="48"/>
                  </a:cubicBezTo>
                  <a:cubicBezTo>
                    <a:pt x="160" y="49"/>
                    <a:pt x="159" y="48"/>
                    <a:pt x="151" y="47"/>
                  </a:cubicBezTo>
                  <a:cubicBezTo>
                    <a:pt x="143" y="47"/>
                    <a:pt x="111" y="68"/>
                    <a:pt x="111" y="68"/>
                  </a:cubicBezTo>
                  <a:cubicBezTo>
                    <a:pt x="115" y="79"/>
                    <a:pt x="115" y="79"/>
                    <a:pt x="115" y="79"/>
                  </a:cubicBezTo>
                  <a:cubicBezTo>
                    <a:pt x="115" y="79"/>
                    <a:pt x="101" y="82"/>
                    <a:pt x="100" y="82"/>
                  </a:cubicBezTo>
                  <a:cubicBezTo>
                    <a:pt x="99" y="81"/>
                    <a:pt x="74" y="110"/>
                    <a:pt x="74" y="110"/>
                  </a:cubicBezTo>
                  <a:cubicBezTo>
                    <a:pt x="73" y="123"/>
                    <a:pt x="73" y="123"/>
                    <a:pt x="73" y="123"/>
                  </a:cubicBezTo>
                  <a:cubicBezTo>
                    <a:pt x="60" y="123"/>
                    <a:pt x="60" y="123"/>
                    <a:pt x="60" y="123"/>
                  </a:cubicBezTo>
                  <a:cubicBezTo>
                    <a:pt x="54" y="135"/>
                    <a:pt x="54" y="135"/>
                    <a:pt x="54" y="135"/>
                  </a:cubicBezTo>
                  <a:cubicBezTo>
                    <a:pt x="54" y="135"/>
                    <a:pt x="50" y="142"/>
                    <a:pt x="38" y="155"/>
                  </a:cubicBezTo>
                  <a:cubicBezTo>
                    <a:pt x="26" y="168"/>
                    <a:pt x="18" y="166"/>
                    <a:pt x="18" y="166"/>
                  </a:cubicBezTo>
                  <a:cubicBezTo>
                    <a:pt x="17" y="166"/>
                    <a:pt x="18" y="169"/>
                    <a:pt x="17" y="175"/>
                  </a:cubicBezTo>
                  <a:cubicBezTo>
                    <a:pt x="16" y="181"/>
                    <a:pt x="0" y="187"/>
                    <a:pt x="0" y="187"/>
                  </a:cubicBezTo>
                  <a:cubicBezTo>
                    <a:pt x="8" y="195"/>
                    <a:pt x="8" y="195"/>
                    <a:pt x="8" y="195"/>
                  </a:cubicBezTo>
                  <a:cubicBezTo>
                    <a:pt x="25" y="195"/>
                    <a:pt x="25" y="195"/>
                    <a:pt x="25" y="195"/>
                  </a:cubicBezTo>
                  <a:cubicBezTo>
                    <a:pt x="25" y="195"/>
                    <a:pt x="29" y="183"/>
                    <a:pt x="34" y="179"/>
                  </a:cubicBezTo>
                  <a:cubicBezTo>
                    <a:pt x="39" y="176"/>
                    <a:pt x="48" y="181"/>
                    <a:pt x="48" y="181"/>
                  </a:cubicBezTo>
                  <a:cubicBezTo>
                    <a:pt x="97" y="225"/>
                    <a:pt x="97" y="225"/>
                    <a:pt x="97" y="225"/>
                  </a:cubicBezTo>
                  <a:cubicBezTo>
                    <a:pt x="99" y="242"/>
                    <a:pt x="99" y="242"/>
                    <a:pt x="99" y="242"/>
                  </a:cubicBezTo>
                  <a:cubicBezTo>
                    <a:pt x="123" y="226"/>
                    <a:pt x="123" y="226"/>
                    <a:pt x="123" y="226"/>
                  </a:cubicBezTo>
                  <a:cubicBezTo>
                    <a:pt x="123" y="226"/>
                    <a:pt x="144" y="246"/>
                    <a:pt x="145" y="251"/>
                  </a:cubicBezTo>
                  <a:cubicBezTo>
                    <a:pt x="146" y="256"/>
                    <a:pt x="167" y="263"/>
                    <a:pt x="167" y="263"/>
                  </a:cubicBezTo>
                  <a:cubicBezTo>
                    <a:pt x="190" y="264"/>
                    <a:pt x="190" y="264"/>
                    <a:pt x="190" y="264"/>
                  </a:cubicBezTo>
                  <a:cubicBezTo>
                    <a:pt x="190" y="264"/>
                    <a:pt x="191" y="269"/>
                    <a:pt x="191" y="272"/>
                  </a:cubicBezTo>
                  <a:cubicBezTo>
                    <a:pt x="191" y="275"/>
                    <a:pt x="201" y="284"/>
                    <a:pt x="214" y="290"/>
                  </a:cubicBezTo>
                  <a:cubicBezTo>
                    <a:pt x="228" y="296"/>
                    <a:pt x="235" y="301"/>
                    <a:pt x="236" y="305"/>
                  </a:cubicBezTo>
                  <a:cubicBezTo>
                    <a:pt x="237" y="310"/>
                    <a:pt x="240" y="317"/>
                    <a:pt x="245" y="324"/>
                  </a:cubicBezTo>
                  <a:cubicBezTo>
                    <a:pt x="250" y="331"/>
                    <a:pt x="265" y="333"/>
                    <a:pt x="265" y="333"/>
                  </a:cubicBezTo>
                  <a:cubicBezTo>
                    <a:pt x="277" y="342"/>
                    <a:pt x="277" y="342"/>
                    <a:pt x="277" y="342"/>
                  </a:cubicBezTo>
                  <a:cubicBezTo>
                    <a:pt x="247" y="364"/>
                    <a:pt x="247" y="364"/>
                    <a:pt x="247" y="364"/>
                  </a:cubicBezTo>
                  <a:cubicBezTo>
                    <a:pt x="248" y="396"/>
                    <a:pt x="248" y="396"/>
                    <a:pt x="248" y="396"/>
                  </a:cubicBezTo>
                  <a:cubicBezTo>
                    <a:pt x="259" y="400"/>
                    <a:pt x="259" y="400"/>
                    <a:pt x="259" y="400"/>
                  </a:cubicBezTo>
                  <a:cubicBezTo>
                    <a:pt x="259" y="400"/>
                    <a:pt x="286" y="377"/>
                    <a:pt x="301" y="361"/>
                  </a:cubicBezTo>
                  <a:cubicBezTo>
                    <a:pt x="317" y="346"/>
                    <a:pt x="315" y="328"/>
                    <a:pt x="316" y="325"/>
                  </a:cubicBezTo>
                  <a:cubicBezTo>
                    <a:pt x="316" y="322"/>
                    <a:pt x="334" y="302"/>
                    <a:pt x="344" y="295"/>
                  </a:cubicBezTo>
                  <a:cubicBezTo>
                    <a:pt x="354" y="288"/>
                    <a:pt x="376" y="276"/>
                    <a:pt x="393" y="261"/>
                  </a:cubicBezTo>
                  <a:cubicBezTo>
                    <a:pt x="411" y="246"/>
                    <a:pt x="420" y="235"/>
                    <a:pt x="436" y="210"/>
                  </a:cubicBezTo>
                  <a:cubicBezTo>
                    <a:pt x="452" y="184"/>
                    <a:pt x="458" y="162"/>
                    <a:pt x="471" y="142"/>
                  </a:cubicBezTo>
                  <a:cubicBezTo>
                    <a:pt x="472" y="140"/>
                    <a:pt x="474" y="137"/>
                    <a:pt x="476" y="135"/>
                  </a:cubicBezTo>
                  <a:cubicBezTo>
                    <a:pt x="464" y="128"/>
                    <a:pt x="464" y="128"/>
                    <a:pt x="464" y="128"/>
                  </a:cubicBezTo>
                  <a:lnTo>
                    <a:pt x="455" y="134"/>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81" name="Freeform 336">
              <a:extLst>
                <a:ext uri="{FF2B5EF4-FFF2-40B4-BE49-F238E27FC236}">
                  <a16:creationId xmlns:a16="http://schemas.microsoft.com/office/drawing/2014/main" id="{77DC6993-2F5C-47FA-A3CB-052195BCFDF3}"/>
                </a:ext>
              </a:extLst>
            </p:cNvPr>
            <p:cNvSpPr>
              <a:spLocks noChangeAspect="1"/>
            </p:cNvSpPr>
            <p:nvPr/>
          </p:nvSpPr>
          <p:spPr bwMode="auto">
            <a:xfrm>
              <a:off x="13151" y="964"/>
              <a:ext cx="841" cy="1106"/>
            </a:xfrm>
            <a:custGeom>
              <a:avLst/>
              <a:gdLst/>
              <a:ahLst/>
              <a:cxnLst>
                <a:cxn ang="0">
                  <a:pos x="182" y="506"/>
                </a:cxn>
                <a:cxn ang="0">
                  <a:pos x="172" y="488"/>
                </a:cxn>
                <a:cxn ang="0">
                  <a:pos x="176" y="462"/>
                </a:cxn>
                <a:cxn ang="0">
                  <a:pos x="194" y="426"/>
                </a:cxn>
                <a:cxn ang="0">
                  <a:pos x="216" y="389"/>
                </a:cxn>
                <a:cxn ang="0">
                  <a:pos x="234" y="382"/>
                </a:cxn>
                <a:cxn ang="0">
                  <a:pos x="252" y="371"/>
                </a:cxn>
                <a:cxn ang="0">
                  <a:pos x="287" y="342"/>
                </a:cxn>
                <a:cxn ang="0">
                  <a:pos x="318" y="348"/>
                </a:cxn>
                <a:cxn ang="0">
                  <a:pos x="349" y="342"/>
                </a:cxn>
                <a:cxn ang="0">
                  <a:pos x="345" y="304"/>
                </a:cxn>
                <a:cxn ang="0">
                  <a:pos x="346" y="289"/>
                </a:cxn>
                <a:cxn ang="0">
                  <a:pos x="350" y="269"/>
                </a:cxn>
                <a:cxn ang="0">
                  <a:pos x="358" y="258"/>
                </a:cxn>
                <a:cxn ang="0">
                  <a:pos x="351" y="221"/>
                </a:cxn>
                <a:cxn ang="0">
                  <a:pos x="349" y="192"/>
                </a:cxn>
                <a:cxn ang="0">
                  <a:pos x="375" y="147"/>
                </a:cxn>
                <a:cxn ang="0">
                  <a:pos x="403" y="129"/>
                </a:cxn>
                <a:cxn ang="0">
                  <a:pos x="420" y="115"/>
                </a:cxn>
                <a:cxn ang="0">
                  <a:pos x="406" y="94"/>
                </a:cxn>
                <a:cxn ang="0">
                  <a:pos x="396" y="96"/>
                </a:cxn>
                <a:cxn ang="0">
                  <a:pos x="336" y="77"/>
                </a:cxn>
                <a:cxn ang="0">
                  <a:pos x="310" y="69"/>
                </a:cxn>
                <a:cxn ang="0">
                  <a:pos x="283" y="84"/>
                </a:cxn>
                <a:cxn ang="0">
                  <a:pos x="276" y="85"/>
                </a:cxn>
                <a:cxn ang="0">
                  <a:pos x="262" y="66"/>
                </a:cxn>
                <a:cxn ang="0">
                  <a:pos x="236" y="32"/>
                </a:cxn>
                <a:cxn ang="0">
                  <a:pos x="207" y="35"/>
                </a:cxn>
                <a:cxn ang="0">
                  <a:pos x="193" y="10"/>
                </a:cxn>
                <a:cxn ang="0">
                  <a:pos x="170" y="3"/>
                </a:cxn>
                <a:cxn ang="0">
                  <a:pos x="156" y="0"/>
                </a:cxn>
                <a:cxn ang="0">
                  <a:pos x="149" y="39"/>
                </a:cxn>
                <a:cxn ang="0">
                  <a:pos x="140" y="75"/>
                </a:cxn>
                <a:cxn ang="0">
                  <a:pos x="126" y="97"/>
                </a:cxn>
                <a:cxn ang="0">
                  <a:pos x="103" y="150"/>
                </a:cxn>
                <a:cxn ang="0">
                  <a:pos x="83" y="184"/>
                </a:cxn>
                <a:cxn ang="0">
                  <a:pos x="51" y="213"/>
                </a:cxn>
                <a:cxn ang="0">
                  <a:pos x="9" y="260"/>
                </a:cxn>
                <a:cxn ang="0">
                  <a:pos x="40" y="257"/>
                </a:cxn>
                <a:cxn ang="0">
                  <a:pos x="54" y="260"/>
                </a:cxn>
                <a:cxn ang="0">
                  <a:pos x="83" y="314"/>
                </a:cxn>
                <a:cxn ang="0">
                  <a:pos x="58" y="370"/>
                </a:cxn>
                <a:cxn ang="0">
                  <a:pos x="137" y="416"/>
                </a:cxn>
                <a:cxn ang="0">
                  <a:pos x="117" y="447"/>
                </a:cxn>
                <a:cxn ang="0">
                  <a:pos x="100" y="482"/>
                </a:cxn>
                <a:cxn ang="0">
                  <a:pos x="119" y="500"/>
                </a:cxn>
                <a:cxn ang="0">
                  <a:pos x="127" y="526"/>
                </a:cxn>
                <a:cxn ang="0">
                  <a:pos x="143" y="547"/>
                </a:cxn>
                <a:cxn ang="0">
                  <a:pos x="175" y="538"/>
                </a:cxn>
              </a:cxnLst>
              <a:rect l="0" t="0" r="r" b="b"/>
              <a:pathLst>
                <a:path w="420" h="553">
                  <a:moveTo>
                    <a:pt x="175" y="509"/>
                  </a:moveTo>
                  <a:cubicBezTo>
                    <a:pt x="182" y="506"/>
                    <a:pt x="182" y="506"/>
                    <a:pt x="182" y="506"/>
                  </a:cubicBezTo>
                  <a:cubicBezTo>
                    <a:pt x="182" y="506"/>
                    <a:pt x="174" y="502"/>
                    <a:pt x="173" y="501"/>
                  </a:cubicBezTo>
                  <a:cubicBezTo>
                    <a:pt x="173" y="500"/>
                    <a:pt x="172" y="488"/>
                    <a:pt x="172" y="488"/>
                  </a:cubicBezTo>
                  <a:cubicBezTo>
                    <a:pt x="172" y="488"/>
                    <a:pt x="166" y="476"/>
                    <a:pt x="167" y="471"/>
                  </a:cubicBezTo>
                  <a:cubicBezTo>
                    <a:pt x="168" y="467"/>
                    <a:pt x="176" y="462"/>
                    <a:pt x="176" y="462"/>
                  </a:cubicBezTo>
                  <a:cubicBezTo>
                    <a:pt x="176" y="462"/>
                    <a:pt x="178" y="444"/>
                    <a:pt x="180" y="441"/>
                  </a:cubicBezTo>
                  <a:cubicBezTo>
                    <a:pt x="183" y="439"/>
                    <a:pt x="194" y="426"/>
                    <a:pt x="194" y="426"/>
                  </a:cubicBezTo>
                  <a:cubicBezTo>
                    <a:pt x="194" y="426"/>
                    <a:pt x="189" y="410"/>
                    <a:pt x="199" y="402"/>
                  </a:cubicBezTo>
                  <a:cubicBezTo>
                    <a:pt x="209" y="393"/>
                    <a:pt x="216" y="389"/>
                    <a:pt x="216" y="389"/>
                  </a:cubicBezTo>
                  <a:cubicBezTo>
                    <a:pt x="229" y="389"/>
                    <a:pt x="229" y="389"/>
                    <a:pt x="229" y="389"/>
                  </a:cubicBezTo>
                  <a:cubicBezTo>
                    <a:pt x="234" y="382"/>
                    <a:pt x="234" y="382"/>
                    <a:pt x="234" y="382"/>
                  </a:cubicBezTo>
                  <a:cubicBezTo>
                    <a:pt x="245" y="382"/>
                    <a:pt x="245" y="382"/>
                    <a:pt x="245" y="382"/>
                  </a:cubicBezTo>
                  <a:cubicBezTo>
                    <a:pt x="245" y="382"/>
                    <a:pt x="251" y="373"/>
                    <a:pt x="252" y="371"/>
                  </a:cubicBezTo>
                  <a:cubicBezTo>
                    <a:pt x="253" y="369"/>
                    <a:pt x="266" y="372"/>
                    <a:pt x="274" y="360"/>
                  </a:cubicBezTo>
                  <a:cubicBezTo>
                    <a:pt x="282" y="349"/>
                    <a:pt x="287" y="342"/>
                    <a:pt x="287" y="342"/>
                  </a:cubicBezTo>
                  <a:cubicBezTo>
                    <a:pt x="287" y="342"/>
                    <a:pt x="307" y="339"/>
                    <a:pt x="310" y="341"/>
                  </a:cubicBezTo>
                  <a:cubicBezTo>
                    <a:pt x="313" y="344"/>
                    <a:pt x="318" y="348"/>
                    <a:pt x="318" y="348"/>
                  </a:cubicBezTo>
                  <a:cubicBezTo>
                    <a:pt x="318" y="348"/>
                    <a:pt x="326" y="344"/>
                    <a:pt x="330" y="344"/>
                  </a:cubicBezTo>
                  <a:cubicBezTo>
                    <a:pt x="334" y="344"/>
                    <a:pt x="348" y="346"/>
                    <a:pt x="349" y="342"/>
                  </a:cubicBezTo>
                  <a:cubicBezTo>
                    <a:pt x="350" y="339"/>
                    <a:pt x="358" y="315"/>
                    <a:pt x="358" y="315"/>
                  </a:cubicBezTo>
                  <a:cubicBezTo>
                    <a:pt x="345" y="304"/>
                    <a:pt x="345" y="304"/>
                    <a:pt x="345" y="304"/>
                  </a:cubicBezTo>
                  <a:cubicBezTo>
                    <a:pt x="340" y="294"/>
                    <a:pt x="340" y="294"/>
                    <a:pt x="340" y="294"/>
                  </a:cubicBezTo>
                  <a:cubicBezTo>
                    <a:pt x="346" y="289"/>
                    <a:pt x="346" y="289"/>
                    <a:pt x="346" y="289"/>
                  </a:cubicBezTo>
                  <a:cubicBezTo>
                    <a:pt x="346" y="289"/>
                    <a:pt x="337" y="281"/>
                    <a:pt x="341" y="277"/>
                  </a:cubicBezTo>
                  <a:cubicBezTo>
                    <a:pt x="345" y="273"/>
                    <a:pt x="350" y="269"/>
                    <a:pt x="350" y="269"/>
                  </a:cubicBezTo>
                  <a:cubicBezTo>
                    <a:pt x="350" y="262"/>
                    <a:pt x="350" y="262"/>
                    <a:pt x="350" y="262"/>
                  </a:cubicBezTo>
                  <a:cubicBezTo>
                    <a:pt x="358" y="258"/>
                    <a:pt x="358" y="258"/>
                    <a:pt x="358" y="258"/>
                  </a:cubicBezTo>
                  <a:cubicBezTo>
                    <a:pt x="355" y="240"/>
                    <a:pt x="355" y="240"/>
                    <a:pt x="355" y="240"/>
                  </a:cubicBezTo>
                  <a:cubicBezTo>
                    <a:pt x="355" y="240"/>
                    <a:pt x="350" y="229"/>
                    <a:pt x="351" y="221"/>
                  </a:cubicBezTo>
                  <a:cubicBezTo>
                    <a:pt x="351" y="214"/>
                    <a:pt x="358" y="205"/>
                    <a:pt x="358" y="205"/>
                  </a:cubicBezTo>
                  <a:cubicBezTo>
                    <a:pt x="358" y="205"/>
                    <a:pt x="349" y="196"/>
                    <a:pt x="349" y="192"/>
                  </a:cubicBezTo>
                  <a:cubicBezTo>
                    <a:pt x="348" y="188"/>
                    <a:pt x="366" y="174"/>
                    <a:pt x="366" y="172"/>
                  </a:cubicBezTo>
                  <a:cubicBezTo>
                    <a:pt x="367" y="170"/>
                    <a:pt x="370" y="149"/>
                    <a:pt x="375" y="147"/>
                  </a:cubicBezTo>
                  <a:cubicBezTo>
                    <a:pt x="379" y="145"/>
                    <a:pt x="396" y="148"/>
                    <a:pt x="399" y="143"/>
                  </a:cubicBezTo>
                  <a:cubicBezTo>
                    <a:pt x="402" y="137"/>
                    <a:pt x="403" y="129"/>
                    <a:pt x="403" y="129"/>
                  </a:cubicBezTo>
                  <a:cubicBezTo>
                    <a:pt x="414" y="128"/>
                    <a:pt x="414" y="128"/>
                    <a:pt x="414" y="128"/>
                  </a:cubicBezTo>
                  <a:cubicBezTo>
                    <a:pt x="420" y="115"/>
                    <a:pt x="420" y="115"/>
                    <a:pt x="420" y="115"/>
                  </a:cubicBezTo>
                  <a:cubicBezTo>
                    <a:pt x="416" y="98"/>
                    <a:pt x="416" y="98"/>
                    <a:pt x="416" y="98"/>
                  </a:cubicBezTo>
                  <a:cubicBezTo>
                    <a:pt x="406" y="94"/>
                    <a:pt x="406" y="94"/>
                    <a:pt x="406" y="94"/>
                  </a:cubicBezTo>
                  <a:cubicBezTo>
                    <a:pt x="403" y="101"/>
                    <a:pt x="403" y="101"/>
                    <a:pt x="403" y="101"/>
                  </a:cubicBezTo>
                  <a:cubicBezTo>
                    <a:pt x="396" y="96"/>
                    <a:pt x="396" y="96"/>
                    <a:pt x="396" y="96"/>
                  </a:cubicBezTo>
                  <a:cubicBezTo>
                    <a:pt x="382" y="100"/>
                    <a:pt x="382" y="100"/>
                    <a:pt x="382" y="100"/>
                  </a:cubicBezTo>
                  <a:cubicBezTo>
                    <a:pt x="336" y="77"/>
                    <a:pt x="336" y="77"/>
                    <a:pt x="336" y="77"/>
                  </a:cubicBezTo>
                  <a:cubicBezTo>
                    <a:pt x="318" y="81"/>
                    <a:pt x="318" y="81"/>
                    <a:pt x="318" y="81"/>
                  </a:cubicBezTo>
                  <a:cubicBezTo>
                    <a:pt x="318" y="81"/>
                    <a:pt x="321" y="69"/>
                    <a:pt x="310" y="69"/>
                  </a:cubicBezTo>
                  <a:cubicBezTo>
                    <a:pt x="299" y="69"/>
                    <a:pt x="288" y="94"/>
                    <a:pt x="288" y="95"/>
                  </a:cubicBezTo>
                  <a:cubicBezTo>
                    <a:pt x="288" y="96"/>
                    <a:pt x="283" y="84"/>
                    <a:pt x="283" y="84"/>
                  </a:cubicBezTo>
                  <a:cubicBezTo>
                    <a:pt x="282" y="76"/>
                    <a:pt x="282" y="76"/>
                    <a:pt x="282" y="76"/>
                  </a:cubicBezTo>
                  <a:cubicBezTo>
                    <a:pt x="282" y="76"/>
                    <a:pt x="278" y="83"/>
                    <a:pt x="276" y="85"/>
                  </a:cubicBezTo>
                  <a:cubicBezTo>
                    <a:pt x="275" y="86"/>
                    <a:pt x="265" y="86"/>
                    <a:pt x="265" y="86"/>
                  </a:cubicBezTo>
                  <a:cubicBezTo>
                    <a:pt x="265" y="86"/>
                    <a:pt x="264" y="73"/>
                    <a:pt x="262" y="66"/>
                  </a:cubicBezTo>
                  <a:cubicBezTo>
                    <a:pt x="261" y="58"/>
                    <a:pt x="253" y="40"/>
                    <a:pt x="246" y="33"/>
                  </a:cubicBezTo>
                  <a:cubicBezTo>
                    <a:pt x="239" y="27"/>
                    <a:pt x="236" y="32"/>
                    <a:pt x="236" y="32"/>
                  </a:cubicBezTo>
                  <a:cubicBezTo>
                    <a:pt x="229" y="15"/>
                    <a:pt x="229" y="15"/>
                    <a:pt x="229" y="15"/>
                  </a:cubicBezTo>
                  <a:cubicBezTo>
                    <a:pt x="207" y="35"/>
                    <a:pt x="207" y="35"/>
                    <a:pt x="207" y="35"/>
                  </a:cubicBezTo>
                  <a:cubicBezTo>
                    <a:pt x="207" y="35"/>
                    <a:pt x="207" y="26"/>
                    <a:pt x="207" y="21"/>
                  </a:cubicBezTo>
                  <a:cubicBezTo>
                    <a:pt x="207" y="17"/>
                    <a:pt x="193" y="10"/>
                    <a:pt x="193" y="10"/>
                  </a:cubicBezTo>
                  <a:cubicBezTo>
                    <a:pt x="183" y="17"/>
                    <a:pt x="183" y="17"/>
                    <a:pt x="183" y="17"/>
                  </a:cubicBezTo>
                  <a:cubicBezTo>
                    <a:pt x="170" y="3"/>
                    <a:pt x="170" y="3"/>
                    <a:pt x="170" y="3"/>
                  </a:cubicBezTo>
                  <a:cubicBezTo>
                    <a:pt x="161" y="7"/>
                    <a:pt x="161" y="7"/>
                    <a:pt x="161" y="7"/>
                  </a:cubicBezTo>
                  <a:cubicBezTo>
                    <a:pt x="156" y="0"/>
                    <a:pt x="156" y="0"/>
                    <a:pt x="156" y="0"/>
                  </a:cubicBezTo>
                  <a:cubicBezTo>
                    <a:pt x="158" y="32"/>
                    <a:pt x="158" y="32"/>
                    <a:pt x="158" y="32"/>
                  </a:cubicBezTo>
                  <a:cubicBezTo>
                    <a:pt x="149" y="39"/>
                    <a:pt x="149" y="39"/>
                    <a:pt x="149" y="39"/>
                  </a:cubicBezTo>
                  <a:cubicBezTo>
                    <a:pt x="156" y="49"/>
                    <a:pt x="156" y="49"/>
                    <a:pt x="156" y="49"/>
                  </a:cubicBezTo>
                  <a:cubicBezTo>
                    <a:pt x="140" y="75"/>
                    <a:pt x="140" y="75"/>
                    <a:pt x="140" y="75"/>
                  </a:cubicBezTo>
                  <a:cubicBezTo>
                    <a:pt x="140" y="95"/>
                    <a:pt x="140" y="95"/>
                    <a:pt x="140" y="95"/>
                  </a:cubicBezTo>
                  <a:cubicBezTo>
                    <a:pt x="126" y="97"/>
                    <a:pt x="126" y="97"/>
                    <a:pt x="126" y="97"/>
                  </a:cubicBezTo>
                  <a:cubicBezTo>
                    <a:pt x="129" y="116"/>
                    <a:pt x="129" y="116"/>
                    <a:pt x="129" y="116"/>
                  </a:cubicBezTo>
                  <a:cubicBezTo>
                    <a:pt x="103" y="150"/>
                    <a:pt x="103" y="150"/>
                    <a:pt x="103" y="150"/>
                  </a:cubicBezTo>
                  <a:cubicBezTo>
                    <a:pt x="106" y="166"/>
                    <a:pt x="106" y="166"/>
                    <a:pt x="106" y="166"/>
                  </a:cubicBezTo>
                  <a:cubicBezTo>
                    <a:pt x="106" y="166"/>
                    <a:pt x="90" y="173"/>
                    <a:pt x="83" y="184"/>
                  </a:cubicBezTo>
                  <a:cubicBezTo>
                    <a:pt x="77" y="195"/>
                    <a:pt x="71" y="213"/>
                    <a:pt x="71" y="213"/>
                  </a:cubicBezTo>
                  <a:cubicBezTo>
                    <a:pt x="51" y="213"/>
                    <a:pt x="51" y="213"/>
                    <a:pt x="51" y="213"/>
                  </a:cubicBezTo>
                  <a:cubicBezTo>
                    <a:pt x="0" y="255"/>
                    <a:pt x="0" y="255"/>
                    <a:pt x="0" y="255"/>
                  </a:cubicBezTo>
                  <a:cubicBezTo>
                    <a:pt x="9" y="260"/>
                    <a:pt x="9" y="260"/>
                    <a:pt x="9" y="260"/>
                  </a:cubicBezTo>
                  <a:cubicBezTo>
                    <a:pt x="23" y="246"/>
                    <a:pt x="23" y="246"/>
                    <a:pt x="23" y="246"/>
                  </a:cubicBezTo>
                  <a:cubicBezTo>
                    <a:pt x="23" y="246"/>
                    <a:pt x="34" y="260"/>
                    <a:pt x="40" y="257"/>
                  </a:cubicBezTo>
                  <a:cubicBezTo>
                    <a:pt x="46" y="255"/>
                    <a:pt x="52" y="251"/>
                    <a:pt x="52" y="251"/>
                  </a:cubicBezTo>
                  <a:cubicBezTo>
                    <a:pt x="54" y="260"/>
                    <a:pt x="54" y="260"/>
                    <a:pt x="54" y="260"/>
                  </a:cubicBezTo>
                  <a:cubicBezTo>
                    <a:pt x="54" y="260"/>
                    <a:pt x="75" y="265"/>
                    <a:pt x="75" y="266"/>
                  </a:cubicBezTo>
                  <a:cubicBezTo>
                    <a:pt x="75" y="268"/>
                    <a:pt x="83" y="314"/>
                    <a:pt x="83" y="314"/>
                  </a:cubicBezTo>
                  <a:cubicBezTo>
                    <a:pt x="83" y="314"/>
                    <a:pt x="73" y="364"/>
                    <a:pt x="68" y="366"/>
                  </a:cubicBezTo>
                  <a:cubicBezTo>
                    <a:pt x="62" y="368"/>
                    <a:pt x="58" y="370"/>
                    <a:pt x="58" y="370"/>
                  </a:cubicBezTo>
                  <a:cubicBezTo>
                    <a:pt x="105" y="422"/>
                    <a:pt x="105" y="422"/>
                    <a:pt x="105" y="422"/>
                  </a:cubicBezTo>
                  <a:cubicBezTo>
                    <a:pt x="105" y="422"/>
                    <a:pt x="132" y="402"/>
                    <a:pt x="137" y="416"/>
                  </a:cubicBezTo>
                  <a:cubicBezTo>
                    <a:pt x="142" y="430"/>
                    <a:pt x="128" y="441"/>
                    <a:pt x="128" y="441"/>
                  </a:cubicBezTo>
                  <a:cubicBezTo>
                    <a:pt x="128" y="441"/>
                    <a:pt x="123" y="438"/>
                    <a:pt x="117" y="447"/>
                  </a:cubicBezTo>
                  <a:cubicBezTo>
                    <a:pt x="111" y="457"/>
                    <a:pt x="112" y="471"/>
                    <a:pt x="112" y="471"/>
                  </a:cubicBezTo>
                  <a:cubicBezTo>
                    <a:pt x="100" y="482"/>
                    <a:pt x="100" y="482"/>
                    <a:pt x="100" y="482"/>
                  </a:cubicBezTo>
                  <a:cubicBezTo>
                    <a:pt x="117" y="489"/>
                    <a:pt x="117" y="489"/>
                    <a:pt x="117" y="489"/>
                  </a:cubicBezTo>
                  <a:cubicBezTo>
                    <a:pt x="119" y="500"/>
                    <a:pt x="119" y="500"/>
                    <a:pt x="119" y="500"/>
                  </a:cubicBezTo>
                  <a:cubicBezTo>
                    <a:pt x="136" y="513"/>
                    <a:pt x="136" y="513"/>
                    <a:pt x="136" y="513"/>
                  </a:cubicBezTo>
                  <a:cubicBezTo>
                    <a:pt x="127" y="526"/>
                    <a:pt x="127" y="526"/>
                    <a:pt x="127" y="526"/>
                  </a:cubicBezTo>
                  <a:cubicBezTo>
                    <a:pt x="137" y="529"/>
                    <a:pt x="137" y="529"/>
                    <a:pt x="137" y="529"/>
                  </a:cubicBezTo>
                  <a:cubicBezTo>
                    <a:pt x="137" y="529"/>
                    <a:pt x="123" y="538"/>
                    <a:pt x="143" y="547"/>
                  </a:cubicBezTo>
                  <a:cubicBezTo>
                    <a:pt x="156" y="553"/>
                    <a:pt x="162" y="553"/>
                    <a:pt x="164" y="552"/>
                  </a:cubicBezTo>
                  <a:cubicBezTo>
                    <a:pt x="175" y="538"/>
                    <a:pt x="175" y="538"/>
                    <a:pt x="175" y="538"/>
                  </a:cubicBezTo>
                  <a:lnTo>
                    <a:pt x="175" y="509"/>
                  </a:ln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82" name="Freeform 343">
              <a:extLst>
                <a:ext uri="{FF2B5EF4-FFF2-40B4-BE49-F238E27FC236}">
                  <a16:creationId xmlns:a16="http://schemas.microsoft.com/office/drawing/2014/main" id="{811CF5F3-354E-456C-8C70-CBD1FA273615}"/>
                </a:ext>
              </a:extLst>
            </p:cNvPr>
            <p:cNvSpPr>
              <a:spLocks noChangeAspect="1"/>
            </p:cNvSpPr>
            <p:nvPr/>
          </p:nvSpPr>
          <p:spPr bwMode="auto">
            <a:xfrm>
              <a:off x="13407" y="1865"/>
              <a:ext cx="1118" cy="1185"/>
            </a:xfrm>
            <a:custGeom>
              <a:avLst/>
              <a:gdLst>
                <a:gd name="T0" fmla="*/ 1040 w 558"/>
                <a:gd name="T1" fmla="*/ 324 h 592"/>
                <a:gd name="T2" fmla="*/ 1020 w 558"/>
                <a:gd name="T3" fmla="*/ 264 h 592"/>
                <a:gd name="T4" fmla="*/ 1066 w 558"/>
                <a:gd name="T5" fmla="*/ 260 h 592"/>
                <a:gd name="T6" fmla="*/ 1076 w 558"/>
                <a:gd name="T7" fmla="*/ 222 h 592"/>
                <a:gd name="T8" fmla="*/ 1046 w 558"/>
                <a:gd name="T9" fmla="*/ 174 h 592"/>
                <a:gd name="T10" fmla="*/ 1044 w 558"/>
                <a:gd name="T11" fmla="*/ 138 h 592"/>
                <a:gd name="T12" fmla="*/ 1044 w 558"/>
                <a:gd name="T13" fmla="*/ 118 h 592"/>
                <a:gd name="T14" fmla="*/ 1006 w 558"/>
                <a:gd name="T15" fmla="*/ 80 h 592"/>
                <a:gd name="T16" fmla="*/ 990 w 558"/>
                <a:gd name="T17" fmla="*/ 66 h 592"/>
                <a:gd name="T18" fmla="*/ 910 w 558"/>
                <a:gd name="T19" fmla="*/ 24 h 592"/>
                <a:gd name="T20" fmla="*/ 837 w 558"/>
                <a:gd name="T21" fmla="*/ 34 h 592"/>
                <a:gd name="T22" fmla="*/ 791 w 558"/>
                <a:gd name="T23" fmla="*/ 68 h 592"/>
                <a:gd name="T24" fmla="*/ 725 w 558"/>
                <a:gd name="T25" fmla="*/ 120 h 592"/>
                <a:gd name="T26" fmla="*/ 639 w 558"/>
                <a:gd name="T27" fmla="*/ 66 h 592"/>
                <a:gd name="T28" fmla="*/ 461 w 558"/>
                <a:gd name="T29" fmla="*/ 126 h 592"/>
                <a:gd name="T30" fmla="*/ 381 w 558"/>
                <a:gd name="T31" fmla="*/ 88 h 592"/>
                <a:gd name="T32" fmla="*/ 343 w 558"/>
                <a:gd name="T33" fmla="*/ 224 h 592"/>
                <a:gd name="T34" fmla="*/ 276 w 558"/>
                <a:gd name="T35" fmla="*/ 246 h 592"/>
                <a:gd name="T36" fmla="*/ 210 w 558"/>
                <a:gd name="T37" fmla="*/ 290 h 592"/>
                <a:gd name="T38" fmla="*/ 130 w 558"/>
                <a:gd name="T39" fmla="*/ 198 h 592"/>
                <a:gd name="T40" fmla="*/ 64 w 558"/>
                <a:gd name="T41" fmla="*/ 252 h 592"/>
                <a:gd name="T42" fmla="*/ 0 w 558"/>
                <a:gd name="T43" fmla="*/ 334 h 592"/>
                <a:gd name="T44" fmla="*/ 38 w 558"/>
                <a:gd name="T45" fmla="*/ 396 h 592"/>
                <a:gd name="T46" fmla="*/ 30 w 558"/>
                <a:gd name="T47" fmla="*/ 452 h 592"/>
                <a:gd name="T48" fmla="*/ 62 w 558"/>
                <a:gd name="T49" fmla="*/ 536 h 592"/>
                <a:gd name="T50" fmla="*/ 52 w 558"/>
                <a:gd name="T51" fmla="*/ 635 h 592"/>
                <a:gd name="T52" fmla="*/ 74 w 558"/>
                <a:gd name="T53" fmla="*/ 723 h 592"/>
                <a:gd name="T54" fmla="*/ 64 w 558"/>
                <a:gd name="T55" fmla="*/ 803 h 592"/>
                <a:gd name="T56" fmla="*/ 198 w 558"/>
                <a:gd name="T57" fmla="*/ 745 h 592"/>
                <a:gd name="T58" fmla="*/ 329 w 558"/>
                <a:gd name="T59" fmla="*/ 733 h 592"/>
                <a:gd name="T60" fmla="*/ 513 w 558"/>
                <a:gd name="T61" fmla="*/ 801 h 592"/>
                <a:gd name="T62" fmla="*/ 643 w 558"/>
                <a:gd name="T63" fmla="*/ 847 h 592"/>
                <a:gd name="T64" fmla="*/ 699 w 558"/>
                <a:gd name="T65" fmla="*/ 861 h 592"/>
                <a:gd name="T66" fmla="*/ 771 w 558"/>
                <a:gd name="T67" fmla="*/ 975 h 592"/>
                <a:gd name="T68" fmla="*/ 741 w 558"/>
                <a:gd name="T69" fmla="*/ 1019 h 592"/>
                <a:gd name="T70" fmla="*/ 775 w 558"/>
                <a:gd name="T71" fmla="*/ 1143 h 592"/>
                <a:gd name="T72" fmla="*/ 844 w 558"/>
                <a:gd name="T73" fmla="*/ 1183 h 592"/>
                <a:gd name="T74" fmla="*/ 866 w 558"/>
                <a:gd name="T75" fmla="*/ 1149 h 592"/>
                <a:gd name="T76" fmla="*/ 922 w 558"/>
                <a:gd name="T77" fmla="*/ 939 h 592"/>
                <a:gd name="T78" fmla="*/ 926 w 558"/>
                <a:gd name="T79" fmla="*/ 765 h 592"/>
                <a:gd name="T80" fmla="*/ 936 w 558"/>
                <a:gd name="T81" fmla="*/ 653 h 592"/>
                <a:gd name="T82" fmla="*/ 932 w 558"/>
                <a:gd name="T83" fmla="*/ 566 h 592"/>
                <a:gd name="T84" fmla="*/ 1080 w 558"/>
                <a:gd name="T85" fmla="*/ 434 h 592"/>
                <a:gd name="T86" fmla="*/ 1062 w 558"/>
                <a:gd name="T87" fmla="*/ 352 h 5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8"/>
                <a:gd name="T133" fmla="*/ 0 h 592"/>
                <a:gd name="T134" fmla="*/ 558 w 558"/>
                <a:gd name="T135" fmla="*/ 592 h 5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8" h="592">
                  <a:moveTo>
                    <a:pt x="530" y="176"/>
                  </a:moveTo>
                  <a:cubicBezTo>
                    <a:pt x="519" y="174"/>
                    <a:pt x="519" y="174"/>
                    <a:pt x="519" y="174"/>
                  </a:cubicBezTo>
                  <a:cubicBezTo>
                    <a:pt x="519" y="162"/>
                    <a:pt x="519" y="162"/>
                    <a:pt x="519" y="162"/>
                  </a:cubicBezTo>
                  <a:cubicBezTo>
                    <a:pt x="519" y="162"/>
                    <a:pt x="513" y="158"/>
                    <a:pt x="513" y="155"/>
                  </a:cubicBezTo>
                  <a:cubicBezTo>
                    <a:pt x="513" y="153"/>
                    <a:pt x="510" y="148"/>
                    <a:pt x="510" y="148"/>
                  </a:cubicBezTo>
                  <a:cubicBezTo>
                    <a:pt x="509" y="132"/>
                    <a:pt x="509" y="132"/>
                    <a:pt x="509" y="132"/>
                  </a:cubicBezTo>
                  <a:cubicBezTo>
                    <a:pt x="516" y="130"/>
                    <a:pt x="516" y="130"/>
                    <a:pt x="516" y="130"/>
                  </a:cubicBezTo>
                  <a:cubicBezTo>
                    <a:pt x="522" y="136"/>
                    <a:pt x="522" y="136"/>
                    <a:pt x="522" y="136"/>
                  </a:cubicBezTo>
                  <a:cubicBezTo>
                    <a:pt x="532" y="130"/>
                    <a:pt x="532" y="130"/>
                    <a:pt x="532" y="130"/>
                  </a:cubicBezTo>
                  <a:cubicBezTo>
                    <a:pt x="533" y="122"/>
                    <a:pt x="533" y="122"/>
                    <a:pt x="533" y="122"/>
                  </a:cubicBezTo>
                  <a:cubicBezTo>
                    <a:pt x="528" y="116"/>
                    <a:pt x="528" y="116"/>
                    <a:pt x="528" y="116"/>
                  </a:cubicBezTo>
                  <a:cubicBezTo>
                    <a:pt x="537" y="111"/>
                    <a:pt x="537" y="111"/>
                    <a:pt x="537" y="111"/>
                  </a:cubicBezTo>
                  <a:cubicBezTo>
                    <a:pt x="540" y="100"/>
                    <a:pt x="540" y="100"/>
                    <a:pt x="540" y="100"/>
                  </a:cubicBezTo>
                  <a:cubicBezTo>
                    <a:pt x="530" y="91"/>
                    <a:pt x="530" y="91"/>
                    <a:pt x="530" y="91"/>
                  </a:cubicBezTo>
                  <a:cubicBezTo>
                    <a:pt x="522" y="87"/>
                    <a:pt x="522" y="87"/>
                    <a:pt x="522" y="87"/>
                  </a:cubicBezTo>
                  <a:cubicBezTo>
                    <a:pt x="521" y="79"/>
                    <a:pt x="521" y="79"/>
                    <a:pt x="521" y="79"/>
                  </a:cubicBezTo>
                  <a:cubicBezTo>
                    <a:pt x="516" y="73"/>
                    <a:pt x="516" y="73"/>
                    <a:pt x="516" y="73"/>
                  </a:cubicBezTo>
                  <a:cubicBezTo>
                    <a:pt x="521" y="69"/>
                    <a:pt x="521" y="69"/>
                    <a:pt x="521" y="69"/>
                  </a:cubicBezTo>
                  <a:cubicBezTo>
                    <a:pt x="517" y="65"/>
                    <a:pt x="517" y="65"/>
                    <a:pt x="517" y="65"/>
                  </a:cubicBezTo>
                  <a:cubicBezTo>
                    <a:pt x="521" y="60"/>
                    <a:pt x="521" y="60"/>
                    <a:pt x="521" y="60"/>
                  </a:cubicBezTo>
                  <a:cubicBezTo>
                    <a:pt x="521" y="60"/>
                    <a:pt x="521" y="59"/>
                    <a:pt x="521" y="59"/>
                  </a:cubicBezTo>
                  <a:cubicBezTo>
                    <a:pt x="521" y="55"/>
                    <a:pt x="509" y="55"/>
                    <a:pt x="509" y="55"/>
                  </a:cubicBezTo>
                  <a:cubicBezTo>
                    <a:pt x="509" y="49"/>
                    <a:pt x="509" y="49"/>
                    <a:pt x="509" y="49"/>
                  </a:cubicBezTo>
                  <a:cubicBezTo>
                    <a:pt x="502" y="40"/>
                    <a:pt x="502" y="40"/>
                    <a:pt x="502" y="40"/>
                  </a:cubicBezTo>
                  <a:cubicBezTo>
                    <a:pt x="505" y="34"/>
                    <a:pt x="505" y="34"/>
                    <a:pt x="505" y="34"/>
                  </a:cubicBezTo>
                  <a:cubicBezTo>
                    <a:pt x="503" y="30"/>
                    <a:pt x="503" y="30"/>
                    <a:pt x="503" y="30"/>
                  </a:cubicBezTo>
                  <a:cubicBezTo>
                    <a:pt x="494" y="33"/>
                    <a:pt x="494" y="33"/>
                    <a:pt x="494" y="33"/>
                  </a:cubicBezTo>
                  <a:cubicBezTo>
                    <a:pt x="494" y="33"/>
                    <a:pt x="492" y="20"/>
                    <a:pt x="492" y="19"/>
                  </a:cubicBezTo>
                  <a:cubicBezTo>
                    <a:pt x="492" y="17"/>
                    <a:pt x="481" y="27"/>
                    <a:pt x="481" y="27"/>
                  </a:cubicBezTo>
                  <a:cubicBezTo>
                    <a:pt x="481" y="27"/>
                    <a:pt x="460" y="14"/>
                    <a:pt x="454" y="12"/>
                  </a:cubicBezTo>
                  <a:cubicBezTo>
                    <a:pt x="449" y="10"/>
                    <a:pt x="439" y="0"/>
                    <a:pt x="439" y="0"/>
                  </a:cubicBezTo>
                  <a:cubicBezTo>
                    <a:pt x="439" y="0"/>
                    <a:pt x="419" y="8"/>
                    <a:pt x="419" y="8"/>
                  </a:cubicBezTo>
                  <a:cubicBezTo>
                    <a:pt x="419" y="9"/>
                    <a:pt x="418" y="17"/>
                    <a:pt x="418" y="17"/>
                  </a:cubicBezTo>
                  <a:cubicBezTo>
                    <a:pt x="408" y="19"/>
                    <a:pt x="408" y="19"/>
                    <a:pt x="408" y="19"/>
                  </a:cubicBezTo>
                  <a:cubicBezTo>
                    <a:pt x="408" y="19"/>
                    <a:pt x="409" y="26"/>
                    <a:pt x="409" y="27"/>
                  </a:cubicBezTo>
                  <a:cubicBezTo>
                    <a:pt x="409" y="28"/>
                    <a:pt x="402" y="32"/>
                    <a:pt x="395" y="34"/>
                  </a:cubicBezTo>
                  <a:cubicBezTo>
                    <a:pt x="387" y="37"/>
                    <a:pt x="387" y="34"/>
                    <a:pt x="387" y="34"/>
                  </a:cubicBezTo>
                  <a:cubicBezTo>
                    <a:pt x="387" y="34"/>
                    <a:pt x="385" y="37"/>
                    <a:pt x="383" y="41"/>
                  </a:cubicBezTo>
                  <a:cubicBezTo>
                    <a:pt x="382" y="46"/>
                    <a:pt x="368" y="58"/>
                    <a:pt x="362" y="60"/>
                  </a:cubicBezTo>
                  <a:cubicBezTo>
                    <a:pt x="355" y="63"/>
                    <a:pt x="351" y="49"/>
                    <a:pt x="347" y="38"/>
                  </a:cubicBezTo>
                  <a:cubicBezTo>
                    <a:pt x="345" y="31"/>
                    <a:pt x="336" y="29"/>
                    <a:pt x="327" y="28"/>
                  </a:cubicBezTo>
                  <a:cubicBezTo>
                    <a:pt x="324" y="30"/>
                    <a:pt x="321" y="32"/>
                    <a:pt x="319" y="33"/>
                  </a:cubicBezTo>
                  <a:cubicBezTo>
                    <a:pt x="312" y="38"/>
                    <a:pt x="292" y="43"/>
                    <a:pt x="292" y="43"/>
                  </a:cubicBezTo>
                  <a:cubicBezTo>
                    <a:pt x="267" y="45"/>
                    <a:pt x="267" y="45"/>
                    <a:pt x="267" y="45"/>
                  </a:cubicBezTo>
                  <a:cubicBezTo>
                    <a:pt x="267" y="45"/>
                    <a:pt x="239" y="62"/>
                    <a:pt x="230" y="63"/>
                  </a:cubicBezTo>
                  <a:cubicBezTo>
                    <a:pt x="221" y="64"/>
                    <a:pt x="219" y="53"/>
                    <a:pt x="219" y="53"/>
                  </a:cubicBezTo>
                  <a:cubicBezTo>
                    <a:pt x="209" y="56"/>
                    <a:pt x="209" y="56"/>
                    <a:pt x="209" y="56"/>
                  </a:cubicBezTo>
                  <a:cubicBezTo>
                    <a:pt x="190" y="44"/>
                    <a:pt x="190" y="44"/>
                    <a:pt x="190" y="44"/>
                  </a:cubicBezTo>
                  <a:cubicBezTo>
                    <a:pt x="190" y="44"/>
                    <a:pt x="173" y="59"/>
                    <a:pt x="169" y="65"/>
                  </a:cubicBezTo>
                  <a:cubicBezTo>
                    <a:pt x="165" y="71"/>
                    <a:pt x="176" y="76"/>
                    <a:pt x="178" y="84"/>
                  </a:cubicBezTo>
                  <a:cubicBezTo>
                    <a:pt x="180" y="92"/>
                    <a:pt x="171" y="110"/>
                    <a:pt x="171" y="112"/>
                  </a:cubicBezTo>
                  <a:cubicBezTo>
                    <a:pt x="171" y="114"/>
                    <a:pt x="160" y="114"/>
                    <a:pt x="160" y="114"/>
                  </a:cubicBezTo>
                  <a:cubicBezTo>
                    <a:pt x="160" y="114"/>
                    <a:pt x="151" y="127"/>
                    <a:pt x="151" y="128"/>
                  </a:cubicBezTo>
                  <a:cubicBezTo>
                    <a:pt x="150" y="130"/>
                    <a:pt x="138" y="123"/>
                    <a:pt x="138" y="123"/>
                  </a:cubicBezTo>
                  <a:cubicBezTo>
                    <a:pt x="136" y="130"/>
                    <a:pt x="136" y="130"/>
                    <a:pt x="136" y="130"/>
                  </a:cubicBezTo>
                  <a:cubicBezTo>
                    <a:pt x="124" y="127"/>
                    <a:pt x="124" y="127"/>
                    <a:pt x="124" y="127"/>
                  </a:cubicBezTo>
                  <a:cubicBezTo>
                    <a:pt x="124" y="127"/>
                    <a:pt x="118" y="142"/>
                    <a:pt x="105" y="145"/>
                  </a:cubicBezTo>
                  <a:cubicBezTo>
                    <a:pt x="92" y="148"/>
                    <a:pt x="92" y="138"/>
                    <a:pt x="82" y="137"/>
                  </a:cubicBezTo>
                  <a:cubicBezTo>
                    <a:pt x="72" y="136"/>
                    <a:pt x="73" y="120"/>
                    <a:pt x="73" y="113"/>
                  </a:cubicBezTo>
                  <a:cubicBezTo>
                    <a:pt x="73" y="107"/>
                    <a:pt x="65" y="99"/>
                    <a:pt x="65" y="99"/>
                  </a:cubicBezTo>
                  <a:cubicBezTo>
                    <a:pt x="59" y="102"/>
                    <a:pt x="59" y="102"/>
                    <a:pt x="59" y="102"/>
                  </a:cubicBezTo>
                  <a:cubicBezTo>
                    <a:pt x="61" y="106"/>
                    <a:pt x="61" y="106"/>
                    <a:pt x="61" y="106"/>
                  </a:cubicBezTo>
                  <a:cubicBezTo>
                    <a:pt x="61" y="106"/>
                    <a:pt x="38" y="126"/>
                    <a:pt x="32" y="126"/>
                  </a:cubicBezTo>
                  <a:cubicBezTo>
                    <a:pt x="26" y="126"/>
                    <a:pt x="23" y="126"/>
                    <a:pt x="23" y="126"/>
                  </a:cubicBezTo>
                  <a:cubicBezTo>
                    <a:pt x="20" y="145"/>
                    <a:pt x="20" y="145"/>
                    <a:pt x="20" y="145"/>
                  </a:cubicBezTo>
                  <a:cubicBezTo>
                    <a:pt x="0" y="167"/>
                    <a:pt x="0" y="167"/>
                    <a:pt x="0" y="167"/>
                  </a:cubicBezTo>
                  <a:cubicBezTo>
                    <a:pt x="0" y="167"/>
                    <a:pt x="1" y="183"/>
                    <a:pt x="10" y="183"/>
                  </a:cubicBezTo>
                  <a:cubicBezTo>
                    <a:pt x="20" y="184"/>
                    <a:pt x="30" y="187"/>
                    <a:pt x="30" y="187"/>
                  </a:cubicBezTo>
                  <a:cubicBezTo>
                    <a:pt x="19" y="198"/>
                    <a:pt x="19" y="198"/>
                    <a:pt x="19" y="198"/>
                  </a:cubicBezTo>
                  <a:cubicBezTo>
                    <a:pt x="29" y="204"/>
                    <a:pt x="29" y="204"/>
                    <a:pt x="29" y="204"/>
                  </a:cubicBezTo>
                  <a:cubicBezTo>
                    <a:pt x="17" y="210"/>
                    <a:pt x="17" y="210"/>
                    <a:pt x="17" y="210"/>
                  </a:cubicBezTo>
                  <a:cubicBezTo>
                    <a:pt x="15" y="226"/>
                    <a:pt x="15" y="226"/>
                    <a:pt x="15" y="226"/>
                  </a:cubicBezTo>
                  <a:cubicBezTo>
                    <a:pt x="15" y="226"/>
                    <a:pt x="30" y="233"/>
                    <a:pt x="27" y="241"/>
                  </a:cubicBezTo>
                  <a:cubicBezTo>
                    <a:pt x="25" y="250"/>
                    <a:pt x="14" y="265"/>
                    <a:pt x="15" y="265"/>
                  </a:cubicBezTo>
                  <a:cubicBezTo>
                    <a:pt x="17" y="265"/>
                    <a:pt x="31" y="268"/>
                    <a:pt x="31" y="268"/>
                  </a:cubicBezTo>
                  <a:cubicBezTo>
                    <a:pt x="19" y="276"/>
                    <a:pt x="19" y="276"/>
                    <a:pt x="19" y="276"/>
                  </a:cubicBezTo>
                  <a:cubicBezTo>
                    <a:pt x="37" y="291"/>
                    <a:pt x="37" y="291"/>
                    <a:pt x="37" y="291"/>
                  </a:cubicBezTo>
                  <a:cubicBezTo>
                    <a:pt x="37" y="291"/>
                    <a:pt x="29" y="307"/>
                    <a:pt x="26" y="317"/>
                  </a:cubicBezTo>
                  <a:cubicBezTo>
                    <a:pt x="23" y="327"/>
                    <a:pt x="21" y="330"/>
                    <a:pt x="21" y="330"/>
                  </a:cubicBezTo>
                  <a:cubicBezTo>
                    <a:pt x="46" y="355"/>
                    <a:pt x="46" y="355"/>
                    <a:pt x="46" y="355"/>
                  </a:cubicBezTo>
                  <a:cubicBezTo>
                    <a:pt x="37" y="361"/>
                    <a:pt x="37" y="361"/>
                    <a:pt x="37" y="361"/>
                  </a:cubicBezTo>
                  <a:cubicBezTo>
                    <a:pt x="36" y="387"/>
                    <a:pt x="36" y="387"/>
                    <a:pt x="36" y="387"/>
                  </a:cubicBezTo>
                  <a:cubicBezTo>
                    <a:pt x="44" y="393"/>
                    <a:pt x="44" y="393"/>
                    <a:pt x="44" y="393"/>
                  </a:cubicBezTo>
                  <a:cubicBezTo>
                    <a:pt x="44" y="393"/>
                    <a:pt x="32" y="400"/>
                    <a:pt x="32" y="401"/>
                  </a:cubicBezTo>
                  <a:cubicBezTo>
                    <a:pt x="32" y="402"/>
                    <a:pt x="35" y="409"/>
                    <a:pt x="35" y="409"/>
                  </a:cubicBezTo>
                  <a:cubicBezTo>
                    <a:pt x="35" y="409"/>
                    <a:pt x="55" y="390"/>
                    <a:pt x="61" y="390"/>
                  </a:cubicBezTo>
                  <a:cubicBezTo>
                    <a:pt x="67" y="389"/>
                    <a:pt x="93" y="378"/>
                    <a:pt x="99" y="372"/>
                  </a:cubicBezTo>
                  <a:cubicBezTo>
                    <a:pt x="104" y="366"/>
                    <a:pt x="128" y="351"/>
                    <a:pt x="128" y="351"/>
                  </a:cubicBezTo>
                  <a:cubicBezTo>
                    <a:pt x="128" y="351"/>
                    <a:pt x="168" y="338"/>
                    <a:pt x="169" y="350"/>
                  </a:cubicBezTo>
                  <a:cubicBezTo>
                    <a:pt x="169" y="363"/>
                    <a:pt x="164" y="366"/>
                    <a:pt x="164" y="366"/>
                  </a:cubicBezTo>
                  <a:cubicBezTo>
                    <a:pt x="192" y="379"/>
                    <a:pt x="192" y="379"/>
                    <a:pt x="192" y="379"/>
                  </a:cubicBezTo>
                  <a:cubicBezTo>
                    <a:pt x="192" y="379"/>
                    <a:pt x="200" y="370"/>
                    <a:pt x="211" y="372"/>
                  </a:cubicBezTo>
                  <a:cubicBezTo>
                    <a:pt x="222" y="374"/>
                    <a:pt x="256" y="400"/>
                    <a:pt x="256" y="400"/>
                  </a:cubicBezTo>
                  <a:cubicBezTo>
                    <a:pt x="256" y="400"/>
                    <a:pt x="281" y="406"/>
                    <a:pt x="282" y="404"/>
                  </a:cubicBezTo>
                  <a:cubicBezTo>
                    <a:pt x="283" y="403"/>
                    <a:pt x="287" y="397"/>
                    <a:pt x="287" y="397"/>
                  </a:cubicBezTo>
                  <a:cubicBezTo>
                    <a:pt x="321" y="423"/>
                    <a:pt x="321" y="423"/>
                    <a:pt x="321" y="423"/>
                  </a:cubicBezTo>
                  <a:cubicBezTo>
                    <a:pt x="321" y="436"/>
                    <a:pt x="321" y="436"/>
                    <a:pt x="321" y="436"/>
                  </a:cubicBezTo>
                  <a:cubicBezTo>
                    <a:pt x="338" y="436"/>
                    <a:pt x="338" y="436"/>
                    <a:pt x="338" y="436"/>
                  </a:cubicBezTo>
                  <a:cubicBezTo>
                    <a:pt x="338" y="436"/>
                    <a:pt x="341" y="427"/>
                    <a:pt x="349" y="430"/>
                  </a:cubicBezTo>
                  <a:cubicBezTo>
                    <a:pt x="357" y="432"/>
                    <a:pt x="410" y="452"/>
                    <a:pt x="407" y="461"/>
                  </a:cubicBezTo>
                  <a:cubicBezTo>
                    <a:pt x="405" y="470"/>
                    <a:pt x="392" y="487"/>
                    <a:pt x="392" y="487"/>
                  </a:cubicBezTo>
                  <a:cubicBezTo>
                    <a:pt x="385" y="487"/>
                    <a:pt x="385" y="487"/>
                    <a:pt x="385" y="487"/>
                  </a:cubicBezTo>
                  <a:cubicBezTo>
                    <a:pt x="380" y="498"/>
                    <a:pt x="380" y="498"/>
                    <a:pt x="380" y="498"/>
                  </a:cubicBezTo>
                  <a:cubicBezTo>
                    <a:pt x="388" y="508"/>
                    <a:pt x="388" y="508"/>
                    <a:pt x="388" y="508"/>
                  </a:cubicBezTo>
                  <a:cubicBezTo>
                    <a:pt x="370" y="509"/>
                    <a:pt x="370" y="509"/>
                    <a:pt x="370" y="509"/>
                  </a:cubicBezTo>
                  <a:cubicBezTo>
                    <a:pt x="364" y="535"/>
                    <a:pt x="364" y="535"/>
                    <a:pt x="364" y="535"/>
                  </a:cubicBezTo>
                  <a:cubicBezTo>
                    <a:pt x="392" y="562"/>
                    <a:pt x="392" y="562"/>
                    <a:pt x="392" y="562"/>
                  </a:cubicBezTo>
                  <a:cubicBezTo>
                    <a:pt x="387" y="571"/>
                    <a:pt x="387" y="571"/>
                    <a:pt x="387" y="571"/>
                  </a:cubicBezTo>
                  <a:cubicBezTo>
                    <a:pt x="417" y="589"/>
                    <a:pt x="417" y="589"/>
                    <a:pt x="417" y="589"/>
                  </a:cubicBezTo>
                  <a:cubicBezTo>
                    <a:pt x="417" y="589"/>
                    <a:pt x="417" y="589"/>
                    <a:pt x="417" y="589"/>
                  </a:cubicBezTo>
                  <a:cubicBezTo>
                    <a:pt x="421" y="591"/>
                    <a:pt x="421" y="591"/>
                    <a:pt x="421" y="591"/>
                  </a:cubicBezTo>
                  <a:cubicBezTo>
                    <a:pt x="421" y="592"/>
                    <a:pt x="421" y="592"/>
                    <a:pt x="421" y="592"/>
                  </a:cubicBezTo>
                  <a:cubicBezTo>
                    <a:pt x="421" y="592"/>
                    <a:pt x="422" y="592"/>
                    <a:pt x="423" y="592"/>
                  </a:cubicBezTo>
                  <a:cubicBezTo>
                    <a:pt x="424" y="589"/>
                    <a:pt x="427" y="581"/>
                    <a:pt x="432" y="574"/>
                  </a:cubicBezTo>
                  <a:cubicBezTo>
                    <a:pt x="438" y="566"/>
                    <a:pt x="453" y="555"/>
                    <a:pt x="453" y="555"/>
                  </a:cubicBezTo>
                  <a:cubicBezTo>
                    <a:pt x="453" y="555"/>
                    <a:pt x="445" y="530"/>
                    <a:pt x="446" y="530"/>
                  </a:cubicBezTo>
                  <a:cubicBezTo>
                    <a:pt x="447" y="530"/>
                    <a:pt x="460" y="475"/>
                    <a:pt x="460" y="469"/>
                  </a:cubicBezTo>
                  <a:cubicBezTo>
                    <a:pt x="461" y="463"/>
                    <a:pt x="471" y="440"/>
                    <a:pt x="471" y="440"/>
                  </a:cubicBezTo>
                  <a:cubicBezTo>
                    <a:pt x="464" y="432"/>
                    <a:pt x="464" y="432"/>
                    <a:pt x="464" y="432"/>
                  </a:cubicBezTo>
                  <a:cubicBezTo>
                    <a:pt x="464" y="432"/>
                    <a:pt x="461" y="382"/>
                    <a:pt x="462" y="382"/>
                  </a:cubicBezTo>
                  <a:cubicBezTo>
                    <a:pt x="463" y="381"/>
                    <a:pt x="456" y="377"/>
                    <a:pt x="456" y="372"/>
                  </a:cubicBezTo>
                  <a:cubicBezTo>
                    <a:pt x="456" y="366"/>
                    <a:pt x="460" y="364"/>
                    <a:pt x="460" y="364"/>
                  </a:cubicBezTo>
                  <a:cubicBezTo>
                    <a:pt x="467" y="326"/>
                    <a:pt x="467" y="326"/>
                    <a:pt x="467" y="326"/>
                  </a:cubicBezTo>
                  <a:cubicBezTo>
                    <a:pt x="461" y="316"/>
                    <a:pt x="461" y="316"/>
                    <a:pt x="461" y="316"/>
                  </a:cubicBezTo>
                  <a:cubicBezTo>
                    <a:pt x="469" y="309"/>
                    <a:pt x="469" y="309"/>
                    <a:pt x="469" y="309"/>
                  </a:cubicBezTo>
                  <a:cubicBezTo>
                    <a:pt x="465" y="283"/>
                    <a:pt x="465" y="283"/>
                    <a:pt x="465" y="283"/>
                  </a:cubicBezTo>
                  <a:cubicBezTo>
                    <a:pt x="485" y="266"/>
                    <a:pt x="485" y="266"/>
                    <a:pt x="485" y="266"/>
                  </a:cubicBezTo>
                  <a:cubicBezTo>
                    <a:pt x="496" y="271"/>
                    <a:pt x="496" y="271"/>
                    <a:pt x="496" y="271"/>
                  </a:cubicBezTo>
                  <a:cubicBezTo>
                    <a:pt x="496" y="271"/>
                    <a:pt x="526" y="242"/>
                    <a:pt x="539" y="217"/>
                  </a:cubicBezTo>
                  <a:cubicBezTo>
                    <a:pt x="544" y="209"/>
                    <a:pt x="551" y="197"/>
                    <a:pt x="558" y="185"/>
                  </a:cubicBezTo>
                  <a:cubicBezTo>
                    <a:pt x="535" y="184"/>
                    <a:pt x="535" y="184"/>
                    <a:pt x="535" y="184"/>
                  </a:cubicBezTo>
                  <a:lnTo>
                    <a:pt x="530" y="17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83" name="Freeform 325">
              <a:extLst>
                <a:ext uri="{FF2B5EF4-FFF2-40B4-BE49-F238E27FC236}">
                  <a16:creationId xmlns:a16="http://schemas.microsoft.com/office/drawing/2014/main" id="{10E08A5A-9DC9-4FD9-9A83-3DB76172E752}"/>
                </a:ext>
              </a:extLst>
            </p:cNvPr>
            <p:cNvSpPr>
              <a:spLocks noChangeAspect="1"/>
            </p:cNvSpPr>
            <p:nvPr/>
          </p:nvSpPr>
          <p:spPr bwMode="auto">
            <a:xfrm>
              <a:off x="11527" y="1760"/>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84" name="Freeform 323">
              <a:extLst>
                <a:ext uri="{FF2B5EF4-FFF2-40B4-BE49-F238E27FC236}">
                  <a16:creationId xmlns:a16="http://schemas.microsoft.com/office/drawing/2014/main" id="{94E0D48D-7C5A-48ED-940F-78DADF2805BB}"/>
                </a:ext>
              </a:extLst>
            </p:cNvPr>
            <p:cNvSpPr>
              <a:spLocks noChangeAspect="1"/>
            </p:cNvSpPr>
            <p:nvPr/>
          </p:nvSpPr>
          <p:spPr bwMode="auto">
            <a:xfrm>
              <a:off x="11848" y="564"/>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grpSp>
      <p:grpSp>
        <p:nvGrpSpPr>
          <p:cNvPr id="85" name="Group 345">
            <a:extLst>
              <a:ext uri="{FF2B5EF4-FFF2-40B4-BE49-F238E27FC236}">
                <a16:creationId xmlns:a16="http://schemas.microsoft.com/office/drawing/2014/main" id="{15846999-FC65-458F-905E-795535C7D4CA}"/>
              </a:ext>
            </a:extLst>
          </p:cNvPr>
          <p:cNvGrpSpPr>
            <a:grpSpLocks noChangeAspect="1"/>
          </p:cNvGrpSpPr>
          <p:nvPr/>
        </p:nvGrpSpPr>
        <p:grpSpPr bwMode="auto">
          <a:xfrm>
            <a:off x="5554823" y="1663318"/>
            <a:ext cx="1392425" cy="1597569"/>
            <a:chOff x="10105" y="200"/>
            <a:chExt cx="4730" cy="4710"/>
          </a:xfrm>
          <a:solidFill>
            <a:schemeClr val="bg1">
              <a:lumMod val="75000"/>
            </a:schemeClr>
          </a:solidFill>
        </p:grpSpPr>
        <p:sp>
          <p:nvSpPr>
            <p:cNvPr id="86" name="Freeform 318">
              <a:extLst>
                <a:ext uri="{FF2B5EF4-FFF2-40B4-BE49-F238E27FC236}">
                  <a16:creationId xmlns:a16="http://schemas.microsoft.com/office/drawing/2014/main" id="{A6D65FE2-84E3-4D0F-AB7C-CA5ABA3480D4}"/>
                </a:ext>
              </a:extLst>
            </p:cNvPr>
            <p:cNvSpPr>
              <a:spLocks noChangeAspect="1"/>
            </p:cNvSpPr>
            <p:nvPr/>
          </p:nvSpPr>
          <p:spPr bwMode="auto">
            <a:xfrm>
              <a:off x="10105" y="1698"/>
              <a:ext cx="878" cy="494"/>
            </a:xfrm>
            <a:custGeom>
              <a:avLst/>
              <a:gdLst/>
              <a:ahLst/>
              <a:cxnLst>
                <a:cxn ang="0">
                  <a:pos x="364" y="133"/>
                </a:cxn>
                <a:cxn ang="0">
                  <a:pos x="353" y="134"/>
                </a:cxn>
                <a:cxn ang="0">
                  <a:pos x="296" y="101"/>
                </a:cxn>
                <a:cxn ang="0">
                  <a:pos x="216" y="58"/>
                </a:cxn>
                <a:cxn ang="0">
                  <a:pos x="87" y="31"/>
                </a:cxn>
                <a:cxn ang="0">
                  <a:pos x="13" y="0"/>
                </a:cxn>
                <a:cxn ang="0">
                  <a:pos x="15" y="9"/>
                </a:cxn>
                <a:cxn ang="0">
                  <a:pos x="2" y="14"/>
                </a:cxn>
                <a:cxn ang="0">
                  <a:pos x="0" y="25"/>
                </a:cxn>
                <a:cxn ang="0">
                  <a:pos x="18" y="39"/>
                </a:cxn>
                <a:cxn ang="0">
                  <a:pos x="10" y="47"/>
                </a:cxn>
                <a:cxn ang="0">
                  <a:pos x="21" y="55"/>
                </a:cxn>
                <a:cxn ang="0">
                  <a:pos x="23" y="66"/>
                </a:cxn>
                <a:cxn ang="0">
                  <a:pos x="39" y="81"/>
                </a:cxn>
                <a:cxn ang="0">
                  <a:pos x="40" y="92"/>
                </a:cxn>
                <a:cxn ang="0">
                  <a:pos x="51" y="97"/>
                </a:cxn>
                <a:cxn ang="0">
                  <a:pos x="65" y="117"/>
                </a:cxn>
                <a:cxn ang="0">
                  <a:pos x="48" y="137"/>
                </a:cxn>
                <a:cxn ang="0">
                  <a:pos x="99" y="145"/>
                </a:cxn>
                <a:cxn ang="0">
                  <a:pos x="108" y="173"/>
                </a:cxn>
                <a:cxn ang="0">
                  <a:pos x="163" y="173"/>
                </a:cxn>
                <a:cxn ang="0">
                  <a:pos x="206" y="140"/>
                </a:cxn>
                <a:cxn ang="0">
                  <a:pos x="206" y="151"/>
                </a:cxn>
                <a:cxn ang="0">
                  <a:pos x="208" y="158"/>
                </a:cxn>
                <a:cxn ang="0">
                  <a:pos x="202" y="165"/>
                </a:cxn>
                <a:cxn ang="0">
                  <a:pos x="200" y="233"/>
                </a:cxn>
                <a:cxn ang="0">
                  <a:pos x="207" y="228"/>
                </a:cxn>
                <a:cxn ang="0">
                  <a:pos x="218" y="238"/>
                </a:cxn>
                <a:cxn ang="0">
                  <a:pos x="242" y="229"/>
                </a:cxn>
                <a:cxn ang="0">
                  <a:pos x="276" y="229"/>
                </a:cxn>
                <a:cxn ang="0">
                  <a:pos x="313" y="233"/>
                </a:cxn>
                <a:cxn ang="0">
                  <a:pos x="320" y="247"/>
                </a:cxn>
                <a:cxn ang="0">
                  <a:pos x="345" y="232"/>
                </a:cxn>
                <a:cxn ang="0">
                  <a:pos x="355" y="214"/>
                </a:cxn>
                <a:cxn ang="0">
                  <a:pos x="373" y="216"/>
                </a:cxn>
                <a:cxn ang="0">
                  <a:pos x="398" y="196"/>
                </a:cxn>
                <a:cxn ang="0">
                  <a:pos x="419" y="192"/>
                </a:cxn>
                <a:cxn ang="0">
                  <a:pos x="439" y="170"/>
                </a:cxn>
                <a:cxn ang="0">
                  <a:pos x="439" y="170"/>
                </a:cxn>
                <a:cxn ang="0">
                  <a:pos x="433" y="163"/>
                </a:cxn>
                <a:cxn ang="0">
                  <a:pos x="364" y="133"/>
                </a:cxn>
              </a:cxnLst>
              <a:rect l="0" t="0" r="r" b="b"/>
              <a:pathLst>
                <a:path w="439" h="247">
                  <a:moveTo>
                    <a:pt x="364" y="133"/>
                  </a:moveTo>
                  <a:cubicBezTo>
                    <a:pt x="364" y="133"/>
                    <a:pt x="355" y="134"/>
                    <a:pt x="353" y="134"/>
                  </a:cubicBezTo>
                  <a:cubicBezTo>
                    <a:pt x="352" y="134"/>
                    <a:pt x="312" y="108"/>
                    <a:pt x="296" y="101"/>
                  </a:cubicBezTo>
                  <a:cubicBezTo>
                    <a:pt x="280" y="94"/>
                    <a:pt x="216" y="58"/>
                    <a:pt x="216" y="58"/>
                  </a:cubicBezTo>
                  <a:cubicBezTo>
                    <a:pt x="216" y="58"/>
                    <a:pt x="104" y="34"/>
                    <a:pt x="87" y="31"/>
                  </a:cubicBezTo>
                  <a:cubicBezTo>
                    <a:pt x="74" y="29"/>
                    <a:pt x="32" y="9"/>
                    <a:pt x="13" y="0"/>
                  </a:cubicBezTo>
                  <a:cubicBezTo>
                    <a:pt x="14" y="4"/>
                    <a:pt x="15" y="8"/>
                    <a:pt x="15" y="9"/>
                  </a:cubicBezTo>
                  <a:cubicBezTo>
                    <a:pt x="2" y="14"/>
                    <a:pt x="2" y="14"/>
                    <a:pt x="2" y="14"/>
                  </a:cubicBezTo>
                  <a:cubicBezTo>
                    <a:pt x="2" y="14"/>
                    <a:pt x="0" y="19"/>
                    <a:pt x="0" y="25"/>
                  </a:cubicBezTo>
                  <a:cubicBezTo>
                    <a:pt x="0" y="32"/>
                    <a:pt x="18" y="39"/>
                    <a:pt x="18" y="39"/>
                  </a:cubicBezTo>
                  <a:cubicBezTo>
                    <a:pt x="18" y="39"/>
                    <a:pt x="11" y="46"/>
                    <a:pt x="10" y="47"/>
                  </a:cubicBezTo>
                  <a:cubicBezTo>
                    <a:pt x="10" y="48"/>
                    <a:pt x="21" y="55"/>
                    <a:pt x="21" y="55"/>
                  </a:cubicBezTo>
                  <a:cubicBezTo>
                    <a:pt x="21" y="55"/>
                    <a:pt x="20" y="57"/>
                    <a:pt x="23" y="66"/>
                  </a:cubicBezTo>
                  <a:cubicBezTo>
                    <a:pt x="25" y="76"/>
                    <a:pt x="39" y="81"/>
                    <a:pt x="39" y="81"/>
                  </a:cubicBezTo>
                  <a:cubicBezTo>
                    <a:pt x="40" y="92"/>
                    <a:pt x="40" y="92"/>
                    <a:pt x="40" y="92"/>
                  </a:cubicBezTo>
                  <a:cubicBezTo>
                    <a:pt x="51" y="97"/>
                    <a:pt x="51" y="97"/>
                    <a:pt x="51" y="97"/>
                  </a:cubicBezTo>
                  <a:cubicBezTo>
                    <a:pt x="65" y="117"/>
                    <a:pt x="65" y="117"/>
                    <a:pt x="65" y="117"/>
                  </a:cubicBezTo>
                  <a:cubicBezTo>
                    <a:pt x="48" y="137"/>
                    <a:pt x="48" y="137"/>
                    <a:pt x="48" y="137"/>
                  </a:cubicBezTo>
                  <a:cubicBezTo>
                    <a:pt x="48" y="137"/>
                    <a:pt x="86" y="141"/>
                    <a:pt x="99" y="145"/>
                  </a:cubicBezTo>
                  <a:cubicBezTo>
                    <a:pt x="112" y="149"/>
                    <a:pt x="108" y="173"/>
                    <a:pt x="108" y="173"/>
                  </a:cubicBezTo>
                  <a:cubicBezTo>
                    <a:pt x="163" y="173"/>
                    <a:pt x="163" y="173"/>
                    <a:pt x="163" y="173"/>
                  </a:cubicBezTo>
                  <a:cubicBezTo>
                    <a:pt x="206" y="140"/>
                    <a:pt x="206" y="140"/>
                    <a:pt x="206" y="140"/>
                  </a:cubicBezTo>
                  <a:cubicBezTo>
                    <a:pt x="206" y="151"/>
                    <a:pt x="206" y="151"/>
                    <a:pt x="206" y="151"/>
                  </a:cubicBezTo>
                  <a:cubicBezTo>
                    <a:pt x="208" y="158"/>
                    <a:pt x="208" y="158"/>
                    <a:pt x="208" y="158"/>
                  </a:cubicBezTo>
                  <a:cubicBezTo>
                    <a:pt x="202" y="165"/>
                    <a:pt x="202" y="165"/>
                    <a:pt x="202" y="165"/>
                  </a:cubicBezTo>
                  <a:cubicBezTo>
                    <a:pt x="200" y="233"/>
                    <a:pt x="200" y="233"/>
                    <a:pt x="200" y="233"/>
                  </a:cubicBezTo>
                  <a:cubicBezTo>
                    <a:pt x="207" y="228"/>
                    <a:pt x="207" y="228"/>
                    <a:pt x="207" y="228"/>
                  </a:cubicBezTo>
                  <a:cubicBezTo>
                    <a:pt x="218" y="238"/>
                    <a:pt x="218" y="238"/>
                    <a:pt x="218" y="238"/>
                  </a:cubicBezTo>
                  <a:cubicBezTo>
                    <a:pt x="242" y="229"/>
                    <a:pt x="242" y="229"/>
                    <a:pt x="242" y="229"/>
                  </a:cubicBezTo>
                  <a:cubicBezTo>
                    <a:pt x="242" y="229"/>
                    <a:pt x="270" y="229"/>
                    <a:pt x="276" y="229"/>
                  </a:cubicBezTo>
                  <a:cubicBezTo>
                    <a:pt x="281" y="229"/>
                    <a:pt x="312" y="233"/>
                    <a:pt x="313" y="233"/>
                  </a:cubicBezTo>
                  <a:cubicBezTo>
                    <a:pt x="314" y="232"/>
                    <a:pt x="320" y="247"/>
                    <a:pt x="320" y="247"/>
                  </a:cubicBezTo>
                  <a:cubicBezTo>
                    <a:pt x="320" y="247"/>
                    <a:pt x="327" y="238"/>
                    <a:pt x="345" y="232"/>
                  </a:cubicBezTo>
                  <a:cubicBezTo>
                    <a:pt x="364" y="225"/>
                    <a:pt x="355" y="214"/>
                    <a:pt x="355" y="214"/>
                  </a:cubicBezTo>
                  <a:cubicBezTo>
                    <a:pt x="355" y="214"/>
                    <a:pt x="372" y="215"/>
                    <a:pt x="373" y="216"/>
                  </a:cubicBezTo>
                  <a:cubicBezTo>
                    <a:pt x="374" y="215"/>
                    <a:pt x="390" y="201"/>
                    <a:pt x="398" y="196"/>
                  </a:cubicBezTo>
                  <a:cubicBezTo>
                    <a:pt x="407" y="190"/>
                    <a:pt x="419" y="192"/>
                    <a:pt x="419" y="192"/>
                  </a:cubicBezTo>
                  <a:cubicBezTo>
                    <a:pt x="419" y="192"/>
                    <a:pt x="435" y="173"/>
                    <a:pt x="439" y="170"/>
                  </a:cubicBezTo>
                  <a:cubicBezTo>
                    <a:pt x="439" y="170"/>
                    <a:pt x="439" y="170"/>
                    <a:pt x="439" y="170"/>
                  </a:cubicBezTo>
                  <a:cubicBezTo>
                    <a:pt x="433" y="163"/>
                    <a:pt x="433" y="163"/>
                    <a:pt x="433" y="163"/>
                  </a:cubicBezTo>
                  <a:lnTo>
                    <a:pt x="364" y="133"/>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87" name="Freeform 319">
              <a:extLst>
                <a:ext uri="{FF2B5EF4-FFF2-40B4-BE49-F238E27FC236}">
                  <a16:creationId xmlns:a16="http://schemas.microsoft.com/office/drawing/2014/main" id="{4BC54D5C-2DE4-45DF-906D-3DD0F016705E}"/>
                </a:ext>
              </a:extLst>
            </p:cNvPr>
            <p:cNvSpPr>
              <a:spLocks noChangeAspect="1"/>
            </p:cNvSpPr>
            <p:nvPr/>
          </p:nvSpPr>
          <p:spPr bwMode="auto">
            <a:xfrm>
              <a:off x="10967" y="1795"/>
              <a:ext cx="858" cy="692"/>
            </a:xfrm>
            <a:custGeom>
              <a:avLst/>
              <a:gdLst/>
              <a:ahLst/>
              <a:cxnLst>
                <a:cxn ang="0">
                  <a:pos x="279" y="40"/>
                </a:cxn>
                <a:cxn ang="0">
                  <a:pos x="272" y="28"/>
                </a:cxn>
                <a:cxn ang="0">
                  <a:pos x="251" y="20"/>
                </a:cxn>
                <a:cxn ang="0">
                  <a:pos x="191" y="0"/>
                </a:cxn>
                <a:cxn ang="0">
                  <a:pos x="187" y="22"/>
                </a:cxn>
                <a:cxn ang="0">
                  <a:pos x="174" y="43"/>
                </a:cxn>
                <a:cxn ang="0">
                  <a:pos x="162" y="64"/>
                </a:cxn>
                <a:cxn ang="0">
                  <a:pos x="132" y="68"/>
                </a:cxn>
                <a:cxn ang="0">
                  <a:pos x="115" y="72"/>
                </a:cxn>
                <a:cxn ang="0">
                  <a:pos x="102" y="90"/>
                </a:cxn>
                <a:cxn ang="0">
                  <a:pos x="84" y="81"/>
                </a:cxn>
                <a:cxn ang="0">
                  <a:pos x="75" y="91"/>
                </a:cxn>
                <a:cxn ang="0">
                  <a:pos x="50" y="86"/>
                </a:cxn>
                <a:cxn ang="0">
                  <a:pos x="24" y="97"/>
                </a:cxn>
                <a:cxn ang="0">
                  <a:pos x="0" y="113"/>
                </a:cxn>
                <a:cxn ang="0">
                  <a:pos x="9" y="121"/>
                </a:cxn>
                <a:cxn ang="0">
                  <a:pos x="74" y="115"/>
                </a:cxn>
                <a:cxn ang="0">
                  <a:pos x="98" y="114"/>
                </a:cxn>
                <a:cxn ang="0">
                  <a:pos x="96" y="136"/>
                </a:cxn>
                <a:cxn ang="0">
                  <a:pos x="98" y="183"/>
                </a:cxn>
                <a:cxn ang="0">
                  <a:pos x="96" y="227"/>
                </a:cxn>
                <a:cxn ang="0">
                  <a:pos x="104" y="241"/>
                </a:cxn>
                <a:cxn ang="0">
                  <a:pos x="138" y="258"/>
                </a:cxn>
                <a:cxn ang="0">
                  <a:pos x="164" y="274"/>
                </a:cxn>
                <a:cxn ang="0">
                  <a:pos x="207" y="287"/>
                </a:cxn>
                <a:cxn ang="0">
                  <a:pos x="258" y="309"/>
                </a:cxn>
                <a:cxn ang="0">
                  <a:pos x="299" y="336"/>
                </a:cxn>
                <a:cxn ang="0">
                  <a:pos x="369" y="346"/>
                </a:cxn>
                <a:cxn ang="0">
                  <a:pos x="392" y="309"/>
                </a:cxn>
                <a:cxn ang="0">
                  <a:pos x="406" y="281"/>
                </a:cxn>
                <a:cxn ang="0">
                  <a:pos x="417" y="250"/>
                </a:cxn>
                <a:cxn ang="0">
                  <a:pos x="406" y="236"/>
                </a:cxn>
                <a:cxn ang="0">
                  <a:pos x="422" y="206"/>
                </a:cxn>
                <a:cxn ang="0">
                  <a:pos x="394" y="190"/>
                </a:cxn>
                <a:cxn ang="0">
                  <a:pos x="319" y="180"/>
                </a:cxn>
                <a:cxn ang="0">
                  <a:pos x="316" y="133"/>
                </a:cxn>
                <a:cxn ang="0">
                  <a:pos x="318" y="108"/>
                </a:cxn>
                <a:cxn ang="0">
                  <a:pos x="319" y="91"/>
                </a:cxn>
                <a:cxn ang="0">
                  <a:pos x="321" y="78"/>
                </a:cxn>
                <a:cxn ang="0">
                  <a:pos x="318" y="54"/>
                </a:cxn>
                <a:cxn ang="0">
                  <a:pos x="290" y="52"/>
                </a:cxn>
              </a:cxnLst>
              <a:rect l="0" t="0" r="r" b="b"/>
              <a:pathLst>
                <a:path w="429" h="346">
                  <a:moveTo>
                    <a:pt x="290" y="52"/>
                  </a:moveTo>
                  <a:cubicBezTo>
                    <a:pt x="284" y="50"/>
                    <a:pt x="279" y="40"/>
                    <a:pt x="279" y="40"/>
                  </a:cubicBezTo>
                  <a:cubicBezTo>
                    <a:pt x="273" y="42"/>
                    <a:pt x="273" y="42"/>
                    <a:pt x="273" y="42"/>
                  </a:cubicBezTo>
                  <a:cubicBezTo>
                    <a:pt x="272" y="28"/>
                    <a:pt x="272" y="28"/>
                    <a:pt x="272" y="28"/>
                  </a:cubicBezTo>
                  <a:cubicBezTo>
                    <a:pt x="261" y="28"/>
                    <a:pt x="261" y="28"/>
                    <a:pt x="261" y="28"/>
                  </a:cubicBezTo>
                  <a:cubicBezTo>
                    <a:pt x="261" y="28"/>
                    <a:pt x="257" y="21"/>
                    <a:pt x="251" y="20"/>
                  </a:cubicBezTo>
                  <a:cubicBezTo>
                    <a:pt x="245" y="20"/>
                    <a:pt x="240" y="2"/>
                    <a:pt x="240" y="2"/>
                  </a:cubicBezTo>
                  <a:cubicBezTo>
                    <a:pt x="191" y="0"/>
                    <a:pt x="191" y="0"/>
                    <a:pt x="191" y="0"/>
                  </a:cubicBezTo>
                  <a:cubicBezTo>
                    <a:pt x="192" y="9"/>
                    <a:pt x="192" y="9"/>
                    <a:pt x="192" y="9"/>
                  </a:cubicBezTo>
                  <a:cubicBezTo>
                    <a:pt x="192" y="9"/>
                    <a:pt x="187" y="20"/>
                    <a:pt x="187" y="22"/>
                  </a:cubicBezTo>
                  <a:cubicBezTo>
                    <a:pt x="186" y="23"/>
                    <a:pt x="172" y="22"/>
                    <a:pt x="172" y="24"/>
                  </a:cubicBezTo>
                  <a:cubicBezTo>
                    <a:pt x="172" y="27"/>
                    <a:pt x="172" y="36"/>
                    <a:pt x="174" y="43"/>
                  </a:cubicBezTo>
                  <a:cubicBezTo>
                    <a:pt x="175" y="50"/>
                    <a:pt x="162" y="49"/>
                    <a:pt x="162" y="49"/>
                  </a:cubicBezTo>
                  <a:cubicBezTo>
                    <a:pt x="162" y="64"/>
                    <a:pt x="162" y="64"/>
                    <a:pt x="162" y="64"/>
                  </a:cubicBezTo>
                  <a:cubicBezTo>
                    <a:pt x="153" y="60"/>
                    <a:pt x="153" y="60"/>
                    <a:pt x="153" y="60"/>
                  </a:cubicBezTo>
                  <a:cubicBezTo>
                    <a:pt x="132" y="68"/>
                    <a:pt x="132" y="68"/>
                    <a:pt x="132" y="68"/>
                  </a:cubicBezTo>
                  <a:cubicBezTo>
                    <a:pt x="126" y="60"/>
                    <a:pt x="126" y="60"/>
                    <a:pt x="126" y="60"/>
                  </a:cubicBezTo>
                  <a:cubicBezTo>
                    <a:pt x="115" y="72"/>
                    <a:pt x="115" y="72"/>
                    <a:pt x="115" y="72"/>
                  </a:cubicBezTo>
                  <a:cubicBezTo>
                    <a:pt x="116" y="79"/>
                    <a:pt x="116" y="79"/>
                    <a:pt x="116" y="79"/>
                  </a:cubicBezTo>
                  <a:cubicBezTo>
                    <a:pt x="102" y="90"/>
                    <a:pt x="102" y="90"/>
                    <a:pt x="102" y="90"/>
                  </a:cubicBezTo>
                  <a:cubicBezTo>
                    <a:pt x="98" y="79"/>
                    <a:pt x="98" y="79"/>
                    <a:pt x="98" y="79"/>
                  </a:cubicBezTo>
                  <a:cubicBezTo>
                    <a:pt x="84" y="81"/>
                    <a:pt x="84" y="81"/>
                    <a:pt x="84" y="81"/>
                  </a:cubicBezTo>
                  <a:cubicBezTo>
                    <a:pt x="85" y="95"/>
                    <a:pt x="85" y="95"/>
                    <a:pt x="85" y="95"/>
                  </a:cubicBezTo>
                  <a:cubicBezTo>
                    <a:pt x="85" y="95"/>
                    <a:pt x="84" y="92"/>
                    <a:pt x="75" y="91"/>
                  </a:cubicBezTo>
                  <a:cubicBezTo>
                    <a:pt x="66" y="89"/>
                    <a:pt x="62" y="98"/>
                    <a:pt x="60" y="99"/>
                  </a:cubicBezTo>
                  <a:cubicBezTo>
                    <a:pt x="59" y="100"/>
                    <a:pt x="50" y="86"/>
                    <a:pt x="50" y="86"/>
                  </a:cubicBezTo>
                  <a:cubicBezTo>
                    <a:pt x="24" y="88"/>
                    <a:pt x="24" y="88"/>
                    <a:pt x="24" y="88"/>
                  </a:cubicBezTo>
                  <a:cubicBezTo>
                    <a:pt x="24" y="97"/>
                    <a:pt x="24" y="97"/>
                    <a:pt x="24" y="97"/>
                  </a:cubicBezTo>
                  <a:cubicBezTo>
                    <a:pt x="24" y="97"/>
                    <a:pt x="12" y="106"/>
                    <a:pt x="6" y="109"/>
                  </a:cubicBezTo>
                  <a:cubicBezTo>
                    <a:pt x="4" y="110"/>
                    <a:pt x="2" y="111"/>
                    <a:pt x="0" y="113"/>
                  </a:cubicBezTo>
                  <a:cubicBezTo>
                    <a:pt x="3" y="114"/>
                    <a:pt x="3" y="114"/>
                    <a:pt x="3" y="114"/>
                  </a:cubicBezTo>
                  <a:cubicBezTo>
                    <a:pt x="9" y="121"/>
                    <a:pt x="9" y="121"/>
                    <a:pt x="9" y="121"/>
                  </a:cubicBezTo>
                  <a:cubicBezTo>
                    <a:pt x="14" y="118"/>
                    <a:pt x="41" y="115"/>
                    <a:pt x="41" y="115"/>
                  </a:cubicBezTo>
                  <a:cubicBezTo>
                    <a:pt x="41" y="115"/>
                    <a:pt x="65" y="112"/>
                    <a:pt x="74" y="115"/>
                  </a:cubicBezTo>
                  <a:cubicBezTo>
                    <a:pt x="83" y="117"/>
                    <a:pt x="84" y="104"/>
                    <a:pt x="84" y="104"/>
                  </a:cubicBezTo>
                  <a:cubicBezTo>
                    <a:pt x="98" y="114"/>
                    <a:pt x="98" y="114"/>
                    <a:pt x="98" y="114"/>
                  </a:cubicBezTo>
                  <a:cubicBezTo>
                    <a:pt x="88" y="126"/>
                    <a:pt x="88" y="126"/>
                    <a:pt x="88" y="126"/>
                  </a:cubicBezTo>
                  <a:cubicBezTo>
                    <a:pt x="88" y="126"/>
                    <a:pt x="96" y="131"/>
                    <a:pt x="96" y="136"/>
                  </a:cubicBezTo>
                  <a:cubicBezTo>
                    <a:pt x="96" y="141"/>
                    <a:pt x="87" y="142"/>
                    <a:pt x="86" y="153"/>
                  </a:cubicBezTo>
                  <a:cubicBezTo>
                    <a:pt x="84" y="164"/>
                    <a:pt x="98" y="183"/>
                    <a:pt x="98" y="183"/>
                  </a:cubicBezTo>
                  <a:cubicBezTo>
                    <a:pt x="98" y="183"/>
                    <a:pt x="89" y="192"/>
                    <a:pt x="87" y="199"/>
                  </a:cubicBezTo>
                  <a:cubicBezTo>
                    <a:pt x="84" y="207"/>
                    <a:pt x="96" y="227"/>
                    <a:pt x="96" y="227"/>
                  </a:cubicBezTo>
                  <a:cubicBezTo>
                    <a:pt x="103" y="228"/>
                    <a:pt x="103" y="228"/>
                    <a:pt x="103" y="228"/>
                  </a:cubicBezTo>
                  <a:cubicBezTo>
                    <a:pt x="104" y="241"/>
                    <a:pt x="104" y="241"/>
                    <a:pt x="104" y="241"/>
                  </a:cubicBezTo>
                  <a:cubicBezTo>
                    <a:pt x="125" y="257"/>
                    <a:pt x="125" y="257"/>
                    <a:pt x="125" y="257"/>
                  </a:cubicBezTo>
                  <a:cubicBezTo>
                    <a:pt x="138" y="258"/>
                    <a:pt x="138" y="258"/>
                    <a:pt x="138" y="258"/>
                  </a:cubicBezTo>
                  <a:cubicBezTo>
                    <a:pt x="140" y="266"/>
                    <a:pt x="140" y="266"/>
                    <a:pt x="140" y="266"/>
                  </a:cubicBezTo>
                  <a:cubicBezTo>
                    <a:pt x="140" y="266"/>
                    <a:pt x="157" y="274"/>
                    <a:pt x="164" y="274"/>
                  </a:cubicBezTo>
                  <a:cubicBezTo>
                    <a:pt x="170" y="275"/>
                    <a:pt x="177" y="271"/>
                    <a:pt x="189" y="271"/>
                  </a:cubicBezTo>
                  <a:cubicBezTo>
                    <a:pt x="201" y="271"/>
                    <a:pt x="207" y="287"/>
                    <a:pt x="207" y="287"/>
                  </a:cubicBezTo>
                  <a:cubicBezTo>
                    <a:pt x="227" y="287"/>
                    <a:pt x="227" y="287"/>
                    <a:pt x="227" y="287"/>
                  </a:cubicBezTo>
                  <a:cubicBezTo>
                    <a:pt x="227" y="287"/>
                    <a:pt x="248" y="307"/>
                    <a:pt x="258" y="309"/>
                  </a:cubicBezTo>
                  <a:cubicBezTo>
                    <a:pt x="267" y="311"/>
                    <a:pt x="282" y="313"/>
                    <a:pt x="283" y="313"/>
                  </a:cubicBezTo>
                  <a:cubicBezTo>
                    <a:pt x="284" y="313"/>
                    <a:pt x="299" y="336"/>
                    <a:pt x="299" y="336"/>
                  </a:cubicBezTo>
                  <a:cubicBezTo>
                    <a:pt x="356" y="337"/>
                    <a:pt x="356" y="337"/>
                    <a:pt x="356" y="337"/>
                  </a:cubicBezTo>
                  <a:cubicBezTo>
                    <a:pt x="356" y="337"/>
                    <a:pt x="362" y="341"/>
                    <a:pt x="369" y="346"/>
                  </a:cubicBezTo>
                  <a:cubicBezTo>
                    <a:pt x="378" y="340"/>
                    <a:pt x="389" y="333"/>
                    <a:pt x="389" y="332"/>
                  </a:cubicBezTo>
                  <a:cubicBezTo>
                    <a:pt x="389" y="331"/>
                    <a:pt x="392" y="309"/>
                    <a:pt x="392" y="309"/>
                  </a:cubicBezTo>
                  <a:cubicBezTo>
                    <a:pt x="406" y="299"/>
                    <a:pt x="406" y="299"/>
                    <a:pt x="406" y="299"/>
                  </a:cubicBezTo>
                  <a:cubicBezTo>
                    <a:pt x="406" y="281"/>
                    <a:pt x="406" y="281"/>
                    <a:pt x="406" y="281"/>
                  </a:cubicBezTo>
                  <a:cubicBezTo>
                    <a:pt x="429" y="266"/>
                    <a:pt x="429" y="266"/>
                    <a:pt x="429" y="266"/>
                  </a:cubicBezTo>
                  <a:cubicBezTo>
                    <a:pt x="417" y="250"/>
                    <a:pt x="417" y="250"/>
                    <a:pt x="417" y="250"/>
                  </a:cubicBezTo>
                  <a:cubicBezTo>
                    <a:pt x="417" y="239"/>
                    <a:pt x="417" y="239"/>
                    <a:pt x="417" y="239"/>
                  </a:cubicBezTo>
                  <a:cubicBezTo>
                    <a:pt x="406" y="236"/>
                    <a:pt x="406" y="236"/>
                    <a:pt x="406" y="236"/>
                  </a:cubicBezTo>
                  <a:cubicBezTo>
                    <a:pt x="404" y="218"/>
                    <a:pt x="404" y="218"/>
                    <a:pt x="404" y="218"/>
                  </a:cubicBezTo>
                  <a:cubicBezTo>
                    <a:pt x="422" y="206"/>
                    <a:pt x="422" y="206"/>
                    <a:pt x="422" y="206"/>
                  </a:cubicBezTo>
                  <a:cubicBezTo>
                    <a:pt x="409" y="187"/>
                    <a:pt x="409" y="187"/>
                    <a:pt x="409" y="187"/>
                  </a:cubicBezTo>
                  <a:cubicBezTo>
                    <a:pt x="394" y="190"/>
                    <a:pt x="394" y="190"/>
                    <a:pt x="394" y="190"/>
                  </a:cubicBezTo>
                  <a:cubicBezTo>
                    <a:pt x="384" y="183"/>
                    <a:pt x="384" y="183"/>
                    <a:pt x="384" y="183"/>
                  </a:cubicBezTo>
                  <a:cubicBezTo>
                    <a:pt x="319" y="180"/>
                    <a:pt x="319" y="180"/>
                    <a:pt x="319" y="180"/>
                  </a:cubicBezTo>
                  <a:cubicBezTo>
                    <a:pt x="319" y="180"/>
                    <a:pt x="326" y="158"/>
                    <a:pt x="325" y="155"/>
                  </a:cubicBezTo>
                  <a:cubicBezTo>
                    <a:pt x="324" y="151"/>
                    <a:pt x="316" y="140"/>
                    <a:pt x="316" y="133"/>
                  </a:cubicBezTo>
                  <a:cubicBezTo>
                    <a:pt x="316" y="127"/>
                    <a:pt x="326" y="118"/>
                    <a:pt x="326" y="118"/>
                  </a:cubicBezTo>
                  <a:cubicBezTo>
                    <a:pt x="318" y="108"/>
                    <a:pt x="318" y="108"/>
                    <a:pt x="318" y="108"/>
                  </a:cubicBezTo>
                  <a:cubicBezTo>
                    <a:pt x="325" y="99"/>
                    <a:pt x="325" y="99"/>
                    <a:pt x="325" y="99"/>
                  </a:cubicBezTo>
                  <a:cubicBezTo>
                    <a:pt x="319" y="91"/>
                    <a:pt x="319" y="91"/>
                    <a:pt x="319" y="91"/>
                  </a:cubicBezTo>
                  <a:cubicBezTo>
                    <a:pt x="317" y="83"/>
                    <a:pt x="317" y="83"/>
                    <a:pt x="317" y="83"/>
                  </a:cubicBezTo>
                  <a:cubicBezTo>
                    <a:pt x="321" y="78"/>
                    <a:pt x="321" y="78"/>
                    <a:pt x="321" y="78"/>
                  </a:cubicBezTo>
                  <a:cubicBezTo>
                    <a:pt x="317" y="54"/>
                    <a:pt x="317" y="54"/>
                    <a:pt x="317" y="54"/>
                  </a:cubicBezTo>
                  <a:cubicBezTo>
                    <a:pt x="318" y="54"/>
                    <a:pt x="318" y="54"/>
                    <a:pt x="318" y="54"/>
                  </a:cubicBezTo>
                  <a:cubicBezTo>
                    <a:pt x="312" y="50"/>
                    <a:pt x="308" y="47"/>
                    <a:pt x="308" y="47"/>
                  </a:cubicBezTo>
                  <a:cubicBezTo>
                    <a:pt x="308" y="47"/>
                    <a:pt x="297" y="55"/>
                    <a:pt x="290" y="52"/>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88" name="Freeform 320">
              <a:extLst>
                <a:ext uri="{FF2B5EF4-FFF2-40B4-BE49-F238E27FC236}">
                  <a16:creationId xmlns:a16="http://schemas.microsoft.com/office/drawing/2014/main" id="{85645C68-2D88-451E-B215-155CE81708C6}"/>
                </a:ext>
              </a:extLst>
            </p:cNvPr>
            <p:cNvSpPr>
              <a:spLocks noChangeAspect="1"/>
            </p:cNvSpPr>
            <p:nvPr/>
          </p:nvSpPr>
          <p:spPr bwMode="auto">
            <a:xfrm>
              <a:off x="10129" y="564"/>
              <a:ext cx="2141" cy="1459"/>
            </a:xfrm>
            <a:custGeom>
              <a:avLst/>
              <a:gdLst/>
              <a:ahLst/>
              <a:cxnLst>
                <a:cxn ang="0">
                  <a:pos x="953" y="493"/>
                </a:cxn>
                <a:cxn ang="0">
                  <a:pos x="1049" y="274"/>
                </a:cxn>
                <a:cxn ang="0">
                  <a:pos x="1060" y="257"/>
                </a:cxn>
                <a:cxn ang="0">
                  <a:pos x="1030" y="258"/>
                </a:cxn>
                <a:cxn ang="0">
                  <a:pos x="992" y="241"/>
                </a:cxn>
                <a:cxn ang="0">
                  <a:pos x="962" y="225"/>
                </a:cxn>
                <a:cxn ang="0">
                  <a:pos x="942" y="210"/>
                </a:cxn>
                <a:cxn ang="0">
                  <a:pos x="918" y="189"/>
                </a:cxn>
                <a:cxn ang="0">
                  <a:pos x="901" y="159"/>
                </a:cxn>
                <a:cxn ang="0">
                  <a:pos x="814" y="141"/>
                </a:cxn>
                <a:cxn ang="0">
                  <a:pos x="807" y="171"/>
                </a:cxn>
                <a:cxn ang="0">
                  <a:pos x="793" y="190"/>
                </a:cxn>
                <a:cxn ang="0">
                  <a:pos x="733" y="190"/>
                </a:cxn>
                <a:cxn ang="0">
                  <a:pos x="745" y="230"/>
                </a:cxn>
                <a:cxn ang="0">
                  <a:pos x="701" y="199"/>
                </a:cxn>
                <a:cxn ang="0">
                  <a:pos x="689" y="168"/>
                </a:cxn>
                <a:cxn ang="0">
                  <a:pos x="678" y="99"/>
                </a:cxn>
                <a:cxn ang="0">
                  <a:pos x="673" y="53"/>
                </a:cxn>
                <a:cxn ang="0">
                  <a:pos x="647" y="12"/>
                </a:cxn>
                <a:cxn ang="0">
                  <a:pos x="611" y="16"/>
                </a:cxn>
                <a:cxn ang="0">
                  <a:pos x="571" y="52"/>
                </a:cxn>
                <a:cxn ang="0">
                  <a:pos x="532" y="66"/>
                </a:cxn>
                <a:cxn ang="0">
                  <a:pos x="500" y="81"/>
                </a:cxn>
                <a:cxn ang="0">
                  <a:pos x="420" y="65"/>
                </a:cxn>
                <a:cxn ang="0">
                  <a:pos x="387" y="14"/>
                </a:cxn>
                <a:cxn ang="0">
                  <a:pos x="362" y="11"/>
                </a:cxn>
                <a:cxn ang="0">
                  <a:pos x="339" y="33"/>
                </a:cxn>
                <a:cxn ang="0">
                  <a:pos x="238" y="30"/>
                </a:cxn>
                <a:cxn ang="0">
                  <a:pos x="279" y="94"/>
                </a:cxn>
                <a:cxn ang="0">
                  <a:pos x="243" y="100"/>
                </a:cxn>
                <a:cxn ang="0">
                  <a:pos x="224" y="147"/>
                </a:cxn>
                <a:cxn ang="0">
                  <a:pos x="260" y="193"/>
                </a:cxn>
                <a:cxn ang="0">
                  <a:pos x="213" y="397"/>
                </a:cxn>
                <a:cxn ang="0">
                  <a:pos x="155" y="397"/>
                </a:cxn>
                <a:cxn ang="0">
                  <a:pos x="102" y="420"/>
                </a:cxn>
                <a:cxn ang="0">
                  <a:pos x="56" y="445"/>
                </a:cxn>
                <a:cxn ang="0">
                  <a:pos x="29" y="501"/>
                </a:cxn>
                <a:cxn ang="0">
                  <a:pos x="22" y="536"/>
                </a:cxn>
                <a:cxn ang="0">
                  <a:pos x="75" y="597"/>
                </a:cxn>
                <a:cxn ang="0">
                  <a:pos x="341" y="700"/>
                </a:cxn>
                <a:cxn ang="0">
                  <a:pos x="424" y="724"/>
                </a:cxn>
                <a:cxn ang="0">
                  <a:pos x="468" y="701"/>
                </a:cxn>
                <a:cxn ang="0">
                  <a:pos x="503" y="710"/>
                </a:cxn>
                <a:cxn ang="0">
                  <a:pos x="520" y="705"/>
                </a:cxn>
                <a:cxn ang="0">
                  <a:pos x="544" y="675"/>
                </a:cxn>
                <a:cxn ang="0">
                  <a:pos x="580" y="679"/>
                </a:cxn>
                <a:cxn ang="0">
                  <a:pos x="590" y="639"/>
                </a:cxn>
                <a:cxn ang="0">
                  <a:pos x="609" y="615"/>
                </a:cxn>
                <a:cxn ang="0">
                  <a:pos x="679" y="643"/>
                </a:cxn>
                <a:cxn ang="0">
                  <a:pos x="697" y="655"/>
                </a:cxn>
                <a:cxn ang="0">
                  <a:pos x="736" y="669"/>
                </a:cxn>
                <a:cxn ang="0">
                  <a:pos x="926" y="651"/>
                </a:cxn>
                <a:cxn ang="0">
                  <a:pos x="942" y="600"/>
                </a:cxn>
                <a:cxn ang="0">
                  <a:pos x="943" y="575"/>
                </a:cxn>
              </a:cxnLst>
              <a:rect l="0" t="0" r="r" b="b"/>
              <a:pathLst>
                <a:path w="1069" h="728">
                  <a:moveTo>
                    <a:pt x="922" y="540"/>
                  </a:moveTo>
                  <a:cubicBezTo>
                    <a:pt x="922" y="528"/>
                    <a:pt x="930" y="530"/>
                    <a:pt x="937" y="526"/>
                  </a:cubicBezTo>
                  <a:cubicBezTo>
                    <a:pt x="943" y="522"/>
                    <a:pt x="948" y="501"/>
                    <a:pt x="953" y="493"/>
                  </a:cubicBezTo>
                  <a:cubicBezTo>
                    <a:pt x="958" y="485"/>
                    <a:pt x="999" y="386"/>
                    <a:pt x="1005" y="373"/>
                  </a:cubicBezTo>
                  <a:cubicBezTo>
                    <a:pt x="1011" y="361"/>
                    <a:pt x="1044" y="288"/>
                    <a:pt x="1044" y="288"/>
                  </a:cubicBezTo>
                  <a:cubicBezTo>
                    <a:pt x="1049" y="274"/>
                    <a:pt x="1049" y="274"/>
                    <a:pt x="1049" y="274"/>
                  </a:cubicBezTo>
                  <a:cubicBezTo>
                    <a:pt x="1055" y="274"/>
                    <a:pt x="1055" y="274"/>
                    <a:pt x="1055" y="274"/>
                  </a:cubicBezTo>
                  <a:cubicBezTo>
                    <a:pt x="1069" y="257"/>
                    <a:pt x="1069" y="257"/>
                    <a:pt x="1069" y="257"/>
                  </a:cubicBezTo>
                  <a:cubicBezTo>
                    <a:pt x="1060" y="257"/>
                    <a:pt x="1060" y="257"/>
                    <a:pt x="1060" y="257"/>
                  </a:cubicBezTo>
                  <a:cubicBezTo>
                    <a:pt x="1056" y="264"/>
                    <a:pt x="1056" y="264"/>
                    <a:pt x="1056" y="264"/>
                  </a:cubicBezTo>
                  <a:cubicBezTo>
                    <a:pt x="1056" y="264"/>
                    <a:pt x="1041" y="270"/>
                    <a:pt x="1029" y="270"/>
                  </a:cubicBezTo>
                  <a:cubicBezTo>
                    <a:pt x="1018" y="270"/>
                    <a:pt x="1030" y="258"/>
                    <a:pt x="1030" y="258"/>
                  </a:cubicBezTo>
                  <a:cubicBezTo>
                    <a:pt x="1012" y="253"/>
                    <a:pt x="1012" y="253"/>
                    <a:pt x="1012" y="253"/>
                  </a:cubicBezTo>
                  <a:cubicBezTo>
                    <a:pt x="1002" y="236"/>
                    <a:pt x="1002" y="236"/>
                    <a:pt x="1002" y="236"/>
                  </a:cubicBezTo>
                  <a:cubicBezTo>
                    <a:pt x="992" y="241"/>
                    <a:pt x="992" y="241"/>
                    <a:pt x="992" y="241"/>
                  </a:cubicBezTo>
                  <a:cubicBezTo>
                    <a:pt x="982" y="235"/>
                    <a:pt x="982" y="235"/>
                    <a:pt x="982" y="235"/>
                  </a:cubicBezTo>
                  <a:cubicBezTo>
                    <a:pt x="977" y="228"/>
                    <a:pt x="977" y="228"/>
                    <a:pt x="977" y="228"/>
                  </a:cubicBezTo>
                  <a:cubicBezTo>
                    <a:pt x="962" y="225"/>
                    <a:pt x="962" y="225"/>
                    <a:pt x="962" y="225"/>
                  </a:cubicBezTo>
                  <a:cubicBezTo>
                    <a:pt x="949" y="218"/>
                    <a:pt x="949" y="218"/>
                    <a:pt x="949" y="218"/>
                  </a:cubicBezTo>
                  <a:cubicBezTo>
                    <a:pt x="949" y="218"/>
                    <a:pt x="953" y="215"/>
                    <a:pt x="954" y="206"/>
                  </a:cubicBezTo>
                  <a:cubicBezTo>
                    <a:pt x="955" y="197"/>
                    <a:pt x="942" y="210"/>
                    <a:pt x="942" y="210"/>
                  </a:cubicBezTo>
                  <a:cubicBezTo>
                    <a:pt x="926" y="202"/>
                    <a:pt x="926" y="202"/>
                    <a:pt x="926" y="202"/>
                  </a:cubicBezTo>
                  <a:cubicBezTo>
                    <a:pt x="927" y="186"/>
                    <a:pt x="927" y="186"/>
                    <a:pt x="927" y="186"/>
                  </a:cubicBezTo>
                  <a:cubicBezTo>
                    <a:pt x="918" y="189"/>
                    <a:pt x="918" y="189"/>
                    <a:pt x="918" y="189"/>
                  </a:cubicBezTo>
                  <a:cubicBezTo>
                    <a:pt x="908" y="177"/>
                    <a:pt x="908" y="177"/>
                    <a:pt x="908" y="177"/>
                  </a:cubicBezTo>
                  <a:cubicBezTo>
                    <a:pt x="907" y="159"/>
                    <a:pt x="907" y="159"/>
                    <a:pt x="907" y="159"/>
                  </a:cubicBezTo>
                  <a:cubicBezTo>
                    <a:pt x="901" y="159"/>
                    <a:pt x="901" y="159"/>
                    <a:pt x="901" y="159"/>
                  </a:cubicBezTo>
                  <a:cubicBezTo>
                    <a:pt x="897" y="121"/>
                    <a:pt x="897" y="121"/>
                    <a:pt x="897" y="121"/>
                  </a:cubicBezTo>
                  <a:cubicBezTo>
                    <a:pt x="826" y="122"/>
                    <a:pt x="826" y="122"/>
                    <a:pt x="826" y="122"/>
                  </a:cubicBezTo>
                  <a:cubicBezTo>
                    <a:pt x="826" y="122"/>
                    <a:pt x="818" y="139"/>
                    <a:pt x="814" y="141"/>
                  </a:cubicBezTo>
                  <a:cubicBezTo>
                    <a:pt x="811" y="144"/>
                    <a:pt x="814" y="155"/>
                    <a:pt x="814" y="155"/>
                  </a:cubicBezTo>
                  <a:cubicBezTo>
                    <a:pt x="814" y="155"/>
                    <a:pt x="807" y="158"/>
                    <a:pt x="807" y="160"/>
                  </a:cubicBezTo>
                  <a:cubicBezTo>
                    <a:pt x="806" y="161"/>
                    <a:pt x="807" y="171"/>
                    <a:pt x="807" y="171"/>
                  </a:cubicBezTo>
                  <a:cubicBezTo>
                    <a:pt x="807" y="171"/>
                    <a:pt x="816" y="173"/>
                    <a:pt x="816" y="179"/>
                  </a:cubicBezTo>
                  <a:cubicBezTo>
                    <a:pt x="817" y="185"/>
                    <a:pt x="800" y="182"/>
                    <a:pt x="800" y="182"/>
                  </a:cubicBezTo>
                  <a:cubicBezTo>
                    <a:pt x="793" y="190"/>
                    <a:pt x="793" y="190"/>
                    <a:pt x="793" y="190"/>
                  </a:cubicBezTo>
                  <a:cubicBezTo>
                    <a:pt x="758" y="164"/>
                    <a:pt x="758" y="164"/>
                    <a:pt x="758" y="164"/>
                  </a:cubicBezTo>
                  <a:cubicBezTo>
                    <a:pt x="741" y="178"/>
                    <a:pt x="741" y="178"/>
                    <a:pt x="741" y="178"/>
                  </a:cubicBezTo>
                  <a:cubicBezTo>
                    <a:pt x="733" y="190"/>
                    <a:pt x="733" y="190"/>
                    <a:pt x="733" y="190"/>
                  </a:cubicBezTo>
                  <a:cubicBezTo>
                    <a:pt x="735" y="201"/>
                    <a:pt x="735" y="201"/>
                    <a:pt x="735" y="201"/>
                  </a:cubicBezTo>
                  <a:cubicBezTo>
                    <a:pt x="735" y="201"/>
                    <a:pt x="734" y="212"/>
                    <a:pt x="734" y="217"/>
                  </a:cubicBezTo>
                  <a:cubicBezTo>
                    <a:pt x="734" y="221"/>
                    <a:pt x="745" y="230"/>
                    <a:pt x="745" y="230"/>
                  </a:cubicBezTo>
                  <a:cubicBezTo>
                    <a:pt x="737" y="230"/>
                    <a:pt x="737" y="230"/>
                    <a:pt x="737" y="230"/>
                  </a:cubicBezTo>
                  <a:cubicBezTo>
                    <a:pt x="718" y="222"/>
                    <a:pt x="718" y="222"/>
                    <a:pt x="718" y="222"/>
                  </a:cubicBezTo>
                  <a:cubicBezTo>
                    <a:pt x="718" y="222"/>
                    <a:pt x="710" y="212"/>
                    <a:pt x="701" y="199"/>
                  </a:cubicBezTo>
                  <a:cubicBezTo>
                    <a:pt x="692" y="186"/>
                    <a:pt x="679" y="178"/>
                    <a:pt x="679" y="178"/>
                  </a:cubicBezTo>
                  <a:cubicBezTo>
                    <a:pt x="679" y="178"/>
                    <a:pt x="690" y="179"/>
                    <a:pt x="693" y="178"/>
                  </a:cubicBezTo>
                  <a:cubicBezTo>
                    <a:pt x="696" y="176"/>
                    <a:pt x="689" y="168"/>
                    <a:pt x="689" y="168"/>
                  </a:cubicBezTo>
                  <a:cubicBezTo>
                    <a:pt x="698" y="155"/>
                    <a:pt x="698" y="155"/>
                    <a:pt x="698" y="155"/>
                  </a:cubicBezTo>
                  <a:cubicBezTo>
                    <a:pt x="689" y="137"/>
                    <a:pt x="689" y="137"/>
                    <a:pt x="689" y="137"/>
                  </a:cubicBezTo>
                  <a:cubicBezTo>
                    <a:pt x="689" y="137"/>
                    <a:pt x="679" y="115"/>
                    <a:pt x="678" y="99"/>
                  </a:cubicBezTo>
                  <a:cubicBezTo>
                    <a:pt x="676" y="83"/>
                    <a:pt x="684" y="86"/>
                    <a:pt x="684" y="86"/>
                  </a:cubicBezTo>
                  <a:cubicBezTo>
                    <a:pt x="680" y="71"/>
                    <a:pt x="680" y="71"/>
                    <a:pt x="680" y="71"/>
                  </a:cubicBezTo>
                  <a:cubicBezTo>
                    <a:pt x="673" y="53"/>
                    <a:pt x="673" y="53"/>
                    <a:pt x="673" y="53"/>
                  </a:cubicBezTo>
                  <a:cubicBezTo>
                    <a:pt x="662" y="40"/>
                    <a:pt x="662" y="40"/>
                    <a:pt x="662" y="40"/>
                  </a:cubicBezTo>
                  <a:cubicBezTo>
                    <a:pt x="670" y="17"/>
                    <a:pt x="670" y="17"/>
                    <a:pt x="670" y="17"/>
                  </a:cubicBezTo>
                  <a:cubicBezTo>
                    <a:pt x="647" y="12"/>
                    <a:pt x="647" y="12"/>
                    <a:pt x="647" y="12"/>
                  </a:cubicBezTo>
                  <a:cubicBezTo>
                    <a:pt x="626" y="3"/>
                    <a:pt x="626" y="3"/>
                    <a:pt x="626" y="3"/>
                  </a:cubicBezTo>
                  <a:cubicBezTo>
                    <a:pt x="612" y="8"/>
                    <a:pt x="612" y="8"/>
                    <a:pt x="612" y="8"/>
                  </a:cubicBezTo>
                  <a:cubicBezTo>
                    <a:pt x="612" y="8"/>
                    <a:pt x="612" y="15"/>
                    <a:pt x="611" y="16"/>
                  </a:cubicBezTo>
                  <a:cubicBezTo>
                    <a:pt x="611" y="18"/>
                    <a:pt x="588" y="15"/>
                    <a:pt x="588" y="15"/>
                  </a:cubicBezTo>
                  <a:cubicBezTo>
                    <a:pt x="588" y="15"/>
                    <a:pt x="588" y="36"/>
                    <a:pt x="588" y="37"/>
                  </a:cubicBezTo>
                  <a:cubicBezTo>
                    <a:pt x="588" y="38"/>
                    <a:pt x="571" y="52"/>
                    <a:pt x="571" y="52"/>
                  </a:cubicBezTo>
                  <a:cubicBezTo>
                    <a:pt x="566" y="43"/>
                    <a:pt x="566" y="43"/>
                    <a:pt x="566" y="43"/>
                  </a:cubicBezTo>
                  <a:cubicBezTo>
                    <a:pt x="566" y="43"/>
                    <a:pt x="549" y="62"/>
                    <a:pt x="546" y="65"/>
                  </a:cubicBezTo>
                  <a:cubicBezTo>
                    <a:pt x="543" y="67"/>
                    <a:pt x="533" y="65"/>
                    <a:pt x="532" y="66"/>
                  </a:cubicBezTo>
                  <a:cubicBezTo>
                    <a:pt x="532" y="68"/>
                    <a:pt x="520" y="67"/>
                    <a:pt x="520" y="67"/>
                  </a:cubicBezTo>
                  <a:cubicBezTo>
                    <a:pt x="520" y="67"/>
                    <a:pt x="504" y="95"/>
                    <a:pt x="495" y="95"/>
                  </a:cubicBezTo>
                  <a:cubicBezTo>
                    <a:pt x="486" y="95"/>
                    <a:pt x="500" y="81"/>
                    <a:pt x="500" y="81"/>
                  </a:cubicBezTo>
                  <a:cubicBezTo>
                    <a:pt x="492" y="71"/>
                    <a:pt x="492" y="71"/>
                    <a:pt x="492" y="71"/>
                  </a:cubicBezTo>
                  <a:cubicBezTo>
                    <a:pt x="492" y="71"/>
                    <a:pt x="469" y="89"/>
                    <a:pt x="456" y="89"/>
                  </a:cubicBezTo>
                  <a:cubicBezTo>
                    <a:pt x="443" y="90"/>
                    <a:pt x="420" y="65"/>
                    <a:pt x="420" y="65"/>
                  </a:cubicBezTo>
                  <a:cubicBezTo>
                    <a:pt x="400" y="63"/>
                    <a:pt x="400" y="63"/>
                    <a:pt x="400" y="63"/>
                  </a:cubicBezTo>
                  <a:cubicBezTo>
                    <a:pt x="400" y="63"/>
                    <a:pt x="408" y="49"/>
                    <a:pt x="408" y="43"/>
                  </a:cubicBezTo>
                  <a:cubicBezTo>
                    <a:pt x="409" y="37"/>
                    <a:pt x="387" y="14"/>
                    <a:pt x="387" y="14"/>
                  </a:cubicBezTo>
                  <a:cubicBezTo>
                    <a:pt x="382" y="0"/>
                    <a:pt x="382" y="0"/>
                    <a:pt x="382" y="0"/>
                  </a:cubicBezTo>
                  <a:cubicBezTo>
                    <a:pt x="382" y="0"/>
                    <a:pt x="370" y="14"/>
                    <a:pt x="370" y="15"/>
                  </a:cubicBezTo>
                  <a:cubicBezTo>
                    <a:pt x="370" y="15"/>
                    <a:pt x="362" y="11"/>
                    <a:pt x="362" y="11"/>
                  </a:cubicBezTo>
                  <a:cubicBezTo>
                    <a:pt x="352" y="26"/>
                    <a:pt x="352" y="26"/>
                    <a:pt x="352" y="26"/>
                  </a:cubicBezTo>
                  <a:cubicBezTo>
                    <a:pt x="352" y="26"/>
                    <a:pt x="336" y="15"/>
                    <a:pt x="334" y="18"/>
                  </a:cubicBezTo>
                  <a:cubicBezTo>
                    <a:pt x="331" y="20"/>
                    <a:pt x="339" y="33"/>
                    <a:pt x="339" y="33"/>
                  </a:cubicBezTo>
                  <a:cubicBezTo>
                    <a:pt x="272" y="31"/>
                    <a:pt x="272" y="31"/>
                    <a:pt x="272" y="31"/>
                  </a:cubicBezTo>
                  <a:cubicBezTo>
                    <a:pt x="272" y="31"/>
                    <a:pt x="265" y="29"/>
                    <a:pt x="258" y="27"/>
                  </a:cubicBezTo>
                  <a:cubicBezTo>
                    <a:pt x="251" y="25"/>
                    <a:pt x="238" y="30"/>
                    <a:pt x="238" y="30"/>
                  </a:cubicBezTo>
                  <a:cubicBezTo>
                    <a:pt x="240" y="67"/>
                    <a:pt x="240" y="67"/>
                    <a:pt x="240" y="67"/>
                  </a:cubicBezTo>
                  <a:cubicBezTo>
                    <a:pt x="240" y="67"/>
                    <a:pt x="264" y="67"/>
                    <a:pt x="273" y="71"/>
                  </a:cubicBezTo>
                  <a:cubicBezTo>
                    <a:pt x="282" y="74"/>
                    <a:pt x="279" y="94"/>
                    <a:pt x="279" y="94"/>
                  </a:cubicBezTo>
                  <a:cubicBezTo>
                    <a:pt x="272" y="102"/>
                    <a:pt x="272" y="102"/>
                    <a:pt x="272" y="102"/>
                  </a:cubicBezTo>
                  <a:cubicBezTo>
                    <a:pt x="257" y="91"/>
                    <a:pt x="257" y="91"/>
                    <a:pt x="257" y="91"/>
                  </a:cubicBezTo>
                  <a:cubicBezTo>
                    <a:pt x="257" y="91"/>
                    <a:pt x="243" y="99"/>
                    <a:pt x="243" y="100"/>
                  </a:cubicBezTo>
                  <a:cubicBezTo>
                    <a:pt x="243" y="100"/>
                    <a:pt x="230" y="102"/>
                    <a:pt x="230" y="102"/>
                  </a:cubicBezTo>
                  <a:cubicBezTo>
                    <a:pt x="230" y="102"/>
                    <a:pt x="226" y="109"/>
                    <a:pt x="222" y="117"/>
                  </a:cubicBezTo>
                  <a:cubicBezTo>
                    <a:pt x="217" y="125"/>
                    <a:pt x="224" y="144"/>
                    <a:pt x="224" y="147"/>
                  </a:cubicBezTo>
                  <a:cubicBezTo>
                    <a:pt x="224" y="149"/>
                    <a:pt x="249" y="166"/>
                    <a:pt x="251" y="166"/>
                  </a:cubicBezTo>
                  <a:cubicBezTo>
                    <a:pt x="254" y="167"/>
                    <a:pt x="252" y="178"/>
                    <a:pt x="252" y="180"/>
                  </a:cubicBezTo>
                  <a:cubicBezTo>
                    <a:pt x="252" y="181"/>
                    <a:pt x="257" y="192"/>
                    <a:pt x="260" y="193"/>
                  </a:cubicBezTo>
                  <a:cubicBezTo>
                    <a:pt x="262" y="194"/>
                    <a:pt x="259" y="237"/>
                    <a:pt x="259" y="237"/>
                  </a:cubicBezTo>
                  <a:cubicBezTo>
                    <a:pt x="226" y="399"/>
                    <a:pt x="226" y="399"/>
                    <a:pt x="226" y="399"/>
                  </a:cubicBezTo>
                  <a:cubicBezTo>
                    <a:pt x="213" y="397"/>
                    <a:pt x="213" y="397"/>
                    <a:pt x="213" y="397"/>
                  </a:cubicBezTo>
                  <a:cubicBezTo>
                    <a:pt x="213" y="397"/>
                    <a:pt x="208" y="387"/>
                    <a:pt x="193" y="387"/>
                  </a:cubicBezTo>
                  <a:cubicBezTo>
                    <a:pt x="177" y="388"/>
                    <a:pt x="163" y="403"/>
                    <a:pt x="163" y="403"/>
                  </a:cubicBezTo>
                  <a:cubicBezTo>
                    <a:pt x="163" y="403"/>
                    <a:pt x="157" y="399"/>
                    <a:pt x="155" y="397"/>
                  </a:cubicBezTo>
                  <a:cubicBezTo>
                    <a:pt x="152" y="396"/>
                    <a:pt x="132" y="408"/>
                    <a:pt x="132" y="408"/>
                  </a:cubicBezTo>
                  <a:cubicBezTo>
                    <a:pt x="132" y="408"/>
                    <a:pt x="120" y="407"/>
                    <a:pt x="112" y="410"/>
                  </a:cubicBezTo>
                  <a:cubicBezTo>
                    <a:pt x="104" y="413"/>
                    <a:pt x="102" y="420"/>
                    <a:pt x="102" y="420"/>
                  </a:cubicBezTo>
                  <a:cubicBezTo>
                    <a:pt x="102" y="420"/>
                    <a:pt x="102" y="420"/>
                    <a:pt x="93" y="420"/>
                  </a:cubicBezTo>
                  <a:cubicBezTo>
                    <a:pt x="84" y="420"/>
                    <a:pt x="83" y="430"/>
                    <a:pt x="82" y="430"/>
                  </a:cubicBezTo>
                  <a:cubicBezTo>
                    <a:pt x="82" y="431"/>
                    <a:pt x="56" y="445"/>
                    <a:pt x="56" y="445"/>
                  </a:cubicBezTo>
                  <a:cubicBezTo>
                    <a:pt x="56" y="445"/>
                    <a:pt x="59" y="452"/>
                    <a:pt x="52" y="459"/>
                  </a:cubicBezTo>
                  <a:cubicBezTo>
                    <a:pt x="45" y="467"/>
                    <a:pt x="44" y="483"/>
                    <a:pt x="44" y="483"/>
                  </a:cubicBezTo>
                  <a:cubicBezTo>
                    <a:pt x="44" y="483"/>
                    <a:pt x="29" y="500"/>
                    <a:pt x="29" y="501"/>
                  </a:cubicBezTo>
                  <a:cubicBezTo>
                    <a:pt x="29" y="501"/>
                    <a:pt x="34" y="511"/>
                    <a:pt x="34" y="511"/>
                  </a:cubicBezTo>
                  <a:cubicBezTo>
                    <a:pt x="34" y="511"/>
                    <a:pt x="40" y="518"/>
                    <a:pt x="39" y="528"/>
                  </a:cubicBezTo>
                  <a:cubicBezTo>
                    <a:pt x="37" y="537"/>
                    <a:pt x="22" y="535"/>
                    <a:pt x="22" y="536"/>
                  </a:cubicBezTo>
                  <a:cubicBezTo>
                    <a:pt x="22" y="537"/>
                    <a:pt x="4" y="550"/>
                    <a:pt x="1" y="555"/>
                  </a:cubicBezTo>
                  <a:cubicBezTo>
                    <a:pt x="0" y="558"/>
                    <a:pt x="0" y="562"/>
                    <a:pt x="1" y="566"/>
                  </a:cubicBezTo>
                  <a:cubicBezTo>
                    <a:pt x="20" y="575"/>
                    <a:pt x="62" y="595"/>
                    <a:pt x="75" y="597"/>
                  </a:cubicBezTo>
                  <a:cubicBezTo>
                    <a:pt x="92" y="600"/>
                    <a:pt x="204" y="624"/>
                    <a:pt x="204" y="624"/>
                  </a:cubicBezTo>
                  <a:cubicBezTo>
                    <a:pt x="204" y="624"/>
                    <a:pt x="268" y="660"/>
                    <a:pt x="284" y="667"/>
                  </a:cubicBezTo>
                  <a:cubicBezTo>
                    <a:pt x="300" y="674"/>
                    <a:pt x="340" y="700"/>
                    <a:pt x="341" y="700"/>
                  </a:cubicBezTo>
                  <a:cubicBezTo>
                    <a:pt x="343" y="700"/>
                    <a:pt x="352" y="699"/>
                    <a:pt x="352" y="699"/>
                  </a:cubicBezTo>
                  <a:cubicBezTo>
                    <a:pt x="418" y="728"/>
                    <a:pt x="418" y="728"/>
                    <a:pt x="418" y="728"/>
                  </a:cubicBezTo>
                  <a:cubicBezTo>
                    <a:pt x="420" y="726"/>
                    <a:pt x="422" y="725"/>
                    <a:pt x="424" y="724"/>
                  </a:cubicBezTo>
                  <a:cubicBezTo>
                    <a:pt x="430" y="721"/>
                    <a:pt x="442" y="712"/>
                    <a:pt x="442" y="712"/>
                  </a:cubicBezTo>
                  <a:cubicBezTo>
                    <a:pt x="442" y="703"/>
                    <a:pt x="442" y="703"/>
                    <a:pt x="442" y="703"/>
                  </a:cubicBezTo>
                  <a:cubicBezTo>
                    <a:pt x="468" y="701"/>
                    <a:pt x="468" y="701"/>
                    <a:pt x="468" y="701"/>
                  </a:cubicBezTo>
                  <a:cubicBezTo>
                    <a:pt x="468" y="701"/>
                    <a:pt x="477" y="715"/>
                    <a:pt x="478" y="714"/>
                  </a:cubicBezTo>
                  <a:cubicBezTo>
                    <a:pt x="480" y="713"/>
                    <a:pt x="484" y="704"/>
                    <a:pt x="493" y="706"/>
                  </a:cubicBezTo>
                  <a:cubicBezTo>
                    <a:pt x="502" y="707"/>
                    <a:pt x="503" y="710"/>
                    <a:pt x="503" y="710"/>
                  </a:cubicBezTo>
                  <a:cubicBezTo>
                    <a:pt x="502" y="696"/>
                    <a:pt x="502" y="696"/>
                    <a:pt x="502" y="696"/>
                  </a:cubicBezTo>
                  <a:cubicBezTo>
                    <a:pt x="516" y="694"/>
                    <a:pt x="516" y="694"/>
                    <a:pt x="516" y="694"/>
                  </a:cubicBezTo>
                  <a:cubicBezTo>
                    <a:pt x="520" y="705"/>
                    <a:pt x="520" y="705"/>
                    <a:pt x="520" y="705"/>
                  </a:cubicBezTo>
                  <a:cubicBezTo>
                    <a:pt x="534" y="694"/>
                    <a:pt x="534" y="694"/>
                    <a:pt x="534" y="694"/>
                  </a:cubicBezTo>
                  <a:cubicBezTo>
                    <a:pt x="533" y="687"/>
                    <a:pt x="533" y="687"/>
                    <a:pt x="533" y="687"/>
                  </a:cubicBezTo>
                  <a:cubicBezTo>
                    <a:pt x="544" y="675"/>
                    <a:pt x="544" y="675"/>
                    <a:pt x="544" y="675"/>
                  </a:cubicBezTo>
                  <a:cubicBezTo>
                    <a:pt x="550" y="683"/>
                    <a:pt x="550" y="683"/>
                    <a:pt x="550" y="683"/>
                  </a:cubicBezTo>
                  <a:cubicBezTo>
                    <a:pt x="571" y="675"/>
                    <a:pt x="571" y="675"/>
                    <a:pt x="571" y="675"/>
                  </a:cubicBezTo>
                  <a:cubicBezTo>
                    <a:pt x="580" y="679"/>
                    <a:pt x="580" y="679"/>
                    <a:pt x="580" y="679"/>
                  </a:cubicBezTo>
                  <a:cubicBezTo>
                    <a:pt x="580" y="664"/>
                    <a:pt x="580" y="664"/>
                    <a:pt x="580" y="664"/>
                  </a:cubicBezTo>
                  <a:cubicBezTo>
                    <a:pt x="580" y="664"/>
                    <a:pt x="593" y="665"/>
                    <a:pt x="592" y="658"/>
                  </a:cubicBezTo>
                  <a:cubicBezTo>
                    <a:pt x="590" y="651"/>
                    <a:pt x="590" y="642"/>
                    <a:pt x="590" y="639"/>
                  </a:cubicBezTo>
                  <a:cubicBezTo>
                    <a:pt x="590" y="637"/>
                    <a:pt x="604" y="638"/>
                    <a:pt x="605" y="637"/>
                  </a:cubicBezTo>
                  <a:cubicBezTo>
                    <a:pt x="605" y="635"/>
                    <a:pt x="610" y="624"/>
                    <a:pt x="610" y="624"/>
                  </a:cubicBezTo>
                  <a:cubicBezTo>
                    <a:pt x="609" y="615"/>
                    <a:pt x="609" y="615"/>
                    <a:pt x="609" y="615"/>
                  </a:cubicBezTo>
                  <a:cubicBezTo>
                    <a:pt x="658" y="617"/>
                    <a:pt x="658" y="617"/>
                    <a:pt x="658" y="617"/>
                  </a:cubicBezTo>
                  <a:cubicBezTo>
                    <a:pt x="658" y="617"/>
                    <a:pt x="663" y="635"/>
                    <a:pt x="669" y="635"/>
                  </a:cubicBezTo>
                  <a:cubicBezTo>
                    <a:pt x="675" y="636"/>
                    <a:pt x="679" y="643"/>
                    <a:pt x="679" y="643"/>
                  </a:cubicBezTo>
                  <a:cubicBezTo>
                    <a:pt x="690" y="643"/>
                    <a:pt x="690" y="643"/>
                    <a:pt x="690" y="643"/>
                  </a:cubicBezTo>
                  <a:cubicBezTo>
                    <a:pt x="691" y="657"/>
                    <a:pt x="691" y="657"/>
                    <a:pt x="691" y="657"/>
                  </a:cubicBezTo>
                  <a:cubicBezTo>
                    <a:pt x="697" y="655"/>
                    <a:pt x="697" y="655"/>
                    <a:pt x="697" y="655"/>
                  </a:cubicBezTo>
                  <a:cubicBezTo>
                    <a:pt x="697" y="655"/>
                    <a:pt x="702" y="665"/>
                    <a:pt x="708" y="667"/>
                  </a:cubicBezTo>
                  <a:cubicBezTo>
                    <a:pt x="715" y="670"/>
                    <a:pt x="726" y="662"/>
                    <a:pt x="726" y="662"/>
                  </a:cubicBezTo>
                  <a:cubicBezTo>
                    <a:pt x="726" y="662"/>
                    <a:pt x="730" y="665"/>
                    <a:pt x="736" y="669"/>
                  </a:cubicBezTo>
                  <a:cubicBezTo>
                    <a:pt x="923" y="666"/>
                    <a:pt x="923" y="666"/>
                    <a:pt x="923" y="666"/>
                  </a:cubicBezTo>
                  <a:cubicBezTo>
                    <a:pt x="934" y="661"/>
                    <a:pt x="934" y="661"/>
                    <a:pt x="934" y="661"/>
                  </a:cubicBezTo>
                  <a:cubicBezTo>
                    <a:pt x="934" y="661"/>
                    <a:pt x="923" y="659"/>
                    <a:pt x="926" y="651"/>
                  </a:cubicBezTo>
                  <a:cubicBezTo>
                    <a:pt x="930" y="643"/>
                    <a:pt x="933" y="642"/>
                    <a:pt x="934" y="631"/>
                  </a:cubicBezTo>
                  <a:cubicBezTo>
                    <a:pt x="934" y="621"/>
                    <a:pt x="930" y="611"/>
                    <a:pt x="930" y="611"/>
                  </a:cubicBezTo>
                  <a:cubicBezTo>
                    <a:pt x="942" y="600"/>
                    <a:pt x="942" y="600"/>
                    <a:pt x="942" y="600"/>
                  </a:cubicBezTo>
                  <a:cubicBezTo>
                    <a:pt x="942" y="600"/>
                    <a:pt x="934" y="577"/>
                    <a:pt x="942" y="579"/>
                  </a:cubicBezTo>
                  <a:cubicBezTo>
                    <a:pt x="943" y="580"/>
                    <a:pt x="943" y="580"/>
                    <a:pt x="944" y="580"/>
                  </a:cubicBezTo>
                  <a:cubicBezTo>
                    <a:pt x="944" y="578"/>
                    <a:pt x="943" y="576"/>
                    <a:pt x="943" y="575"/>
                  </a:cubicBezTo>
                  <a:cubicBezTo>
                    <a:pt x="941" y="566"/>
                    <a:pt x="922" y="553"/>
                    <a:pt x="922" y="540"/>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89" name="Freeform 321">
              <a:extLst>
                <a:ext uri="{FF2B5EF4-FFF2-40B4-BE49-F238E27FC236}">
                  <a16:creationId xmlns:a16="http://schemas.microsoft.com/office/drawing/2014/main" id="{0C64E9FB-0523-4163-8A6E-B95E3000B49D}"/>
                </a:ext>
              </a:extLst>
            </p:cNvPr>
            <p:cNvSpPr>
              <a:spLocks noChangeAspect="1"/>
            </p:cNvSpPr>
            <p:nvPr/>
          </p:nvSpPr>
          <p:spPr bwMode="auto">
            <a:xfrm>
              <a:off x="11209" y="200"/>
              <a:ext cx="721" cy="825"/>
            </a:xfrm>
            <a:custGeom>
              <a:avLst/>
              <a:gdLst/>
              <a:ahLst/>
              <a:cxnLst>
                <a:cxn ang="0">
                  <a:pos x="304" y="204"/>
                </a:cxn>
                <a:cxn ang="0">
                  <a:pos x="307" y="182"/>
                </a:cxn>
                <a:cxn ang="0">
                  <a:pos x="305" y="111"/>
                </a:cxn>
                <a:cxn ang="0">
                  <a:pos x="321" y="79"/>
                </a:cxn>
                <a:cxn ang="0">
                  <a:pos x="308" y="49"/>
                </a:cxn>
                <a:cxn ang="0">
                  <a:pos x="279" y="39"/>
                </a:cxn>
                <a:cxn ang="0">
                  <a:pos x="282" y="1"/>
                </a:cxn>
                <a:cxn ang="0">
                  <a:pos x="256" y="22"/>
                </a:cxn>
                <a:cxn ang="0">
                  <a:pos x="227" y="47"/>
                </a:cxn>
                <a:cxn ang="0">
                  <a:pos x="205" y="50"/>
                </a:cxn>
                <a:cxn ang="0">
                  <a:pos x="186" y="61"/>
                </a:cxn>
                <a:cxn ang="0">
                  <a:pos x="168" y="66"/>
                </a:cxn>
                <a:cxn ang="0">
                  <a:pos x="149" y="66"/>
                </a:cxn>
                <a:cxn ang="0">
                  <a:pos x="125" y="78"/>
                </a:cxn>
                <a:cxn ang="0">
                  <a:pos x="107" y="90"/>
                </a:cxn>
                <a:cxn ang="0">
                  <a:pos x="81" y="87"/>
                </a:cxn>
                <a:cxn ang="0">
                  <a:pos x="53" y="84"/>
                </a:cxn>
                <a:cxn ang="0">
                  <a:pos x="25" y="66"/>
                </a:cxn>
                <a:cxn ang="0">
                  <a:pos x="0" y="60"/>
                </a:cxn>
                <a:cxn ang="0">
                  <a:pos x="41" y="101"/>
                </a:cxn>
                <a:cxn ang="0">
                  <a:pos x="38" y="130"/>
                </a:cxn>
                <a:cxn ang="0">
                  <a:pos x="49" y="163"/>
                </a:cxn>
                <a:cxn ang="0">
                  <a:pos x="85" y="172"/>
                </a:cxn>
                <a:cxn ang="0">
                  <a:pos x="87" y="185"/>
                </a:cxn>
                <a:cxn ang="0">
                  <a:pos x="131" y="199"/>
                </a:cxn>
                <a:cxn ang="0">
                  <a:pos x="134" y="235"/>
                </a:cxn>
                <a:cxn ang="0">
                  <a:pos x="145" y="268"/>
                </a:cxn>
                <a:cxn ang="0">
                  <a:pos x="150" y="319"/>
                </a:cxn>
                <a:cxn ang="0">
                  <a:pos x="150" y="350"/>
                </a:cxn>
                <a:cxn ang="0">
                  <a:pos x="140" y="360"/>
                </a:cxn>
                <a:cxn ang="0">
                  <a:pos x="179" y="404"/>
                </a:cxn>
                <a:cxn ang="0">
                  <a:pos x="206" y="412"/>
                </a:cxn>
                <a:cxn ang="0">
                  <a:pos x="196" y="383"/>
                </a:cxn>
                <a:cxn ang="0">
                  <a:pos x="202" y="360"/>
                </a:cxn>
                <a:cxn ang="0">
                  <a:pos x="254" y="372"/>
                </a:cxn>
                <a:cxn ang="0">
                  <a:pos x="277" y="361"/>
                </a:cxn>
                <a:cxn ang="0">
                  <a:pos x="268" y="342"/>
                </a:cxn>
                <a:cxn ang="0">
                  <a:pos x="275" y="323"/>
                </a:cxn>
                <a:cxn ang="0">
                  <a:pos x="357" y="303"/>
                </a:cxn>
                <a:cxn ang="0">
                  <a:pos x="359" y="244"/>
                </a:cxn>
              </a:cxnLst>
              <a:rect l="0" t="0" r="r" b="b"/>
              <a:pathLst>
                <a:path w="359" h="412">
                  <a:moveTo>
                    <a:pt x="359" y="244"/>
                  </a:moveTo>
                  <a:cubicBezTo>
                    <a:pt x="343" y="237"/>
                    <a:pt x="304" y="204"/>
                    <a:pt x="304" y="204"/>
                  </a:cubicBezTo>
                  <a:cubicBezTo>
                    <a:pt x="307" y="201"/>
                    <a:pt x="307" y="201"/>
                    <a:pt x="307" y="201"/>
                  </a:cubicBezTo>
                  <a:cubicBezTo>
                    <a:pt x="307" y="201"/>
                    <a:pt x="309" y="182"/>
                    <a:pt x="307" y="182"/>
                  </a:cubicBezTo>
                  <a:cubicBezTo>
                    <a:pt x="305" y="182"/>
                    <a:pt x="291" y="161"/>
                    <a:pt x="291" y="147"/>
                  </a:cubicBezTo>
                  <a:cubicBezTo>
                    <a:pt x="291" y="132"/>
                    <a:pt x="303" y="116"/>
                    <a:pt x="305" y="111"/>
                  </a:cubicBezTo>
                  <a:cubicBezTo>
                    <a:pt x="307" y="106"/>
                    <a:pt x="299" y="101"/>
                    <a:pt x="299" y="101"/>
                  </a:cubicBezTo>
                  <a:cubicBezTo>
                    <a:pt x="321" y="79"/>
                    <a:pt x="321" y="79"/>
                    <a:pt x="321" y="79"/>
                  </a:cubicBezTo>
                  <a:cubicBezTo>
                    <a:pt x="308" y="66"/>
                    <a:pt x="308" y="66"/>
                    <a:pt x="308" y="66"/>
                  </a:cubicBezTo>
                  <a:cubicBezTo>
                    <a:pt x="308" y="66"/>
                    <a:pt x="312" y="58"/>
                    <a:pt x="308" y="49"/>
                  </a:cubicBezTo>
                  <a:cubicBezTo>
                    <a:pt x="303" y="39"/>
                    <a:pt x="283" y="47"/>
                    <a:pt x="283" y="47"/>
                  </a:cubicBezTo>
                  <a:cubicBezTo>
                    <a:pt x="279" y="39"/>
                    <a:pt x="279" y="39"/>
                    <a:pt x="279" y="39"/>
                  </a:cubicBezTo>
                  <a:cubicBezTo>
                    <a:pt x="279" y="39"/>
                    <a:pt x="290" y="28"/>
                    <a:pt x="290" y="21"/>
                  </a:cubicBezTo>
                  <a:cubicBezTo>
                    <a:pt x="290" y="14"/>
                    <a:pt x="283" y="2"/>
                    <a:pt x="282" y="1"/>
                  </a:cubicBezTo>
                  <a:cubicBezTo>
                    <a:pt x="281" y="1"/>
                    <a:pt x="248" y="0"/>
                    <a:pt x="246" y="0"/>
                  </a:cubicBezTo>
                  <a:cubicBezTo>
                    <a:pt x="245" y="0"/>
                    <a:pt x="259" y="11"/>
                    <a:pt x="256" y="22"/>
                  </a:cubicBezTo>
                  <a:cubicBezTo>
                    <a:pt x="253" y="33"/>
                    <a:pt x="235" y="34"/>
                    <a:pt x="235" y="34"/>
                  </a:cubicBezTo>
                  <a:cubicBezTo>
                    <a:pt x="235" y="34"/>
                    <a:pt x="236" y="46"/>
                    <a:pt x="227" y="47"/>
                  </a:cubicBezTo>
                  <a:cubicBezTo>
                    <a:pt x="217" y="48"/>
                    <a:pt x="216" y="39"/>
                    <a:pt x="216" y="39"/>
                  </a:cubicBezTo>
                  <a:cubicBezTo>
                    <a:pt x="205" y="50"/>
                    <a:pt x="205" y="50"/>
                    <a:pt x="205" y="50"/>
                  </a:cubicBezTo>
                  <a:cubicBezTo>
                    <a:pt x="205" y="50"/>
                    <a:pt x="197" y="62"/>
                    <a:pt x="197" y="63"/>
                  </a:cubicBezTo>
                  <a:cubicBezTo>
                    <a:pt x="197" y="63"/>
                    <a:pt x="186" y="61"/>
                    <a:pt x="186" y="61"/>
                  </a:cubicBezTo>
                  <a:cubicBezTo>
                    <a:pt x="178" y="71"/>
                    <a:pt x="178" y="71"/>
                    <a:pt x="178" y="71"/>
                  </a:cubicBezTo>
                  <a:cubicBezTo>
                    <a:pt x="168" y="66"/>
                    <a:pt x="168" y="66"/>
                    <a:pt x="168" y="66"/>
                  </a:cubicBezTo>
                  <a:cubicBezTo>
                    <a:pt x="168" y="66"/>
                    <a:pt x="164" y="72"/>
                    <a:pt x="160" y="72"/>
                  </a:cubicBezTo>
                  <a:cubicBezTo>
                    <a:pt x="156" y="72"/>
                    <a:pt x="149" y="66"/>
                    <a:pt x="149" y="66"/>
                  </a:cubicBezTo>
                  <a:cubicBezTo>
                    <a:pt x="149" y="66"/>
                    <a:pt x="144" y="69"/>
                    <a:pt x="142" y="73"/>
                  </a:cubicBezTo>
                  <a:cubicBezTo>
                    <a:pt x="140" y="77"/>
                    <a:pt x="124" y="74"/>
                    <a:pt x="125" y="78"/>
                  </a:cubicBezTo>
                  <a:cubicBezTo>
                    <a:pt x="125" y="82"/>
                    <a:pt x="119" y="99"/>
                    <a:pt x="113" y="99"/>
                  </a:cubicBezTo>
                  <a:cubicBezTo>
                    <a:pt x="107" y="99"/>
                    <a:pt x="107" y="90"/>
                    <a:pt x="107" y="90"/>
                  </a:cubicBezTo>
                  <a:cubicBezTo>
                    <a:pt x="91" y="78"/>
                    <a:pt x="91" y="78"/>
                    <a:pt x="91" y="78"/>
                  </a:cubicBezTo>
                  <a:cubicBezTo>
                    <a:pt x="81" y="87"/>
                    <a:pt x="81" y="87"/>
                    <a:pt x="81" y="87"/>
                  </a:cubicBezTo>
                  <a:cubicBezTo>
                    <a:pt x="69" y="79"/>
                    <a:pt x="69" y="79"/>
                    <a:pt x="69" y="79"/>
                  </a:cubicBezTo>
                  <a:cubicBezTo>
                    <a:pt x="53" y="84"/>
                    <a:pt x="53" y="84"/>
                    <a:pt x="53" y="84"/>
                  </a:cubicBezTo>
                  <a:cubicBezTo>
                    <a:pt x="53" y="84"/>
                    <a:pt x="34" y="68"/>
                    <a:pt x="32" y="69"/>
                  </a:cubicBezTo>
                  <a:cubicBezTo>
                    <a:pt x="29" y="70"/>
                    <a:pt x="25" y="66"/>
                    <a:pt x="25" y="66"/>
                  </a:cubicBezTo>
                  <a:cubicBezTo>
                    <a:pt x="21" y="73"/>
                    <a:pt x="21" y="73"/>
                    <a:pt x="21" y="73"/>
                  </a:cubicBezTo>
                  <a:cubicBezTo>
                    <a:pt x="0" y="60"/>
                    <a:pt x="0" y="60"/>
                    <a:pt x="0" y="60"/>
                  </a:cubicBezTo>
                  <a:cubicBezTo>
                    <a:pt x="0" y="60"/>
                    <a:pt x="16" y="89"/>
                    <a:pt x="26" y="91"/>
                  </a:cubicBezTo>
                  <a:cubicBezTo>
                    <a:pt x="35" y="93"/>
                    <a:pt x="41" y="101"/>
                    <a:pt x="41" y="101"/>
                  </a:cubicBezTo>
                  <a:cubicBezTo>
                    <a:pt x="35" y="112"/>
                    <a:pt x="35" y="112"/>
                    <a:pt x="35" y="112"/>
                  </a:cubicBezTo>
                  <a:cubicBezTo>
                    <a:pt x="35" y="112"/>
                    <a:pt x="38" y="129"/>
                    <a:pt x="38" y="130"/>
                  </a:cubicBezTo>
                  <a:cubicBezTo>
                    <a:pt x="38" y="131"/>
                    <a:pt x="45" y="142"/>
                    <a:pt x="50" y="148"/>
                  </a:cubicBezTo>
                  <a:cubicBezTo>
                    <a:pt x="56" y="154"/>
                    <a:pt x="49" y="157"/>
                    <a:pt x="49" y="163"/>
                  </a:cubicBezTo>
                  <a:cubicBezTo>
                    <a:pt x="50" y="170"/>
                    <a:pt x="64" y="173"/>
                    <a:pt x="64" y="173"/>
                  </a:cubicBezTo>
                  <a:cubicBezTo>
                    <a:pt x="85" y="172"/>
                    <a:pt x="85" y="172"/>
                    <a:pt x="85" y="172"/>
                  </a:cubicBezTo>
                  <a:cubicBezTo>
                    <a:pt x="88" y="185"/>
                    <a:pt x="88" y="185"/>
                    <a:pt x="88" y="185"/>
                  </a:cubicBezTo>
                  <a:cubicBezTo>
                    <a:pt x="87" y="185"/>
                    <a:pt x="87" y="185"/>
                    <a:pt x="87" y="185"/>
                  </a:cubicBezTo>
                  <a:cubicBezTo>
                    <a:pt x="108" y="194"/>
                    <a:pt x="108" y="194"/>
                    <a:pt x="108" y="194"/>
                  </a:cubicBezTo>
                  <a:cubicBezTo>
                    <a:pt x="131" y="199"/>
                    <a:pt x="131" y="199"/>
                    <a:pt x="131" y="199"/>
                  </a:cubicBezTo>
                  <a:cubicBezTo>
                    <a:pt x="123" y="222"/>
                    <a:pt x="123" y="222"/>
                    <a:pt x="123" y="222"/>
                  </a:cubicBezTo>
                  <a:cubicBezTo>
                    <a:pt x="134" y="235"/>
                    <a:pt x="134" y="235"/>
                    <a:pt x="134" y="235"/>
                  </a:cubicBezTo>
                  <a:cubicBezTo>
                    <a:pt x="141" y="253"/>
                    <a:pt x="141" y="253"/>
                    <a:pt x="141" y="253"/>
                  </a:cubicBezTo>
                  <a:cubicBezTo>
                    <a:pt x="145" y="268"/>
                    <a:pt x="145" y="268"/>
                    <a:pt x="145" y="268"/>
                  </a:cubicBezTo>
                  <a:cubicBezTo>
                    <a:pt x="145" y="268"/>
                    <a:pt x="137" y="265"/>
                    <a:pt x="139" y="281"/>
                  </a:cubicBezTo>
                  <a:cubicBezTo>
                    <a:pt x="140" y="297"/>
                    <a:pt x="150" y="319"/>
                    <a:pt x="150" y="319"/>
                  </a:cubicBezTo>
                  <a:cubicBezTo>
                    <a:pt x="159" y="337"/>
                    <a:pt x="159" y="337"/>
                    <a:pt x="159" y="337"/>
                  </a:cubicBezTo>
                  <a:cubicBezTo>
                    <a:pt x="150" y="350"/>
                    <a:pt x="150" y="350"/>
                    <a:pt x="150" y="350"/>
                  </a:cubicBezTo>
                  <a:cubicBezTo>
                    <a:pt x="150" y="350"/>
                    <a:pt x="157" y="358"/>
                    <a:pt x="154" y="360"/>
                  </a:cubicBezTo>
                  <a:cubicBezTo>
                    <a:pt x="151" y="361"/>
                    <a:pt x="140" y="360"/>
                    <a:pt x="140" y="360"/>
                  </a:cubicBezTo>
                  <a:cubicBezTo>
                    <a:pt x="140" y="360"/>
                    <a:pt x="153" y="368"/>
                    <a:pt x="162" y="381"/>
                  </a:cubicBezTo>
                  <a:cubicBezTo>
                    <a:pt x="171" y="394"/>
                    <a:pt x="179" y="404"/>
                    <a:pt x="179" y="404"/>
                  </a:cubicBezTo>
                  <a:cubicBezTo>
                    <a:pt x="198" y="412"/>
                    <a:pt x="198" y="412"/>
                    <a:pt x="198" y="412"/>
                  </a:cubicBezTo>
                  <a:cubicBezTo>
                    <a:pt x="206" y="412"/>
                    <a:pt x="206" y="412"/>
                    <a:pt x="206" y="412"/>
                  </a:cubicBezTo>
                  <a:cubicBezTo>
                    <a:pt x="206" y="412"/>
                    <a:pt x="195" y="403"/>
                    <a:pt x="195" y="399"/>
                  </a:cubicBezTo>
                  <a:cubicBezTo>
                    <a:pt x="195" y="394"/>
                    <a:pt x="196" y="383"/>
                    <a:pt x="196" y="383"/>
                  </a:cubicBezTo>
                  <a:cubicBezTo>
                    <a:pt x="194" y="372"/>
                    <a:pt x="194" y="372"/>
                    <a:pt x="194" y="372"/>
                  </a:cubicBezTo>
                  <a:cubicBezTo>
                    <a:pt x="202" y="360"/>
                    <a:pt x="202" y="360"/>
                    <a:pt x="202" y="360"/>
                  </a:cubicBezTo>
                  <a:cubicBezTo>
                    <a:pt x="219" y="346"/>
                    <a:pt x="219" y="346"/>
                    <a:pt x="219" y="346"/>
                  </a:cubicBezTo>
                  <a:cubicBezTo>
                    <a:pt x="254" y="372"/>
                    <a:pt x="254" y="372"/>
                    <a:pt x="254" y="372"/>
                  </a:cubicBezTo>
                  <a:cubicBezTo>
                    <a:pt x="261" y="364"/>
                    <a:pt x="261" y="364"/>
                    <a:pt x="261" y="364"/>
                  </a:cubicBezTo>
                  <a:cubicBezTo>
                    <a:pt x="261" y="364"/>
                    <a:pt x="278" y="367"/>
                    <a:pt x="277" y="361"/>
                  </a:cubicBezTo>
                  <a:cubicBezTo>
                    <a:pt x="277" y="355"/>
                    <a:pt x="268" y="353"/>
                    <a:pt x="268" y="353"/>
                  </a:cubicBezTo>
                  <a:cubicBezTo>
                    <a:pt x="268" y="353"/>
                    <a:pt x="267" y="343"/>
                    <a:pt x="268" y="342"/>
                  </a:cubicBezTo>
                  <a:cubicBezTo>
                    <a:pt x="268" y="340"/>
                    <a:pt x="275" y="337"/>
                    <a:pt x="275" y="337"/>
                  </a:cubicBezTo>
                  <a:cubicBezTo>
                    <a:pt x="275" y="337"/>
                    <a:pt x="272" y="326"/>
                    <a:pt x="275" y="323"/>
                  </a:cubicBezTo>
                  <a:cubicBezTo>
                    <a:pt x="279" y="321"/>
                    <a:pt x="287" y="304"/>
                    <a:pt x="287" y="304"/>
                  </a:cubicBezTo>
                  <a:cubicBezTo>
                    <a:pt x="357" y="303"/>
                    <a:pt x="357" y="303"/>
                    <a:pt x="357" y="303"/>
                  </a:cubicBezTo>
                  <a:cubicBezTo>
                    <a:pt x="358" y="296"/>
                    <a:pt x="359" y="284"/>
                    <a:pt x="359" y="265"/>
                  </a:cubicBezTo>
                  <a:cubicBezTo>
                    <a:pt x="359" y="258"/>
                    <a:pt x="359" y="251"/>
                    <a:pt x="359" y="24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0" name="Freeform 322">
              <a:extLst>
                <a:ext uri="{FF2B5EF4-FFF2-40B4-BE49-F238E27FC236}">
                  <a16:creationId xmlns:a16="http://schemas.microsoft.com/office/drawing/2014/main" id="{3E7CC1B1-897A-4E85-B918-DF7F46CC28FE}"/>
                </a:ext>
              </a:extLst>
            </p:cNvPr>
            <p:cNvSpPr>
              <a:spLocks noChangeAspect="1"/>
            </p:cNvSpPr>
            <p:nvPr/>
          </p:nvSpPr>
          <p:spPr bwMode="auto">
            <a:xfrm>
              <a:off x="12414" y="297"/>
              <a:ext cx="610" cy="687"/>
            </a:xfrm>
            <a:custGeom>
              <a:avLst/>
              <a:gdLst/>
              <a:ahLst/>
              <a:cxnLst>
                <a:cxn ang="0">
                  <a:pos x="3" y="146"/>
                </a:cxn>
                <a:cxn ang="0">
                  <a:pos x="4" y="148"/>
                </a:cxn>
                <a:cxn ang="0">
                  <a:pos x="5" y="163"/>
                </a:cxn>
                <a:cxn ang="0">
                  <a:pos x="35" y="162"/>
                </a:cxn>
                <a:cxn ang="0">
                  <a:pos x="62" y="186"/>
                </a:cxn>
                <a:cxn ang="0">
                  <a:pos x="74" y="185"/>
                </a:cxn>
                <a:cxn ang="0">
                  <a:pos x="91" y="197"/>
                </a:cxn>
                <a:cxn ang="0">
                  <a:pos x="85" y="206"/>
                </a:cxn>
                <a:cxn ang="0">
                  <a:pos x="108" y="233"/>
                </a:cxn>
                <a:cxn ang="0">
                  <a:pos x="101" y="242"/>
                </a:cxn>
                <a:cxn ang="0">
                  <a:pos x="106" y="249"/>
                </a:cxn>
                <a:cxn ang="0">
                  <a:pos x="106" y="257"/>
                </a:cxn>
                <a:cxn ang="0">
                  <a:pos x="114" y="263"/>
                </a:cxn>
                <a:cxn ang="0">
                  <a:pos x="115" y="281"/>
                </a:cxn>
                <a:cxn ang="0">
                  <a:pos x="127" y="284"/>
                </a:cxn>
                <a:cxn ang="0">
                  <a:pos x="133" y="301"/>
                </a:cxn>
                <a:cxn ang="0">
                  <a:pos x="144" y="306"/>
                </a:cxn>
                <a:cxn ang="0">
                  <a:pos x="143" y="318"/>
                </a:cxn>
                <a:cxn ang="0">
                  <a:pos x="147" y="320"/>
                </a:cxn>
                <a:cxn ang="0">
                  <a:pos x="147" y="336"/>
                </a:cxn>
                <a:cxn ang="0">
                  <a:pos x="171" y="343"/>
                </a:cxn>
                <a:cxn ang="0">
                  <a:pos x="175" y="337"/>
                </a:cxn>
                <a:cxn ang="0">
                  <a:pos x="192" y="336"/>
                </a:cxn>
                <a:cxn ang="0">
                  <a:pos x="190" y="317"/>
                </a:cxn>
                <a:cxn ang="0">
                  <a:pos x="198" y="309"/>
                </a:cxn>
                <a:cxn ang="0">
                  <a:pos x="199" y="300"/>
                </a:cxn>
                <a:cxn ang="0">
                  <a:pos x="208" y="302"/>
                </a:cxn>
                <a:cxn ang="0">
                  <a:pos x="219" y="283"/>
                </a:cxn>
                <a:cxn ang="0">
                  <a:pos x="219" y="275"/>
                </a:cxn>
                <a:cxn ang="0">
                  <a:pos x="232" y="273"/>
                </a:cxn>
                <a:cxn ang="0">
                  <a:pos x="248" y="261"/>
                </a:cxn>
                <a:cxn ang="0">
                  <a:pos x="259" y="256"/>
                </a:cxn>
                <a:cxn ang="0">
                  <a:pos x="265" y="242"/>
                </a:cxn>
                <a:cxn ang="0">
                  <a:pos x="271" y="224"/>
                </a:cxn>
                <a:cxn ang="0">
                  <a:pos x="286" y="224"/>
                </a:cxn>
                <a:cxn ang="0">
                  <a:pos x="304" y="197"/>
                </a:cxn>
                <a:cxn ang="0">
                  <a:pos x="300" y="170"/>
                </a:cxn>
                <a:cxn ang="0">
                  <a:pos x="279" y="156"/>
                </a:cxn>
                <a:cxn ang="0">
                  <a:pos x="269" y="136"/>
                </a:cxn>
                <a:cxn ang="0">
                  <a:pos x="253" y="139"/>
                </a:cxn>
                <a:cxn ang="0">
                  <a:pos x="234" y="90"/>
                </a:cxn>
                <a:cxn ang="0">
                  <a:pos x="230" y="32"/>
                </a:cxn>
                <a:cxn ang="0">
                  <a:pos x="221" y="30"/>
                </a:cxn>
                <a:cxn ang="0">
                  <a:pos x="221" y="19"/>
                </a:cxn>
                <a:cxn ang="0">
                  <a:pos x="203" y="0"/>
                </a:cxn>
                <a:cxn ang="0">
                  <a:pos x="198" y="20"/>
                </a:cxn>
                <a:cxn ang="0">
                  <a:pos x="152" y="77"/>
                </a:cxn>
                <a:cxn ang="0">
                  <a:pos x="142" y="113"/>
                </a:cxn>
                <a:cxn ang="0">
                  <a:pos x="116" y="137"/>
                </a:cxn>
                <a:cxn ang="0">
                  <a:pos x="94" y="127"/>
                </a:cxn>
                <a:cxn ang="0">
                  <a:pos x="86" y="133"/>
                </a:cxn>
                <a:cxn ang="0">
                  <a:pos x="66" y="123"/>
                </a:cxn>
                <a:cxn ang="0">
                  <a:pos x="40" y="138"/>
                </a:cxn>
                <a:cxn ang="0">
                  <a:pos x="12" y="122"/>
                </a:cxn>
                <a:cxn ang="0">
                  <a:pos x="0" y="117"/>
                </a:cxn>
                <a:cxn ang="0">
                  <a:pos x="7" y="135"/>
                </a:cxn>
                <a:cxn ang="0">
                  <a:pos x="3" y="146"/>
                </a:cxn>
              </a:cxnLst>
              <a:rect l="0" t="0" r="r" b="b"/>
              <a:pathLst>
                <a:path w="304" h="343">
                  <a:moveTo>
                    <a:pt x="3" y="146"/>
                  </a:moveTo>
                  <a:cubicBezTo>
                    <a:pt x="4" y="148"/>
                    <a:pt x="4" y="148"/>
                    <a:pt x="4" y="148"/>
                  </a:cubicBezTo>
                  <a:cubicBezTo>
                    <a:pt x="5" y="163"/>
                    <a:pt x="5" y="163"/>
                    <a:pt x="5" y="163"/>
                  </a:cubicBezTo>
                  <a:cubicBezTo>
                    <a:pt x="35" y="162"/>
                    <a:pt x="35" y="162"/>
                    <a:pt x="35" y="162"/>
                  </a:cubicBezTo>
                  <a:cubicBezTo>
                    <a:pt x="62" y="186"/>
                    <a:pt x="62" y="186"/>
                    <a:pt x="62" y="186"/>
                  </a:cubicBezTo>
                  <a:cubicBezTo>
                    <a:pt x="74" y="185"/>
                    <a:pt x="74" y="185"/>
                    <a:pt x="74" y="185"/>
                  </a:cubicBezTo>
                  <a:cubicBezTo>
                    <a:pt x="91" y="197"/>
                    <a:pt x="91" y="197"/>
                    <a:pt x="91" y="197"/>
                  </a:cubicBezTo>
                  <a:cubicBezTo>
                    <a:pt x="85" y="206"/>
                    <a:pt x="85" y="206"/>
                    <a:pt x="85" y="206"/>
                  </a:cubicBezTo>
                  <a:cubicBezTo>
                    <a:pt x="108" y="233"/>
                    <a:pt x="108" y="233"/>
                    <a:pt x="108" y="233"/>
                  </a:cubicBezTo>
                  <a:cubicBezTo>
                    <a:pt x="101" y="242"/>
                    <a:pt x="101" y="242"/>
                    <a:pt x="101" y="242"/>
                  </a:cubicBezTo>
                  <a:cubicBezTo>
                    <a:pt x="106" y="249"/>
                    <a:pt x="106" y="249"/>
                    <a:pt x="106" y="249"/>
                  </a:cubicBezTo>
                  <a:cubicBezTo>
                    <a:pt x="106" y="257"/>
                    <a:pt x="106" y="257"/>
                    <a:pt x="106" y="257"/>
                  </a:cubicBezTo>
                  <a:cubicBezTo>
                    <a:pt x="114" y="263"/>
                    <a:pt x="114" y="263"/>
                    <a:pt x="114" y="263"/>
                  </a:cubicBezTo>
                  <a:cubicBezTo>
                    <a:pt x="115" y="281"/>
                    <a:pt x="115" y="281"/>
                    <a:pt x="115" y="281"/>
                  </a:cubicBezTo>
                  <a:cubicBezTo>
                    <a:pt x="115" y="281"/>
                    <a:pt x="121" y="276"/>
                    <a:pt x="127" y="284"/>
                  </a:cubicBezTo>
                  <a:cubicBezTo>
                    <a:pt x="132" y="292"/>
                    <a:pt x="127" y="297"/>
                    <a:pt x="133" y="301"/>
                  </a:cubicBezTo>
                  <a:cubicBezTo>
                    <a:pt x="139" y="305"/>
                    <a:pt x="144" y="306"/>
                    <a:pt x="144" y="306"/>
                  </a:cubicBezTo>
                  <a:cubicBezTo>
                    <a:pt x="143" y="318"/>
                    <a:pt x="143" y="318"/>
                    <a:pt x="143" y="318"/>
                  </a:cubicBezTo>
                  <a:cubicBezTo>
                    <a:pt x="147" y="320"/>
                    <a:pt x="147" y="320"/>
                    <a:pt x="147" y="320"/>
                  </a:cubicBezTo>
                  <a:cubicBezTo>
                    <a:pt x="147" y="336"/>
                    <a:pt x="147" y="336"/>
                    <a:pt x="147" y="336"/>
                  </a:cubicBezTo>
                  <a:cubicBezTo>
                    <a:pt x="171" y="343"/>
                    <a:pt x="171" y="343"/>
                    <a:pt x="171" y="343"/>
                  </a:cubicBezTo>
                  <a:cubicBezTo>
                    <a:pt x="171" y="343"/>
                    <a:pt x="173" y="337"/>
                    <a:pt x="175" y="337"/>
                  </a:cubicBezTo>
                  <a:cubicBezTo>
                    <a:pt x="177" y="337"/>
                    <a:pt x="192" y="336"/>
                    <a:pt x="192" y="336"/>
                  </a:cubicBezTo>
                  <a:cubicBezTo>
                    <a:pt x="190" y="317"/>
                    <a:pt x="190" y="317"/>
                    <a:pt x="190" y="317"/>
                  </a:cubicBezTo>
                  <a:cubicBezTo>
                    <a:pt x="190" y="317"/>
                    <a:pt x="198" y="316"/>
                    <a:pt x="198" y="309"/>
                  </a:cubicBezTo>
                  <a:cubicBezTo>
                    <a:pt x="199" y="302"/>
                    <a:pt x="199" y="300"/>
                    <a:pt x="199" y="300"/>
                  </a:cubicBezTo>
                  <a:cubicBezTo>
                    <a:pt x="208" y="302"/>
                    <a:pt x="208" y="302"/>
                    <a:pt x="208" y="302"/>
                  </a:cubicBezTo>
                  <a:cubicBezTo>
                    <a:pt x="219" y="283"/>
                    <a:pt x="219" y="283"/>
                    <a:pt x="219" y="283"/>
                  </a:cubicBezTo>
                  <a:cubicBezTo>
                    <a:pt x="219" y="275"/>
                    <a:pt x="219" y="275"/>
                    <a:pt x="219" y="275"/>
                  </a:cubicBezTo>
                  <a:cubicBezTo>
                    <a:pt x="232" y="273"/>
                    <a:pt x="232" y="273"/>
                    <a:pt x="232" y="273"/>
                  </a:cubicBezTo>
                  <a:cubicBezTo>
                    <a:pt x="232" y="273"/>
                    <a:pt x="239" y="262"/>
                    <a:pt x="248" y="261"/>
                  </a:cubicBezTo>
                  <a:cubicBezTo>
                    <a:pt x="256" y="260"/>
                    <a:pt x="259" y="256"/>
                    <a:pt x="259" y="256"/>
                  </a:cubicBezTo>
                  <a:cubicBezTo>
                    <a:pt x="265" y="242"/>
                    <a:pt x="265" y="242"/>
                    <a:pt x="265" y="242"/>
                  </a:cubicBezTo>
                  <a:cubicBezTo>
                    <a:pt x="265" y="242"/>
                    <a:pt x="257" y="224"/>
                    <a:pt x="271" y="224"/>
                  </a:cubicBezTo>
                  <a:cubicBezTo>
                    <a:pt x="276" y="224"/>
                    <a:pt x="281" y="224"/>
                    <a:pt x="286" y="224"/>
                  </a:cubicBezTo>
                  <a:cubicBezTo>
                    <a:pt x="304" y="197"/>
                    <a:pt x="304" y="197"/>
                    <a:pt x="304" y="197"/>
                  </a:cubicBezTo>
                  <a:cubicBezTo>
                    <a:pt x="304" y="197"/>
                    <a:pt x="302" y="179"/>
                    <a:pt x="300" y="170"/>
                  </a:cubicBezTo>
                  <a:cubicBezTo>
                    <a:pt x="298" y="161"/>
                    <a:pt x="285" y="159"/>
                    <a:pt x="279" y="156"/>
                  </a:cubicBezTo>
                  <a:cubicBezTo>
                    <a:pt x="273" y="154"/>
                    <a:pt x="276" y="143"/>
                    <a:pt x="269" y="136"/>
                  </a:cubicBezTo>
                  <a:cubicBezTo>
                    <a:pt x="263" y="129"/>
                    <a:pt x="259" y="140"/>
                    <a:pt x="253" y="139"/>
                  </a:cubicBezTo>
                  <a:cubicBezTo>
                    <a:pt x="248" y="138"/>
                    <a:pt x="235" y="96"/>
                    <a:pt x="234" y="90"/>
                  </a:cubicBezTo>
                  <a:cubicBezTo>
                    <a:pt x="234" y="84"/>
                    <a:pt x="230" y="32"/>
                    <a:pt x="230" y="32"/>
                  </a:cubicBezTo>
                  <a:cubicBezTo>
                    <a:pt x="221" y="30"/>
                    <a:pt x="221" y="30"/>
                    <a:pt x="221" y="30"/>
                  </a:cubicBezTo>
                  <a:cubicBezTo>
                    <a:pt x="221" y="19"/>
                    <a:pt x="221" y="19"/>
                    <a:pt x="221" y="19"/>
                  </a:cubicBezTo>
                  <a:cubicBezTo>
                    <a:pt x="203" y="0"/>
                    <a:pt x="203" y="0"/>
                    <a:pt x="203" y="0"/>
                  </a:cubicBezTo>
                  <a:cubicBezTo>
                    <a:pt x="203" y="0"/>
                    <a:pt x="198" y="18"/>
                    <a:pt x="198" y="20"/>
                  </a:cubicBezTo>
                  <a:cubicBezTo>
                    <a:pt x="198" y="22"/>
                    <a:pt x="152" y="77"/>
                    <a:pt x="152" y="77"/>
                  </a:cubicBezTo>
                  <a:cubicBezTo>
                    <a:pt x="152" y="77"/>
                    <a:pt x="150" y="100"/>
                    <a:pt x="142" y="113"/>
                  </a:cubicBezTo>
                  <a:cubicBezTo>
                    <a:pt x="134" y="126"/>
                    <a:pt x="122" y="132"/>
                    <a:pt x="116" y="137"/>
                  </a:cubicBezTo>
                  <a:cubicBezTo>
                    <a:pt x="109" y="143"/>
                    <a:pt x="94" y="127"/>
                    <a:pt x="94" y="127"/>
                  </a:cubicBezTo>
                  <a:cubicBezTo>
                    <a:pt x="86" y="133"/>
                    <a:pt x="86" y="133"/>
                    <a:pt x="86" y="133"/>
                  </a:cubicBezTo>
                  <a:cubicBezTo>
                    <a:pt x="66" y="123"/>
                    <a:pt x="66" y="123"/>
                    <a:pt x="66" y="123"/>
                  </a:cubicBezTo>
                  <a:cubicBezTo>
                    <a:pt x="66" y="123"/>
                    <a:pt x="57" y="137"/>
                    <a:pt x="40" y="138"/>
                  </a:cubicBezTo>
                  <a:cubicBezTo>
                    <a:pt x="23" y="139"/>
                    <a:pt x="12" y="122"/>
                    <a:pt x="12" y="122"/>
                  </a:cubicBezTo>
                  <a:cubicBezTo>
                    <a:pt x="12" y="122"/>
                    <a:pt x="6" y="119"/>
                    <a:pt x="0" y="117"/>
                  </a:cubicBezTo>
                  <a:cubicBezTo>
                    <a:pt x="7" y="135"/>
                    <a:pt x="7" y="135"/>
                    <a:pt x="7" y="135"/>
                  </a:cubicBezTo>
                  <a:lnTo>
                    <a:pt x="3" y="14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1" name="Freeform 325">
              <a:extLst>
                <a:ext uri="{FF2B5EF4-FFF2-40B4-BE49-F238E27FC236}">
                  <a16:creationId xmlns:a16="http://schemas.microsoft.com/office/drawing/2014/main" id="{90A21A50-84EB-43FE-90F9-16ABF4225963}"/>
                </a:ext>
              </a:extLst>
            </p:cNvPr>
            <p:cNvSpPr>
              <a:spLocks noChangeAspect="1"/>
            </p:cNvSpPr>
            <p:nvPr/>
          </p:nvSpPr>
          <p:spPr bwMode="auto">
            <a:xfrm>
              <a:off x="11600" y="1719"/>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2" name="Freeform 326">
              <a:extLst>
                <a:ext uri="{FF2B5EF4-FFF2-40B4-BE49-F238E27FC236}">
                  <a16:creationId xmlns:a16="http://schemas.microsoft.com/office/drawing/2014/main" id="{1A528FC4-3E4A-4AEA-8AE6-000367726D6E}"/>
                </a:ext>
              </a:extLst>
            </p:cNvPr>
            <p:cNvSpPr>
              <a:spLocks noChangeAspect="1"/>
            </p:cNvSpPr>
            <p:nvPr/>
          </p:nvSpPr>
          <p:spPr bwMode="auto">
            <a:xfrm>
              <a:off x="12007" y="2911"/>
              <a:ext cx="890" cy="837"/>
            </a:xfrm>
            <a:custGeom>
              <a:avLst/>
              <a:gdLst/>
              <a:ahLst/>
              <a:cxnLst>
                <a:cxn ang="0">
                  <a:pos x="386" y="109"/>
                </a:cxn>
                <a:cxn ang="0">
                  <a:pos x="366" y="98"/>
                </a:cxn>
                <a:cxn ang="0">
                  <a:pos x="339" y="86"/>
                </a:cxn>
                <a:cxn ang="0">
                  <a:pos x="320" y="81"/>
                </a:cxn>
                <a:cxn ang="0">
                  <a:pos x="331" y="70"/>
                </a:cxn>
                <a:cxn ang="0">
                  <a:pos x="312" y="74"/>
                </a:cxn>
                <a:cxn ang="0">
                  <a:pos x="310" y="50"/>
                </a:cxn>
                <a:cxn ang="0">
                  <a:pos x="257" y="41"/>
                </a:cxn>
                <a:cxn ang="0">
                  <a:pos x="271" y="27"/>
                </a:cxn>
                <a:cxn ang="0">
                  <a:pos x="262" y="16"/>
                </a:cxn>
                <a:cxn ang="0">
                  <a:pos x="237" y="30"/>
                </a:cxn>
                <a:cxn ang="0">
                  <a:pos x="204" y="25"/>
                </a:cxn>
                <a:cxn ang="0">
                  <a:pos x="161" y="10"/>
                </a:cxn>
                <a:cxn ang="0">
                  <a:pos x="127" y="1"/>
                </a:cxn>
                <a:cxn ang="0">
                  <a:pos x="102" y="4"/>
                </a:cxn>
                <a:cxn ang="0">
                  <a:pos x="88" y="4"/>
                </a:cxn>
                <a:cxn ang="0">
                  <a:pos x="69" y="37"/>
                </a:cxn>
                <a:cxn ang="0">
                  <a:pos x="51" y="44"/>
                </a:cxn>
                <a:cxn ang="0">
                  <a:pos x="28" y="35"/>
                </a:cxn>
                <a:cxn ang="0">
                  <a:pos x="47" y="65"/>
                </a:cxn>
                <a:cxn ang="0">
                  <a:pos x="27" y="101"/>
                </a:cxn>
                <a:cxn ang="0">
                  <a:pos x="25" y="116"/>
                </a:cxn>
                <a:cxn ang="0">
                  <a:pos x="23" y="167"/>
                </a:cxn>
                <a:cxn ang="0">
                  <a:pos x="0" y="181"/>
                </a:cxn>
                <a:cxn ang="0">
                  <a:pos x="12" y="208"/>
                </a:cxn>
                <a:cxn ang="0">
                  <a:pos x="24" y="251"/>
                </a:cxn>
                <a:cxn ang="0">
                  <a:pos x="17" y="284"/>
                </a:cxn>
                <a:cxn ang="0">
                  <a:pos x="30" y="298"/>
                </a:cxn>
                <a:cxn ang="0">
                  <a:pos x="93" y="311"/>
                </a:cxn>
                <a:cxn ang="0">
                  <a:pos x="123" y="310"/>
                </a:cxn>
                <a:cxn ang="0">
                  <a:pos x="154" y="329"/>
                </a:cxn>
                <a:cxn ang="0">
                  <a:pos x="162" y="366"/>
                </a:cxn>
                <a:cxn ang="0">
                  <a:pos x="165" y="392"/>
                </a:cxn>
                <a:cxn ang="0">
                  <a:pos x="196" y="412"/>
                </a:cxn>
                <a:cxn ang="0">
                  <a:pos x="235" y="415"/>
                </a:cxn>
                <a:cxn ang="0">
                  <a:pos x="245" y="412"/>
                </a:cxn>
                <a:cxn ang="0">
                  <a:pos x="272" y="369"/>
                </a:cxn>
                <a:cxn ang="0">
                  <a:pos x="303" y="336"/>
                </a:cxn>
                <a:cxn ang="0">
                  <a:pos x="357" y="295"/>
                </a:cxn>
                <a:cxn ang="0">
                  <a:pos x="373" y="270"/>
                </a:cxn>
                <a:cxn ang="0">
                  <a:pos x="378" y="259"/>
                </a:cxn>
                <a:cxn ang="0">
                  <a:pos x="403" y="223"/>
                </a:cxn>
                <a:cxn ang="0">
                  <a:pos x="418" y="190"/>
                </a:cxn>
                <a:cxn ang="0">
                  <a:pos x="435" y="151"/>
                </a:cxn>
                <a:cxn ang="0">
                  <a:pos x="444" y="140"/>
                </a:cxn>
                <a:cxn ang="0">
                  <a:pos x="399" y="120"/>
                </a:cxn>
              </a:cxnLst>
              <a:rect l="0" t="0" r="r" b="b"/>
              <a:pathLst>
                <a:path w="444" h="418">
                  <a:moveTo>
                    <a:pt x="399" y="120"/>
                  </a:moveTo>
                  <a:cubicBezTo>
                    <a:pt x="385" y="118"/>
                    <a:pt x="386" y="109"/>
                    <a:pt x="386" y="109"/>
                  </a:cubicBezTo>
                  <a:cubicBezTo>
                    <a:pt x="386" y="109"/>
                    <a:pt x="375" y="109"/>
                    <a:pt x="371" y="109"/>
                  </a:cubicBezTo>
                  <a:cubicBezTo>
                    <a:pt x="368" y="109"/>
                    <a:pt x="366" y="98"/>
                    <a:pt x="366" y="98"/>
                  </a:cubicBezTo>
                  <a:cubicBezTo>
                    <a:pt x="353" y="98"/>
                    <a:pt x="353" y="98"/>
                    <a:pt x="353" y="98"/>
                  </a:cubicBezTo>
                  <a:cubicBezTo>
                    <a:pt x="339" y="86"/>
                    <a:pt x="339" y="86"/>
                    <a:pt x="339" y="86"/>
                  </a:cubicBezTo>
                  <a:cubicBezTo>
                    <a:pt x="339" y="86"/>
                    <a:pt x="333" y="94"/>
                    <a:pt x="331" y="94"/>
                  </a:cubicBezTo>
                  <a:cubicBezTo>
                    <a:pt x="330" y="94"/>
                    <a:pt x="325" y="89"/>
                    <a:pt x="320" y="81"/>
                  </a:cubicBezTo>
                  <a:cubicBezTo>
                    <a:pt x="315" y="73"/>
                    <a:pt x="330" y="75"/>
                    <a:pt x="330" y="75"/>
                  </a:cubicBezTo>
                  <a:cubicBezTo>
                    <a:pt x="331" y="70"/>
                    <a:pt x="331" y="70"/>
                    <a:pt x="331" y="70"/>
                  </a:cubicBezTo>
                  <a:cubicBezTo>
                    <a:pt x="316" y="69"/>
                    <a:pt x="316" y="69"/>
                    <a:pt x="316" y="69"/>
                  </a:cubicBezTo>
                  <a:cubicBezTo>
                    <a:pt x="316" y="69"/>
                    <a:pt x="315" y="74"/>
                    <a:pt x="312" y="74"/>
                  </a:cubicBezTo>
                  <a:cubicBezTo>
                    <a:pt x="310" y="74"/>
                    <a:pt x="308" y="57"/>
                    <a:pt x="308" y="57"/>
                  </a:cubicBezTo>
                  <a:cubicBezTo>
                    <a:pt x="310" y="50"/>
                    <a:pt x="310" y="50"/>
                    <a:pt x="310" y="50"/>
                  </a:cubicBezTo>
                  <a:cubicBezTo>
                    <a:pt x="267" y="48"/>
                    <a:pt x="267" y="48"/>
                    <a:pt x="267" y="48"/>
                  </a:cubicBezTo>
                  <a:cubicBezTo>
                    <a:pt x="257" y="41"/>
                    <a:pt x="257" y="41"/>
                    <a:pt x="257" y="41"/>
                  </a:cubicBezTo>
                  <a:cubicBezTo>
                    <a:pt x="262" y="31"/>
                    <a:pt x="262" y="31"/>
                    <a:pt x="262" y="31"/>
                  </a:cubicBezTo>
                  <a:cubicBezTo>
                    <a:pt x="271" y="27"/>
                    <a:pt x="271" y="27"/>
                    <a:pt x="271" y="27"/>
                  </a:cubicBezTo>
                  <a:cubicBezTo>
                    <a:pt x="272" y="2"/>
                    <a:pt x="272" y="2"/>
                    <a:pt x="272" y="2"/>
                  </a:cubicBezTo>
                  <a:cubicBezTo>
                    <a:pt x="262" y="16"/>
                    <a:pt x="262" y="16"/>
                    <a:pt x="262" y="16"/>
                  </a:cubicBezTo>
                  <a:cubicBezTo>
                    <a:pt x="262" y="16"/>
                    <a:pt x="254" y="16"/>
                    <a:pt x="251" y="21"/>
                  </a:cubicBezTo>
                  <a:cubicBezTo>
                    <a:pt x="248" y="26"/>
                    <a:pt x="237" y="30"/>
                    <a:pt x="237" y="30"/>
                  </a:cubicBezTo>
                  <a:cubicBezTo>
                    <a:pt x="221" y="17"/>
                    <a:pt x="221" y="17"/>
                    <a:pt x="221" y="17"/>
                  </a:cubicBezTo>
                  <a:cubicBezTo>
                    <a:pt x="204" y="25"/>
                    <a:pt x="204" y="25"/>
                    <a:pt x="204" y="25"/>
                  </a:cubicBezTo>
                  <a:cubicBezTo>
                    <a:pt x="204" y="25"/>
                    <a:pt x="175" y="23"/>
                    <a:pt x="173" y="23"/>
                  </a:cubicBezTo>
                  <a:cubicBezTo>
                    <a:pt x="170" y="23"/>
                    <a:pt x="161" y="10"/>
                    <a:pt x="161" y="10"/>
                  </a:cubicBezTo>
                  <a:cubicBezTo>
                    <a:pt x="161" y="10"/>
                    <a:pt x="154" y="8"/>
                    <a:pt x="145" y="7"/>
                  </a:cubicBezTo>
                  <a:cubicBezTo>
                    <a:pt x="135" y="5"/>
                    <a:pt x="139" y="1"/>
                    <a:pt x="127" y="1"/>
                  </a:cubicBezTo>
                  <a:cubicBezTo>
                    <a:pt x="114" y="0"/>
                    <a:pt x="106" y="11"/>
                    <a:pt x="106" y="11"/>
                  </a:cubicBezTo>
                  <a:cubicBezTo>
                    <a:pt x="102" y="4"/>
                    <a:pt x="102" y="4"/>
                    <a:pt x="102" y="4"/>
                  </a:cubicBezTo>
                  <a:cubicBezTo>
                    <a:pt x="96" y="13"/>
                    <a:pt x="96" y="13"/>
                    <a:pt x="96" y="13"/>
                  </a:cubicBezTo>
                  <a:cubicBezTo>
                    <a:pt x="88" y="4"/>
                    <a:pt x="88" y="4"/>
                    <a:pt x="88" y="4"/>
                  </a:cubicBezTo>
                  <a:cubicBezTo>
                    <a:pt x="88" y="4"/>
                    <a:pt x="78" y="18"/>
                    <a:pt x="77" y="24"/>
                  </a:cubicBezTo>
                  <a:cubicBezTo>
                    <a:pt x="76" y="29"/>
                    <a:pt x="70" y="35"/>
                    <a:pt x="69" y="37"/>
                  </a:cubicBezTo>
                  <a:cubicBezTo>
                    <a:pt x="69" y="39"/>
                    <a:pt x="55" y="34"/>
                    <a:pt x="55" y="34"/>
                  </a:cubicBezTo>
                  <a:cubicBezTo>
                    <a:pt x="51" y="44"/>
                    <a:pt x="51" y="44"/>
                    <a:pt x="51" y="44"/>
                  </a:cubicBezTo>
                  <a:cubicBezTo>
                    <a:pt x="37" y="36"/>
                    <a:pt x="37" y="36"/>
                    <a:pt x="37" y="36"/>
                  </a:cubicBezTo>
                  <a:cubicBezTo>
                    <a:pt x="28" y="35"/>
                    <a:pt x="28" y="35"/>
                    <a:pt x="28" y="35"/>
                  </a:cubicBezTo>
                  <a:cubicBezTo>
                    <a:pt x="28" y="36"/>
                    <a:pt x="29" y="38"/>
                    <a:pt x="30" y="41"/>
                  </a:cubicBezTo>
                  <a:cubicBezTo>
                    <a:pt x="35" y="55"/>
                    <a:pt x="47" y="65"/>
                    <a:pt x="47" y="65"/>
                  </a:cubicBezTo>
                  <a:cubicBezTo>
                    <a:pt x="47" y="65"/>
                    <a:pt x="39" y="67"/>
                    <a:pt x="39" y="68"/>
                  </a:cubicBezTo>
                  <a:cubicBezTo>
                    <a:pt x="39" y="68"/>
                    <a:pt x="27" y="94"/>
                    <a:pt x="27" y="101"/>
                  </a:cubicBezTo>
                  <a:cubicBezTo>
                    <a:pt x="27" y="107"/>
                    <a:pt x="36" y="110"/>
                    <a:pt x="36" y="110"/>
                  </a:cubicBezTo>
                  <a:cubicBezTo>
                    <a:pt x="36" y="110"/>
                    <a:pt x="27" y="113"/>
                    <a:pt x="25" y="116"/>
                  </a:cubicBezTo>
                  <a:cubicBezTo>
                    <a:pt x="22" y="119"/>
                    <a:pt x="5" y="155"/>
                    <a:pt x="5" y="155"/>
                  </a:cubicBezTo>
                  <a:cubicBezTo>
                    <a:pt x="23" y="167"/>
                    <a:pt x="23" y="167"/>
                    <a:pt x="23" y="167"/>
                  </a:cubicBezTo>
                  <a:cubicBezTo>
                    <a:pt x="9" y="174"/>
                    <a:pt x="9" y="174"/>
                    <a:pt x="9" y="174"/>
                  </a:cubicBezTo>
                  <a:cubicBezTo>
                    <a:pt x="0" y="181"/>
                    <a:pt x="0" y="181"/>
                    <a:pt x="0" y="181"/>
                  </a:cubicBezTo>
                  <a:cubicBezTo>
                    <a:pt x="0" y="181"/>
                    <a:pt x="9" y="193"/>
                    <a:pt x="10" y="194"/>
                  </a:cubicBezTo>
                  <a:cubicBezTo>
                    <a:pt x="10" y="195"/>
                    <a:pt x="12" y="206"/>
                    <a:pt x="12" y="208"/>
                  </a:cubicBezTo>
                  <a:cubicBezTo>
                    <a:pt x="12" y="210"/>
                    <a:pt x="17" y="212"/>
                    <a:pt x="23" y="221"/>
                  </a:cubicBezTo>
                  <a:cubicBezTo>
                    <a:pt x="29" y="230"/>
                    <a:pt x="24" y="251"/>
                    <a:pt x="24" y="251"/>
                  </a:cubicBezTo>
                  <a:cubicBezTo>
                    <a:pt x="24" y="251"/>
                    <a:pt x="19" y="262"/>
                    <a:pt x="17" y="264"/>
                  </a:cubicBezTo>
                  <a:cubicBezTo>
                    <a:pt x="16" y="266"/>
                    <a:pt x="19" y="275"/>
                    <a:pt x="17" y="284"/>
                  </a:cubicBezTo>
                  <a:cubicBezTo>
                    <a:pt x="16" y="293"/>
                    <a:pt x="16" y="297"/>
                    <a:pt x="21" y="300"/>
                  </a:cubicBezTo>
                  <a:cubicBezTo>
                    <a:pt x="26" y="304"/>
                    <a:pt x="30" y="298"/>
                    <a:pt x="30" y="298"/>
                  </a:cubicBezTo>
                  <a:cubicBezTo>
                    <a:pt x="48" y="304"/>
                    <a:pt x="48" y="304"/>
                    <a:pt x="48" y="304"/>
                  </a:cubicBezTo>
                  <a:cubicBezTo>
                    <a:pt x="93" y="311"/>
                    <a:pt x="93" y="311"/>
                    <a:pt x="93" y="311"/>
                  </a:cubicBezTo>
                  <a:cubicBezTo>
                    <a:pt x="105" y="295"/>
                    <a:pt x="105" y="295"/>
                    <a:pt x="105" y="295"/>
                  </a:cubicBezTo>
                  <a:cubicBezTo>
                    <a:pt x="123" y="310"/>
                    <a:pt x="123" y="310"/>
                    <a:pt x="123" y="310"/>
                  </a:cubicBezTo>
                  <a:cubicBezTo>
                    <a:pt x="123" y="310"/>
                    <a:pt x="130" y="310"/>
                    <a:pt x="143" y="310"/>
                  </a:cubicBezTo>
                  <a:cubicBezTo>
                    <a:pt x="155" y="311"/>
                    <a:pt x="154" y="329"/>
                    <a:pt x="154" y="329"/>
                  </a:cubicBezTo>
                  <a:cubicBezTo>
                    <a:pt x="154" y="329"/>
                    <a:pt x="157" y="357"/>
                    <a:pt x="158" y="358"/>
                  </a:cubicBezTo>
                  <a:cubicBezTo>
                    <a:pt x="158" y="360"/>
                    <a:pt x="162" y="366"/>
                    <a:pt x="162" y="366"/>
                  </a:cubicBezTo>
                  <a:cubicBezTo>
                    <a:pt x="162" y="366"/>
                    <a:pt x="160" y="374"/>
                    <a:pt x="160" y="381"/>
                  </a:cubicBezTo>
                  <a:cubicBezTo>
                    <a:pt x="160" y="388"/>
                    <a:pt x="165" y="392"/>
                    <a:pt x="165" y="392"/>
                  </a:cubicBezTo>
                  <a:cubicBezTo>
                    <a:pt x="165" y="392"/>
                    <a:pt x="165" y="402"/>
                    <a:pt x="167" y="410"/>
                  </a:cubicBezTo>
                  <a:cubicBezTo>
                    <a:pt x="169" y="418"/>
                    <a:pt x="195" y="412"/>
                    <a:pt x="196" y="412"/>
                  </a:cubicBezTo>
                  <a:cubicBezTo>
                    <a:pt x="196" y="412"/>
                    <a:pt x="203" y="406"/>
                    <a:pt x="216" y="402"/>
                  </a:cubicBezTo>
                  <a:cubicBezTo>
                    <a:pt x="230" y="398"/>
                    <a:pt x="235" y="415"/>
                    <a:pt x="235" y="415"/>
                  </a:cubicBezTo>
                  <a:cubicBezTo>
                    <a:pt x="236" y="418"/>
                    <a:pt x="236" y="418"/>
                    <a:pt x="236" y="418"/>
                  </a:cubicBezTo>
                  <a:cubicBezTo>
                    <a:pt x="240" y="415"/>
                    <a:pt x="245" y="412"/>
                    <a:pt x="245" y="412"/>
                  </a:cubicBezTo>
                  <a:cubicBezTo>
                    <a:pt x="254" y="379"/>
                    <a:pt x="254" y="379"/>
                    <a:pt x="254" y="379"/>
                  </a:cubicBezTo>
                  <a:cubicBezTo>
                    <a:pt x="254" y="379"/>
                    <a:pt x="270" y="373"/>
                    <a:pt x="272" y="369"/>
                  </a:cubicBezTo>
                  <a:cubicBezTo>
                    <a:pt x="273" y="366"/>
                    <a:pt x="276" y="347"/>
                    <a:pt x="276" y="347"/>
                  </a:cubicBezTo>
                  <a:cubicBezTo>
                    <a:pt x="303" y="336"/>
                    <a:pt x="303" y="336"/>
                    <a:pt x="303" y="336"/>
                  </a:cubicBezTo>
                  <a:cubicBezTo>
                    <a:pt x="310" y="326"/>
                    <a:pt x="310" y="326"/>
                    <a:pt x="310" y="326"/>
                  </a:cubicBezTo>
                  <a:cubicBezTo>
                    <a:pt x="310" y="326"/>
                    <a:pt x="357" y="300"/>
                    <a:pt x="357" y="295"/>
                  </a:cubicBezTo>
                  <a:cubicBezTo>
                    <a:pt x="357" y="290"/>
                    <a:pt x="356" y="285"/>
                    <a:pt x="357" y="283"/>
                  </a:cubicBezTo>
                  <a:cubicBezTo>
                    <a:pt x="358" y="282"/>
                    <a:pt x="373" y="270"/>
                    <a:pt x="373" y="270"/>
                  </a:cubicBezTo>
                  <a:cubicBezTo>
                    <a:pt x="368" y="261"/>
                    <a:pt x="368" y="261"/>
                    <a:pt x="368" y="261"/>
                  </a:cubicBezTo>
                  <a:cubicBezTo>
                    <a:pt x="378" y="259"/>
                    <a:pt x="378" y="259"/>
                    <a:pt x="378" y="259"/>
                  </a:cubicBezTo>
                  <a:cubicBezTo>
                    <a:pt x="378" y="259"/>
                    <a:pt x="383" y="239"/>
                    <a:pt x="384" y="238"/>
                  </a:cubicBezTo>
                  <a:cubicBezTo>
                    <a:pt x="385" y="237"/>
                    <a:pt x="403" y="223"/>
                    <a:pt x="403" y="223"/>
                  </a:cubicBezTo>
                  <a:cubicBezTo>
                    <a:pt x="396" y="212"/>
                    <a:pt x="396" y="212"/>
                    <a:pt x="396" y="212"/>
                  </a:cubicBezTo>
                  <a:cubicBezTo>
                    <a:pt x="418" y="190"/>
                    <a:pt x="418" y="190"/>
                    <a:pt x="418" y="190"/>
                  </a:cubicBezTo>
                  <a:cubicBezTo>
                    <a:pt x="433" y="189"/>
                    <a:pt x="433" y="189"/>
                    <a:pt x="433" y="189"/>
                  </a:cubicBezTo>
                  <a:cubicBezTo>
                    <a:pt x="435" y="151"/>
                    <a:pt x="435" y="151"/>
                    <a:pt x="435" y="151"/>
                  </a:cubicBezTo>
                  <a:cubicBezTo>
                    <a:pt x="435" y="151"/>
                    <a:pt x="443" y="147"/>
                    <a:pt x="443" y="146"/>
                  </a:cubicBezTo>
                  <a:cubicBezTo>
                    <a:pt x="443" y="145"/>
                    <a:pt x="443" y="143"/>
                    <a:pt x="444" y="140"/>
                  </a:cubicBezTo>
                  <a:cubicBezTo>
                    <a:pt x="432" y="127"/>
                    <a:pt x="432" y="127"/>
                    <a:pt x="432" y="127"/>
                  </a:cubicBezTo>
                  <a:cubicBezTo>
                    <a:pt x="432" y="127"/>
                    <a:pt x="414" y="122"/>
                    <a:pt x="399" y="120"/>
                  </a:cubicBez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93" name="Freeform 327">
              <a:extLst>
                <a:ext uri="{FF2B5EF4-FFF2-40B4-BE49-F238E27FC236}">
                  <a16:creationId xmlns:a16="http://schemas.microsoft.com/office/drawing/2014/main" id="{F7E1DA49-2557-4F8F-81BE-46A26D60FE5F}"/>
                </a:ext>
              </a:extLst>
            </p:cNvPr>
            <p:cNvSpPr>
              <a:spLocks noChangeAspect="1" noEditPoints="1"/>
            </p:cNvSpPr>
            <p:nvPr/>
          </p:nvSpPr>
          <p:spPr bwMode="auto">
            <a:xfrm>
              <a:off x="12607" y="2332"/>
              <a:ext cx="893" cy="860"/>
            </a:xfrm>
            <a:custGeom>
              <a:avLst/>
              <a:gdLst/>
              <a:ahLst/>
              <a:cxnLst>
                <a:cxn ang="0">
                  <a:pos x="426" y="83"/>
                </a:cxn>
                <a:cxn ang="0">
                  <a:pos x="419" y="42"/>
                </a:cxn>
                <a:cxn ang="0">
                  <a:pos x="417" y="31"/>
                </a:cxn>
                <a:cxn ang="0">
                  <a:pos x="375" y="48"/>
                </a:cxn>
                <a:cxn ang="0">
                  <a:pos x="356" y="52"/>
                </a:cxn>
                <a:cxn ang="0">
                  <a:pos x="344" y="60"/>
                </a:cxn>
                <a:cxn ang="0">
                  <a:pos x="323" y="55"/>
                </a:cxn>
                <a:cxn ang="0">
                  <a:pos x="303" y="49"/>
                </a:cxn>
                <a:cxn ang="0">
                  <a:pos x="291" y="51"/>
                </a:cxn>
                <a:cxn ang="0">
                  <a:pos x="284" y="44"/>
                </a:cxn>
                <a:cxn ang="0">
                  <a:pos x="259" y="35"/>
                </a:cxn>
                <a:cxn ang="0">
                  <a:pos x="236" y="55"/>
                </a:cxn>
                <a:cxn ang="0">
                  <a:pos x="178" y="31"/>
                </a:cxn>
                <a:cxn ang="0">
                  <a:pos x="165" y="23"/>
                </a:cxn>
                <a:cxn ang="0">
                  <a:pos x="146" y="80"/>
                </a:cxn>
                <a:cxn ang="0">
                  <a:pos x="138" y="109"/>
                </a:cxn>
                <a:cxn ang="0">
                  <a:pos x="116" y="156"/>
                </a:cxn>
                <a:cxn ang="0">
                  <a:pos x="87" y="202"/>
                </a:cxn>
                <a:cxn ang="0">
                  <a:pos x="37" y="235"/>
                </a:cxn>
                <a:cxn ang="0">
                  <a:pos x="13" y="271"/>
                </a:cxn>
                <a:cxn ang="0">
                  <a:pos x="0" y="293"/>
                </a:cxn>
                <a:cxn ang="0">
                  <a:pos x="11" y="339"/>
                </a:cxn>
                <a:cxn ang="0">
                  <a:pos x="13" y="363"/>
                </a:cxn>
                <a:cxn ang="0">
                  <a:pos x="32" y="359"/>
                </a:cxn>
                <a:cxn ang="0">
                  <a:pos x="21" y="370"/>
                </a:cxn>
                <a:cxn ang="0">
                  <a:pos x="40" y="375"/>
                </a:cxn>
                <a:cxn ang="0">
                  <a:pos x="67" y="387"/>
                </a:cxn>
                <a:cxn ang="0">
                  <a:pos x="87" y="398"/>
                </a:cxn>
                <a:cxn ang="0">
                  <a:pos x="133" y="416"/>
                </a:cxn>
                <a:cxn ang="0">
                  <a:pos x="152" y="410"/>
                </a:cxn>
                <a:cxn ang="0">
                  <a:pos x="179" y="381"/>
                </a:cxn>
                <a:cxn ang="0">
                  <a:pos x="226" y="367"/>
                </a:cxn>
                <a:cxn ang="0">
                  <a:pos x="254" y="359"/>
                </a:cxn>
                <a:cxn ang="0">
                  <a:pos x="281" y="356"/>
                </a:cxn>
                <a:cxn ang="0">
                  <a:pos x="301" y="356"/>
                </a:cxn>
                <a:cxn ang="0">
                  <a:pos x="362" y="340"/>
                </a:cxn>
                <a:cxn ang="0">
                  <a:pos x="363" y="315"/>
                </a:cxn>
                <a:cxn ang="0">
                  <a:pos x="368" y="279"/>
                </a:cxn>
                <a:cxn ang="0">
                  <a:pos x="353" y="243"/>
                </a:cxn>
                <a:cxn ang="0">
                  <a:pos x="360" y="220"/>
                </a:cxn>
                <a:cxn ang="0">
                  <a:pos x="393" y="212"/>
                </a:cxn>
                <a:cxn ang="0">
                  <a:pos x="389" y="182"/>
                </a:cxn>
                <a:cxn ang="0">
                  <a:pos x="407" y="164"/>
                </a:cxn>
                <a:cxn ang="0">
                  <a:pos x="424" y="153"/>
                </a:cxn>
                <a:cxn ang="0">
                  <a:pos x="437" y="127"/>
                </a:cxn>
                <a:cxn ang="0">
                  <a:pos x="421" y="96"/>
                </a:cxn>
                <a:cxn ang="0">
                  <a:pos x="355" y="215"/>
                </a:cxn>
                <a:cxn ang="0">
                  <a:pos x="306" y="219"/>
                </a:cxn>
                <a:cxn ang="0">
                  <a:pos x="306" y="205"/>
                </a:cxn>
                <a:cxn ang="0">
                  <a:pos x="309" y="190"/>
                </a:cxn>
                <a:cxn ang="0">
                  <a:pos x="358" y="197"/>
                </a:cxn>
              </a:cxnLst>
              <a:rect l="0" t="0" r="r" b="b"/>
              <a:pathLst>
                <a:path w="446" h="429">
                  <a:moveTo>
                    <a:pt x="421" y="96"/>
                  </a:moveTo>
                  <a:cubicBezTo>
                    <a:pt x="421" y="96"/>
                    <a:pt x="423" y="93"/>
                    <a:pt x="426" y="83"/>
                  </a:cubicBezTo>
                  <a:cubicBezTo>
                    <a:pt x="429" y="73"/>
                    <a:pt x="437" y="57"/>
                    <a:pt x="437" y="57"/>
                  </a:cubicBezTo>
                  <a:cubicBezTo>
                    <a:pt x="419" y="42"/>
                    <a:pt x="419" y="42"/>
                    <a:pt x="419" y="42"/>
                  </a:cubicBezTo>
                  <a:cubicBezTo>
                    <a:pt x="431" y="34"/>
                    <a:pt x="431" y="34"/>
                    <a:pt x="431" y="34"/>
                  </a:cubicBezTo>
                  <a:cubicBezTo>
                    <a:pt x="431" y="34"/>
                    <a:pt x="421" y="32"/>
                    <a:pt x="417" y="31"/>
                  </a:cubicBezTo>
                  <a:cubicBezTo>
                    <a:pt x="388" y="36"/>
                    <a:pt x="388" y="36"/>
                    <a:pt x="388" y="36"/>
                  </a:cubicBezTo>
                  <a:cubicBezTo>
                    <a:pt x="375" y="48"/>
                    <a:pt x="375" y="48"/>
                    <a:pt x="375" y="48"/>
                  </a:cubicBezTo>
                  <a:cubicBezTo>
                    <a:pt x="363" y="46"/>
                    <a:pt x="363" y="46"/>
                    <a:pt x="363" y="46"/>
                  </a:cubicBezTo>
                  <a:cubicBezTo>
                    <a:pt x="356" y="52"/>
                    <a:pt x="356" y="52"/>
                    <a:pt x="356" y="52"/>
                  </a:cubicBezTo>
                  <a:cubicBezTo>
                    <a:pt x="340" y="43"/>
                    <a:pt x="340" y="43"/>
                    <a:pt x="340" y="43"/>
                  </a:cubicBezTo>
                  <a:cubicBezTo>
                    <a:pt x="344" y="60"/>
                    <a:pt x="344" y="60"/>
                    <a:pt x="344" y="60"/>
                  </a:cubicBezTo>
                  <a:cubicBezTo>
                    <a:pt x="338" y="67"/>
                    <a:pt x="338" y="67"/>
                    <a:pt x="338" y="67"/>
                  </a:cubicBezTo>
                  <a:cubicBezTo>
                    <a:pt x="323" y="55"/>
                    <a:pt x="323" y="55"/>
                    <a:pt x="323" y="55"/>
                  </a:cubicBezTo>
                  <a:cubicBezTo>
                    <a:pt x="311" y="56"/>
                    <a:pt x="311" y="56"/>
                    <a:pt x="311" y="56"/>
                  </a:cubicBezTo>
                  <a:cubicBezTo>
                    <a:pt x="303" y="49"/>
                    <a:pt x="303" y="49"/>
                    <a:pt x="303" y="49"/>
                  </a:cubicBezTo>
                  <a:cubicBezTo>
                    <a:pt x="292" y="58"/>
                    <a:pt x="292" y="58"/>
                    <a:pt x="292" y="58"/>
                  </a:cubicBezTo>
                  <a:cubicBezTo>
                    <a:pt x="291" y="51"/>
                    <a:pt x="291" y="51"/>
                    <a:pt x="291" y="51"/>
                  </a:cubicBezTo>
                  <a:cubicBezTo>
                    <a:pt x="280" y="54"/>
                    <a:pt x="280" y="54"/>
                    <a:pt x="280" y="54"/>
                  </a:cubicBezTo>
                  <a:cubicBezTo>
                    <a:pt x="284" y="44"/>
                    <a:pt x="284" y="44"/>
                    <a:pt x="284" y="44"/>
                  </a:cubicBezTo>
                  <a:cubicBezTo>
                    <a:pt x="269" y="28"/>
                    <a:pt x="269" y="28"/>
                    <a:pt x="269" y="28"/>
                  </a:cubicBezTo>
                  <a:cubicBezTo>
                    <a:pt x="259" y="35"/>
                    <a:pt x="259" y="35"/>
                    <a:pt x="259" y="35"/>
                  </a:cubicBezTo>
                  <a:cubicBezTo>
                    <a:pt x="251" y="24"/>
                    <a:pt x="251" y="24"/>
                    <a:pt x="251" y="24"/>
                  </a:cubicBezTo>
                  <a:cubicBezTo>
                    <a:pt x="236" y="55"/>
                    <a:pt x="236" y="55"/>
                    <a:pt x="236" y="55"/>
                  </a:cubicBezTo>
                  <a:cubicBezTo>
                    <a:pt x="203" y="36"/>
                    <a:pt x="203" y="36"/>
                    <a:pt x="203" y="36"/>
                  </a:cubicBezTo>
                  <a:cubicBezTo>
                    <a:pt x="178" y="31"/>
                    <a:pt x="178" y="31"/>
                    <a:pt x="178" y="31"/>
                  </a:cubicBezTo>
                  <a:cubicBezTo>
                    <a:pt x="190" y="0"/>
                    <a:pt x="190" y="0"/>
                    <a:pt x="190" y="0"/>
                  </a:cubicBezTo>
                  <a:cubicBezTo>
                    <a:pt x="165" y="23"/>
                    <a:pt x="165" y="23"/>
                    <a:pt x="165" y="23"/>
                  </a:cubicBezTo>
                  <a:cubicBezTo>
                    <a:pt x="163" y="34"/>
                    <a:pt x="162" y="47"/>
                    <a:pt x="161" y="56"/>
                  </a:cubicBezTo>
                  <a:cubicBezTo>
                    <a:pt x="160" y="74"/>
                    <a:pt x="146" y="80"/>
                    <a:pt x="146" y="80"/>
                  </a:cubicBezTo>
                  <a:cubicBezTo>
                    <a:pt x="146" y="80"/>
                    <a:pt x="145" y="102"/>
                    <a:pt x="145" y="104"/>
                  </a:cubicBezTo>
                  <a:cubicBezTo>
                    <a:pt x="145" y="105"/>
                    <a:pt x="138" y="107"/>
                    <a:pt x="138" y="109"/>
                  </a:cubicBezTo>
                  <a:cubicBezTo>
                    <a:pt x="138" y="111"/>
                    <a:pt x="137" y="150"/>
                    <a:pt x="130" y="157"/>
                  </a:cubicBezTo>
                  <a:cubicBezTo>
                    <a:pt x="123" y="164"/>
                    <a:pt x="116" y="158"/>
                    <a:pt x="116" y="156"/>
                  </a:cubicBezTo>
                  <a:cubicBezTo>
                    <a:pt x="116" y="155"/>
                    <a:pt x="96" y="175"/>
                    <a:pt x="94" y="178"/>
                  </a:cubicBezTo>
                  <a:cubicBezTo>
                    <a:pt x="92" y="180"/>
                    <a:pt x="93" y="195"/>
                    <a:pt x="87" y="202"/>
                  </a:cubicBezTo>
                  <a:cubicBezTo>
                    <a:pt x="82" y="209"/>
                    <a:pt x="64" y="211"/>
                    <a:pt x="62" y="211"/>
                  </a:cubicBezTo>
                  <a:cubicBezTo>
                    <a:pt x="60" y="211"/>
                    <a:pt x="37" y="235"/>
                    <a:pt x="37" y="235"/>
                  </a:cubicBezTo>
                  <a:cubicBezTo>
                    <a:pt x="45" y="247"/>
                    <a:pt x="45" y="247"/>
                    <a:pt x="45" y="247"/>
                  </a:cubicBezTo>
                  <a:cubicBezTo>
                    <a:pt x="13" y="271"/>
                    <a:pt x="13" y="271"/>
                    <a:pt x="13" y="271"/>
                  </a:cubicBezTo>
                  <a:cubicBezTo>
                    <a:pt x="12" y="283"/>
                    <a:pt x="12" y="283"/>
                    <a:pt x="12" y="283"/>
                  </a:cubicBezTo>
                  <a:cubicBezTo>
                    <a:pt x="0" y="293"/>
                    <a:pt x="0" y="293"/>
                    <a:pt x="0" y="293"/>
                  </a:cubicBezTo>
                  <a:cubicBezTo>
                    <a:pt x="0" y="293"/>
                    <a:pt x="0" y="321"/>
                    <a:pt x="5" y="323"/>
                  </a:cubicBezTo>
                  <a:cubicBezTo>
                    <a:pt x="11" y="326"/>
                    <a:pt x="11" y="339"/>
                    <a:pt x="11" y="339"/>
                  </a:cubicBezTo>
                  <a:cubicBezTo>
                    <a:pt x="9" y="346"/>
                    <a:pt x="9" y="346"/>
                    <a:pt x="9" y="346"/>
                  </a:cubicBezTo>
                  <a:cubicBezTo>
                    <a:pt x="9" y="346"/>
                    <a:pt x="11" y="363"/>
                    <a:pt x="13" y="363"/>
                  </a:cubicBezTo>
                  <a:cubicBezTo>
                    <a:pt x="16" y="363"/>
                    <a:pt x="17" y="358"/>
                    <a:pt x="17" y="358"/>
                  </a:cubicBezTo>
                  <a:cubicBezTo>
                    <a:pt x="32" y="359"/>
                    <a:pt x="32" y="359"/>
                    <a:pt x="32" y="359"/>
                  </a:cubicBezTo>
                  <a:cubicBezTo>
                    <a:pt x="31" y="364"/>
                    <a:pt x="31" y="364"/>
                    <a:pt x="31" y="364"/>
                  </a:cubicBezTo>
                  <a:cubicBezTo>
                    <a:pt x="31" y="364"/>
                    <a:pt x="16" y="362"/>
                    <a:pt x="21" y="370"/>
                  </a:cubicBezTo>
                  <a:cubicBezTo>
                    <a:pt x="26" y="378"/>
                    <a:pt x="31" y="383"/>
                    <a:pt x="32" y="383"/>
                  </a:cubicBezTo>
                  <a:cubicBezTo>
                    <a:pt x="34" y="383"/>
                    <a:pt x="40" y="375"/>
                    <a:pt x="40" y="375"/>
                  </a:cubicBezTo>
                  <a:cubicBezTo>
                    <a:pt x="54" y="387"/>
                    <a:pt x="54" y="387"/>
                    <a:pt x="54" y="387"/>
                  </a:cubicBezTo>
                  <a:cubicBezTo>
                    <a:pt x="67" y="387"/>
                    <a:pt x="67" y="387"/>
                    <a:pt x="67" y="387"/>
                  </a:cubicBezTo>
                  <a:cubicBezTo>
                    <a:pt x="67" y="387"/>
                    <a:pt x="69" y="398"/>
                    <a:pt x="72" y="398"/>
                  </a:cubicBezTo>
                  <a:cubicBezTo>
                    <a:pt x="76" y="398"/>
                    <a:pt x="87" y="398"/>
                    <a:pt x="87" y="398"/>
                  </a:cubicBezTo>
                  <a:cubicBezTo>
                    <a:pt x="87" y="398"/>
                    <a:pt x="86" y="407"/>
                    <a:pt x="100" y="409"/>
                  </a:cubicBezTo>
                  <a:cubicBezTo>
                    <a:pt x="115" y="411"/>
                    <a:pt x="133" y="416"/>
                    <a:pt x="133" y="416"/>
                  </a:cubicBezTo>
                  <a:cubicBezTo>
                    <a:pt x="145" y="429"/>
                    <a:pt x="145" y="429"/>
                    <a:pt x="145" y="429"/>
                  </a:cubicBezTo>
                  <a:cubicBezTo>
                    <a:pt x="147" y="422"/>
                    <a:pt x="150" y="410"/>
                    <a:pt x="152" y="410"/>
                  </a:cubicBezTo>
                  <a:cubicBezTo>
                    <a:pt x="155" y="410"/>
                    <a:pt x="165" y="410"/>
                    <a:pt x="165" y="410"/>
                  </a:cubicBezTo>
                  <a:cubicBezTo>
                    <a:pt x="165" y="410"/>
                    <a:pt x="154" y="385"/>
                    <a:pt x="179" y="381"/>
                  </a:cubicBezTo>
                  <a:cubicBezTo>
                    <a:pt x="203" y="378"/>
                    <a:pt x="209" y="378"/>
                    <a:pt x="211" y="377"/>
                  </a:cubicBezTo>
                  <a:cubicBezTo>
                    <a:pt x="213" y="375"/>
                    <a:pt x="226" y="367"/>
                    <a:pt x="226" y="367"/>
                  </a:cubicBezTo>
                  <a:cubicBezTo>
                    <a:pt x="233" y="378"/>
                    <a:pt x="233" y="378"/>
                    <a:pt x="233" y="378"/>
                  </a:cubicBezTo>
                  <a:cubicBezTo>
                    <a:pt x="254" y="359"/>
                    <a:pt x="254" y="359"/>
                    <a:pt x="254" y="359"/>
                  </a:cubicBezTo>
                  <a:cubicBezTo>
                    <a:pt x="273" y="362"/>
                    <a:pt x="273" y="362"/>
                    <a:pt x="273" y="362"/>
                  </a:cubicBezTo>
                  <a:cubicBezTo>
                    <a:pt x="281" y="356"/>
                    <a:pt x="281" y="356"/>
                    <a:pt x="281" y="356"/>
                  </a:cubicBezTo>
                  <a:cubicBezTo>
                    <a:pt x="289" y="362"/>
                    <a:pt x="289" y="362"/>
                    <a:pt x="289" y="362"/>
                  </a:cubicBezTo>
                  <a:cubicBezTo>
                    <a:pt x="301" y="356"/>
                    <a:pt x="301" y="356"/>
                    <a:pt x="301" y="356"/>
                  </a:cubicBezTo>
                  <a:cubicBezTo>
                    <a:pt x="301" y="356"/>
                    <a:pt x="323" y="369"/>
                    <a:pt x="323" y="368"/>
                  </a:cubicBezTo>
                  <a:cubicBezTo>
                    <a:pt x="324" y="367"/>
                    <a:pt x="362" y="340"/>
                    <a:pt x="362" y="340"/>
                  </a:cubicBezTo>
                  <a:cubicBezTo>
                    <a:pt x="352" y="330"/>
                    <a:pt x="352" y="330"/>
                    <a:pt x="352" y="330"/>
                  </a:cubicBezTo>
                  <a:cubicBezTo>
                    <a:pt x="352" y="330"/>
                    <a:pt x="371" y="320"/>
                    <a:pt x="363" y="315"/>
                  </a:cubicBezTo>
                  <a:cubicBezTo>
                    <a:pt x="355" y="310"/>
                    <a:pt x="346" y="307"/>
                    <a:pt x="347" y="305"/>
                  </a:cubicBezTo>
                  <a:cubicBezTo>
                    <a:pt x="348" y="303"/>
                    <a:pt x="366" y="283"/>
                    <a:pt x="368" y="279"/>
                  </a:cubicBezTo>
                  <a:cubicBezTo>
                    <a:pt x="370" y="274"/>
                    <a:pt x="367" y="263"/>
                    <a:pt x="366" y="262"/>
                  </a:cubicBezTo>
                  <a:cubicBezTo>
                    <a:pt x="364" y="261"/>
                    <a:pt x="349" y="249"/>
                    <a:pt x="353" y="243"/>
                  </a:cubicBezTo>
                  <a:cubicBezTo>
                    <a:pt x="356" y="238"/>
                    <a:pt x="362" y="235"/>
                    <a:pt x="362" y="234"/>
                  </a:cubicBezTo>
                  <a:cubicBezTo>
                    <a:pt x="362" y="234"/>
                    <a:pt x="360" y="220"/>
                    <a:pt x="360" y="220"/>
                  </a:cubicBezTo>
                  <a:cubicBezTo>
                    <a:pt x="372" y="213"/>
                    <a:pt x="372" y="213"/>
                    <a:pt x="372" y="213"/>
                  </a:cubicBezTo>
                  <a:cubicBezTo>
                    <a:pt x="393" y="212"/>
                    <a:pt x="393" y="212"/>
                    <a:pt x="393" y="212"/>
                  </a:cubicBezTo>
                  <a:cubicBezTo>
                    <a:pt x="379" y="188"/>
                    <a:pt x="379" y="188"/>
                    <a:pt x="379" y="188"/>
                  </a:cubicBezTo>
                  <a:cubicBezTo>
                    <a:pt x="389" y="182"/>
                    <a:pt x="389" y="182"/>
                    <a:pt x="389" y="182"/>
                  </a:cubicBezTo>
                  <a:cubicBezTo>
                    <a:pt x="389" y="182"/>
                    <a:pt x="380" y="161"/>
                    <a:pt x="384" y="158"/>
                  </a:cubicBezTo>
                  <a:cubicBezTo>
                    <a:pt x="387" y="156"/>
                    <a:pt x="407" y="166"/>
                    <a:pt x="407" y="164"/>
                  </a:cubicBezTo>
                  <a:cubicBezTo>
                    <a:pt x="407" y="163"/>
                    <a:pt x="396" y="136"/>
                    <a:pt x="409" y="142"/>
                  </a:cubicBezTo>
                  <a:cubicBezTo>
                    <a:pt x="422" y="148"/>
                    <a:pt x="424" y="153"/>
                    <a:pt x="424" y="153"/>
                  </a:cubicBezTo>
                  <a:cubicBezTo>
                    <a:pt x="436" y="150"/>
                    <a:pt x="436" y="150"/>
                    <a:pt x="436" y="150"/>
                  </a:cubicBezTo>
                  <a:cubicBezTo>
                    <a:pt x="437" y="127"/>
                    <a:pt x="437" y="127"/>
                    <a:pt x="437" y="127"/>
                  </a:cubicBezTo>
                  <a:cubicBezTo>
                    <a:pt x="446" y="121"/>
                    <a:pt x="446" y="121"/>
                    <a:pt x="446" y="121"/>
                  </a:cubicBezTo>
                  <a:lnTo>
                    <a:pt x="421" y="96"/>
                  </a:lnTo>
                  <a:close/>
                  <a:moveTo>
                    <a:pt x="356" y="206"/>
                  </a:moveTo>
                  <a:cubicBezTo>
                    <a:pt x="355" y="215"/>
                    <a:pt x="355" y="215"/>
                    <a:pt x="355" y="215"/>
                  </a:cubicBezTo>
                  <a:cubicBezTo>
                    <a:pt x="351" y="220"/>
                    <a:pt x="351" y="220"/>
                    <a:pt x="351" y="220"/>
                  </a:cubicBezTo>
                  <a:cubicBezTo>
                    <a:pt x="306" y="219"/>
                    <a:pt x="306" y="219"/>
                    <a:pt x="306" y="219"/>
                  </a:cubicBezTo>
                  <a:cubicBezTo>
                    <a:pt x="306" y="219"/>
                    <a:pt x="301" y="215"/>
                    <a:pt x="301" y="211"/>
                  </a:cubicBezTo>
                  <a:cubicBezTo>
                    <a:pt x="301" y="206"/>
                    <a:pt x="306" y="205"/>
                    <a:pt x="306" y="205"/>
                  </a:cubicBezTo>
                  <a:cubicBezTo>
                    <a:pt x="305" y="194"/>
                    <a:pt x="305" y="194"/>
                    <a:pt x="305" y="194"/>
                  </a:cubicBezTo>
                  <a:cubicBezTo>
                    <a:pt x="309" y="190"/>
                    <a:pt x="309" y="190"/>
                    <a:pt x="309" y="190"/>
                  </a:cubicBezTo>
                  <a:cubicBezTo>
                    <a:pt x="352" y="189"/>
                    <a:pt x="352" y="189"/>
                    <a:pt x="352" y="189"/>
                  </a:cubicBezTo>
                  <a:cubicBezTo>
                    <a:pt x="358" y="197"/>
                    <a:pt x="358" y="197"/>
                    <a:pt x="358" y="197"/>
                  </a:cubicBezTo>
                  <a:lnTo>
                    <a:pt x="356" y="20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4" name="Freeform 328">
              <a:extLst>
                <a:ext uri="{FF2B5EF4-FFF2-40B4-BE49-F238E27FC236}">
                  <a16:creationId xmlns:a16="http://schemas.microsoft.com/office/drawing/2014/main" id="{FF914D0C-57F5-47F9-863C-1E0033098BCB}"/>
                </a:ext>
              </a:extLst>
            </p:cNvPr>
            <p:cNvSpPr>
              <a:spLocks noChangeAspect="1"/>
            </p:cNvSpPr>
            <p:nvPr/>
          </p:nvSpPr>
          <p:spPr bwMode="auto">
            <a:xfrm>
              <a:off x="13209" y="2711"/>
              <a:ext cx="114" cy="62"/>
            </a:xfrm>
            <a:custGeom>
              <a:avLst/>
              <a:gdLst>
                <a:gd name="T0" fmla="*/ 4096 w 57"/>
                <a:gd name="T1" fmla="*/ 512 h 31"/>
                <a:gd name="T2" fmla="*/ 2048 w 57"/>
                <a:gd name="T3" fmla="*/ 2560 h 31"/>
                <a:gd name="T4" fmla="*/ 2560 w 57"/>
                <a:gd name="T5" fmla="*/ 8192 h 31"/>
                <a:gd name="T6" fmla="*/ 0 w 57"/>
                <a:gd name="T7" fmla="*/ 11264 h 31"/>
                <a:gd name="T8" fmla="*/ 2560 w 57"/>
                <a:gd name="T9" fmla="*/ 15360 h 31"/>
                <a:gd name="T10" fmla="*/ 25600 w 57"/>
                <a:gd name="T11" fmla="*/ 15872 h 31"/>
                <a:gd name="T12" fmla="*/ 27648 w 57"/>
                <a:gd name="T13" fmla="*/ 13312 h 31"/>
                <a:gd name="T14" fmla="*/ 28160 w 57"/>
                <a:gd name="T15" fmla="*/ 8704 h 31"/>
                <a:gd name="T16" fmla="*/ 29184 w 57"/>
                <a:gd name="T17" fmla="*/ 4096 h 31"/>
                <a:gd name="T18" fmla="*/ 26112 w 57"/>
                <a:gd name="T19" fmla="*/ 0 h 31"/>
                <a:gd name="T20" fmla="*/ 4096 w 57"/>
                <a:gd name="T21" fmla="*/ 51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1"/>
                <a:gd name="T35" fmla="*/ 57 w 5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1">
                  <a:moveTo>
                    <a:pt x="8" y="1"/>
                  </a:moveTo>
                  <a:cubicBezTo>
                    <a:pt x="4" y="5"/>
                    <a:pt x="4" y="5"/>
                    <a:pt x="4" y="5"/>
                  </a:cubicBezTo>
                  <a:cubicBezTo>
                    <a:pt x="5" y="16"/>
                    <a:pt x="5" y="16"/>
                    <a:pt x="5" y="16"/>
                  </a:cubicBezTo>
                  <a:cubicBezTo>
                    <a:pt x="5" y="16"/>
                    <a:pt x="0" y="17"/>
                    <a:pt x="0" y="22"/>
                  </a:cubicBezTo>
                  <a:cubicBezTo>
                    <a:pt x="0" y="26"/>
                    <a:pt x="5" y="30"/>
                    <a:pt x="5" y="30"/>
                  </a:cubicBezTo>
                  <a:cubicBezTo>
                    <a:pt x="50" y="31"/>
                    <a:pt x="50" y="31"/>
                    <a:pt x="50" y="31"/>
                  </a:cubicBezTo>
                  <a:cubicBezTo>
                    <a:pt x="54" y="26"/>
                    <a:pt x="54" y="26"/>
                    <a:pt x="54" y="26"/>
                  </a:cubicBezTo>
                  <a:cubicBezTo>
                    <a:pt x="55" y="17"/>
                    <a:pt x="55" y="17"/>
                    <a:pt x="55" y="17"/>
                  </a:cubicBezTo>
                  <a:cubicBezTo>
                    <a:pt x="57" y="8"/>
                    <a:pt x="57" y="8"/>
                    <a:pt x="57" y="8"/>
                  </a:cubicBezTo>
                  <a:cubicBezTo>
                    <a:pt x="51" y="0"/>
                    <a:pt x="51" y="0"/>
                    <a:pt x="51" y="0"/>
                  </a:cubicBezTo>
                  <a:lnTo>
                    <a:pt x="8" y="1"/>
                  </a:lnTo>
                  <a:close/>
                </a:path>
              </a:pathLst>
            </a:custGeom>
            <a:grpFill/>
            <a:ln w="12700">
              <a:solidFill>
                <a:schemeClr val="bg1"/>
              </a:solidFill>
              <a:round/>
              <a:headEnd/>
              <a:tailEnd/>
            </a:ln>
          </p:spPr>
          <p:txBody>
            <a:bodyPr/>
            <a:lstStyle/>
            <a:p>
              <a:endParaRPr lang="en-US" sz="500" dirty="0">
                <a:solidFill>
                  <a:srgbClr val="000000"/>
                </a:solidFill>
              </a:endParaRPr>
            </a:p>
          </p:txBody>
        </p:sp>
        <p:sp>
          <p:nvSpPr>
            <p:cNvPr id="95" name="Freeform 330">
              <a:extLst>
                <a:ext uri="{FF2B5EF4-FFF2-40B4-BE49-F238E27FC236}">
                  <a16:creationId xmlns:a16="http://schemas.microsoft.com/office/drawing/2014/main" id="{34BFC9F9-6934-4891-B35E-A9093D8DAC93}"/>
                </a:ext>
              </a:extLst>
            </p:cNvPr>
            <p:cNvSpPr>
              <a:spLocks noChangeAspect="1"/>
            </p:cNvSpPr>
            <p:nvPr/>
          </p:nvSpPr>
          <p:spPr bwMode="auto">
            <a:xfrm>
              <a:off x="12436" y="3555"/>
              <a:ext cx="812" cy="490"/>
            </a:xfrm>
            <a:custGeom>
              <a:avLst/>
              <a:gdLst/>
              <a:ahLst/>
              <a:cxnLst>
                <a:cxn ang="0">
                  <a:pos x="77" y="226"/>
                </a:cxn>
                <a:cxn ang="0">
                  <a:pos x="89" y="231"/>
                </a:cxn>
                <a:cxn ang="0">
                  <a:pos x="97" y="237"/>
                </a:cxn>
                <a:cxn ang="0">
                  <a:pos x="103" y="231"/>
                </a:cxn>
                <a:cxn ang="0">
                  <a:pos x="123" y="233"/>
                </a:cxn>
                <a:cxn ang="0">
                  <a:pos x="128" y="236"/>
                </a:cxn>
                <a:cxn ang="0">
                  <a:pos x="158" y="243"/>
                </a:cxn>
                <a:cxn ang="0">
                  <a:pos x="173" y="237"/>
                </a:cxn>
                <a:cxn ang="0">
                  <a:pos x="195" y="243"/>
                </a:cxn>
                <a:cxn ang="0">
                  <a:pos x="204" y="238"/>
                </a:cxn>
                <a:cxn ang="0">
                  <a:pos x="213" y="227"/>
                </a:cxn>
                <a:cxn ang="0">
                  <a:pos x="236" y="225"/>
                </a:cxn>
                <a:cxn ang="0">
                  <a:pos x="248" y="212"/>
                </a:cxn>
                <a:cxn ang="0">
                  <a:pos x="262" y="220"/>
                </a:cxn>
                <a:cxn ang="0">
                  <a:pos x="289" y="214"/>
                </a:cxn>
                <a:cxn ang="0">
                  <a:pos x="302" y="225"/>
                </a:cxn>
                <a:cxn ang="0">
                  <a:pos x="314" y="224"/>
                </a:cxn>
                <a:cxn ang="0">
                  <a:pos x="329" y="212"/>
                </a:cxn>
                <a:cxn ang="0">
                  <a:pos x="363" y="212"/>
                </a:cxn>
                <a:cxn ang="0">
                  <a:pos x="362" y="212"/>
                </a:cxn>
                <a:cxn ang="0">
                  <a:pos x="371" y="201"/>
                </a:cxn>
                <a:cxn ang="0">
                  <a:pos x="404" y="167"/>
                </a:cxn>
                <a:cxn ang="0">
                  <a:pos x="388" y="152"/>
                </a:cxn>
                <a:cxn ang="0">
                  <a:pos x="367" y="156"/>
                </a:cxn>
                <a:cxn ang="0">
                  <a:pos x="370" y="134"/>
                </a:cxn>
                <a:cxn ang="0">
                  <a:pos x="322" y="132"/>
                </a:cxn>
                <a:cxn ang="0">
                  <a:pos x="329" y="110"/>
                </a:cxn>
                <a:cxn ang="0">
                  <a:pos x="307" y="84"/>
                </a:cxn>
                <a:cxn ang="0">
                  <a:pos x="302" y="45"/>
                </a:cxn>
                <a:cxn ang="0">
                  <a:pos x="288" y="29"/>
                </a:cxn>
                <a:cxn ang="0">
                  <a:pos x="248" y="26"/>
                </a:cxn>
                <a:cxn ang="0">
                  <a:pos x="236" y="29"/>
                </a:cxn>
                <a:cxn ang="0">
                  <a:pos x="198" y="8"/>
                </a:cxn>
                <a:cxn ang="0">
                  <a:pos x="180" y="12"/>
                </a:cxn>
                <a:cxn ang="0">
                  <a:pos x="155" y="0"/>
                </a:cxn>
                <a:cxn ang="0">
                  <a:pos x="149" y="13"/>
                </a:cxn>
                <a:cxn ang="0">
                  <a:pos x="127" y="5"/>
                </a:cxn>
                <a:cxn ang="0">
                  <a:pos x="116" y="10"/>
                </a:cxn>
                <a:cxn ang="0">
                  <a:pos x="110" y="3"/>
                </a:cxn>
                <a:cxn ang="0">
                  <a:pos x="96" y="5"/>
                </a:cxn>
                <a:cxn ang="0">
                  <a:pos x="89" y="15"/>
                </a:cxn>
                <a:cxn ang="0">
                  <a:pos x="62" y="26"/>
                </a:cxn>
                <a:cxn ang="0">
                  <a:pos x="58" y="48"/>
                </a:cxn>
                <a:cxn ang="0">
                  <a:pos x="40" y="58"/>
                </a:cxn>
                <a:cxn ang="0">
                  <a:pos x="31" y="91"/>
                </a:cxn>
                <a:cxn ang="0">
                  <a:pos x="22" y="97"/>
                </a:cxn>
                <a:cxn ang="0">
                  <a:pos x="23" y="103"/>
                </a:cxn>
                <a:cxn ang="0">
                  <a:pos x="29" y="109"/>
                </a:cxn>
                <a:cxn ang="0">
                  <a:pos x="23" y="117"/>
                </a:cxn>
                <a:cxn ang="0">
                  <a:pos x="21" y="134"/>
                </a:cxn>
                <a:cxn ang="0">
                  <a:pos x="12" y="156"/>
                </a:cxn>
                <a:cxn ang="0">
                  <a:pos x="16" y="163"/>
                </a:cxn>
                <a:cxn ang="0">
                  <a:pos x="3" y="177"/>
                </a:cxn>
                <a:cxn ang="0">
                  <a:pos x="14" y="191"/>
                </a:cxn>
                <a:cxn ang="0">
                  <a:pos x="33" y="183"/>
                </a:cxn>
                <a:cxn ang="0">
                  <a:pos x="48" y="192"/>
                </a:cxn>
                <a:cxn ang="0">
                  <a:pos x="53" y="211"/>
                </a:cxn>
                <a:cxn ang="0">
                  <a:pos x="62" y="222"/>
                </a:cxn>
                <a:cxn ang="0">
                  <a:pos x="64" y="228"/>
                </a:cxn>
                <a:cxn ang="0">
                  <a:pos x="71" y="231"/>
                </a:cxn>
                <a:cxn ang="0">
                  <a:pos x="77" y="226"/>
                </a:cxn>
              </a:cxnLst>
              <a:rect l="0" t="0" r="r" b="b"/>
              <a:pathLst>
                <a:path w="404" h="245">
                  <a:moveTo>
                    <a:pt x="77" y="226"/>
                  </a:moveTo>
                  <a:cubicBezTo>
                    <a:pt x="77" y="226"/>
                    <a:pt x="86" y="228"/>
                    <a:pt x="89" y="231"/>
                  </a:cubicBezTo>
                  <a:cubicBezTo>
                    <a:pt x="91" y="233"/>
                    <a:pt x="96" y="237"/>
                    <a:pt x="97" y="237"/>
                  </a:cubicBezTo>
                  <a:cubicBezTo>
                    <a:pt x="98" y="236"/>
                    <a:pt x="103" y="231"/>
                    <a:pt x="103" y="231"/>
                  </a:cubicBezTo>
                  <a:cubicBezTo>
                    <a:pt x="104" y="231"/>
                    <a:pt x="123" y="233"/>
                    <a:pt x="123" y="233"/>
                  </a:cubicBezTo>
                  <a:cubicBezTo>
                    <a:pt x="123" y="233"/>
                    <a:pt x="126" y="236"/>
                    <a:pt x="128" y="236"/>
                  </a:cubicBezTo>
                  <a:cubicBezTo>
                    <a:pt x="129" y="236"/>
                    <a:pt x="153" y="243"/>
                    <a:pt x="158" y="243"/>
                  </a:cubicBezTo>
                  <a:cubicBezTo>
                    <a:pt x="163" y="242"/>
                    <a:pt x="173" y="237"/>
                    <a:pt x="173" y="237"/>
                  </a:cubicBezTo>
                  <a:cubicBezTo>
                    <a:pt x="173" y="237"/>
                    <a:pt x="193" y="245"/>
                    <a:pt x="195" y="243"/>
                  </a:cubicBezTo>
                  <a:cubicBezTo>
                    <a:pt x="197" y="242"/>
                    <a:pt x="204" y="238"/>
                    <a:pt x="204" y="238"/>
                  </a:cubicBezTo>
                  <a:cubicBezTo>
                    <a:pt x="204" y="237"/>
                    <a:pt x="211" y="227"/>
                    <a:pt x="213" y="227"/>
                  </a:cubicBezTo>
                  <a:cubicBezTo>
                    <a:pt x="215" y="226"/>
                    <a:pt x="235" y="225"/>
                    <a:pt x="236" y="225"/>
                  </a:cubicBezTo>
                  <a:cubicBezTo>
                    <a:pt x="237" y="225"/>
                    <a:pt x="240" y="209"/>
                    <a:pt x="248" y="212"/>
                  </a:cubicBezTo>
                  <a:cubicBezTo>
                    <a:pt x="256" y="214"/>
                    <a:pt x="261" y="220"/>
                    <a:pt x="262" y="220"/>
                  </a:cubicBezTo>
                  <a:cubicBezTo>
                    <a:pt x="263" y="219"/>
                    <a:pt x="280" y="207"/>
                    <a:pt x="289" y="214"/>
                  </a:cubicBezTo>
                  <a:cubicBezTo>
                    <a:pt x="299" y="220"/>
                    <a:pt x="302" y="225"/>
                    <a:pt x="302" y="225"/>
                  </a:cubicBezTo>
                  <a:cubicBezTo>
                    <a:pt x="302" y="225"/>
                    <a:pt x="314" y="225"/>
                    <a:pt x="314" y="224"/>
                  </a:cubicBezTo>
                  <a:cubicBezTo>
                    <a:pt x="314" y="223"/>
                    <a:pt x="328" y="212"/>
                    <a:pt x="329" y="212"/>
                  </a:cubicBezTo>
                  <a:cubicBezTo>
                    <a:pt x="330" y="212"/>
                    <a:pt x="350" y="212"/>
                    <a:pt x="363" y="212"/>
                  </a:cubicBezTo>
                  <a:cubicBezTo>
                    <a:pt x="363" y="212"/>
                    <a:pt x="362" y="212"/>
                    <a:pt x="362" y="212"/>
                  </a:cubicBezTo>
                  <a:cubicBezTo>
                    <a:pt x="362" y="204"/>
                    <a:pt x="371" y="201"/>
                    <a:pt x="371" y="201"/>
                  </a:cubicBezTo>
                  <a:cubicBezTo>
                    <a:pt x="404" y="167"/>
                    <a:pt x="404" y="167"/>
                    <a:pt x="404" y="167"/>
                  </a:cubicBezTo>
                  <a:cubicBezTo>
                    <a:pt x="388" y="152"/>
                    <a:pt x="388" y="152"/>
                    <a:pt x="388" y="152"/>
                  </a:cubicBezTo>
                  <a:cubicBezTo>
                    <a:pt x="367" y="156"/>
                    <a:pt x="367" y="156"/>
                    <a:pt x="367" y="156"/>
                  </a:cubicBezTo>
                  <a:cubicBezTo>
                    <a:pt x="370" y="134"/>
                    <a:pt x="370" y="134"/>
                    <a:pt x="370" y="134"/>
                  </a:cubicBezTo>
                  <a:cubicBezTo>
                    <a:pt x="322" y="132"/>
                    <a:pt x="322" y="132"/>
                    <a:pt x="322" y="132"/>
                  </a:cubicBezTo>
                  <a:cubicBezTo>
                    <a:pt x="329" y="110"/>
                    <a:pt x="329" y="110"/>
                    <a:pt x="329" y="110"/>
                  </a:cubicBezTo>
                  <a:cubicBezTo>
                    <a:pt x="307" y="84"/>
                    <a:pt x="307" y="84"/>
                    <a:pt x="307" y="84"/>
                  </a:cubicBezTo>
                  <a:cubicBezTo>
                    <a:pt x="307" y="84"/>
                    <a:pt x="310" y="57"/>
                    <a:pt x="302" y="45"/>
                  </a:cubicBezTo>
                  <a:cubicBezTo>
                    <a:pt x="295" y="33"/>
                    <a:pt x="288" y="29"/>
                    <a:pt x="288" y="29"/>
                  </a:cubicBezTo>
                  <a:cubicBezTo>
                    <a:pt x="248" y="26"/>
                    <a:pt x="248" y="26"/>
                    <a:pt x="248" y="26"/>
                  </a:cubicBezTo>
                  <a:cubicBezTo>
                    <a:pt x="236" y="29"/>
                    <a:pt x="236" y="29"/>
                    <a:pt x="236" y="29"/>
                  </a:cubicBezTo>
                  <a:cubicBezTo>
                    <a:pt x="236" y="29"/>
                    <a:pt x="198" y="9"/>
                    <a:pt x="198" y="8"/>
                  </a:cubicBezTo>
                  <a:cubicBezTo>
                    <a:pt x="197" y="8"/>
                    <a:pt x="180" y="12"/>
                    <a:pt x="180" y="12"/>
                  </a:cubicBezTo>
                  <a:cubicBezTo>
                    <a:pt x="155" y="0"/>
                    <a:pt x="155" y="0"/>
                    <a:pt x="155" y="0"/>
                  </a:cubicBezTo>
                  <a:cubicBezTo>
                    <a:pt x="155" y="0"/>
                    <a:pt x="150" y="12"/>
                    <a:pt x="149" y="13"/>
                  </a:cubicBezTo>
                  <a:cubicBezTo>
                    <a:pt x="149" y="14"/>
                    <a:pt x="127" y="5"/>
                    <a:pt x="127" y="5"/>
                  </a:cubicBezTo>
                  <a:cubicBezTo>
                    <a:pt x="127" y="5"/>
                    <a:pt x="117" y="10"/>
                    <a:pt x="116" y="10"/>
                  </a:cubicBezTo>
                  <a:cubicBezTo>
                    <a:pt x="115" y="10"/>
                    <a:pt x="110" y="3"/>
                    <a:pt x="110" y="3"/>
                  </a:cubicBezTo>
                  <a:cubicBezTo>
                    <a:pt x="96" y="5"/>
                    <a:pt x="96" y="5"/>
                    <a:pt x="96" y="5"/>
                  </a:cubicBezTo>
                  <a:cubicBezTo>
                    <a:pt x="89" y="15"/>
                    <a:pt x="89" y="15"/>
                    <a:pt x="89" y="15"/>
                  </a:cubicBezTo>
                  <a:cubicBezTo>
                    <a:pt x="62" y="26"/>
                    <a:pt x="62" y="26"/>
                    <a:pt x="62" y="26"/>
                  </a:cubicBezTo>
                  <a:cubicBezTo>
                    <a:pt x="62" y="26"/>
                    <a:pt x="59" y="45"/>
                    <a:pt x="58" y="48"/>
                  </a:cubicBezTo>
                  <a:cubicBezTo>
                    <a:pt x="56" y="52"/>
                    <a:pt x="40" y="58"/>
                    <a:pt x="40" y="58"/>
                  </a:cubicBezTo>
                  <a:cubicBezTo>
                    <a:pt x="31" y="91"/>
                    <a:pt x="31" y="91"/>
                    <a:pt x="31" y="91"/>
                  </a:cubicBezTo>
                  <a:cubicBezTo>
                    <a:pt x="31" y="91"/>
                    <a:pt x="26" y="94"/>
                    <a:pt x="22" y="97"/>
                  </a:cubicBezTo>
                  <a:cubicBezTo>
                    <a:pt x="23" y="103"/>
                    <a:pt x="23" y="103"/>
                    <a:pt x="23" y="103"/>
                  </a:cubicBezTo>
                  <a:cubicBezTo>
                    <a:pt x="29" y="109"/>
                    <a:pt x="29" y="109"/>
                    <a:pt x="29" y="109"/>
                  </a:cubicBezTo>
                  <a:cubicBezTo>
                    <a:pt x="23" y="117"/>
                    <a:pt x="23" y="117"/>
                    <a:pt x="23" y="117"/>
                  </a:cubicBezTo>
                  <a:cubicBezTo>
                    <a:pt x="23" y="117"/>
                    <a:pt x="26" y="128"/>
                    <a:pt x="21" y="134"/>
                  </a:cubicBezTo>
                  <a:cubicBezTo>
                    <a:pt x="17" y="140"/>
                    <a:pt x="12" y="156"/>
                    <a:pt x="12" y="156"/>
                  </a:cubicBezTo>
                  <a:cubicBezTo>
                    <a:pt x="16" y="163"/>
                    <a:pt x="16" y="163"/>
                    <a:pt x="16" y="163"/>
                  </a:cubicBezTo>
                  <a:cubicBezTo>
                    <a:pt x="16" y="163"/>
                    <a:pt x="6" y="172"/>
                    <a:pt x="3" y="177"/>
                  </a:cubicBezTo>
                  <a:cubicBezTo>
                    <a:pt x="0" y="183"/>
                    <a:pt x="14" y="191"/>
                    <a:pt x="14" y="191"/>
                  </a:cubicBezTo>
                  <a:cubicBezTo>
                    <a:pt x="33" y="183"/>
                    <a:pt x="33" y="183"/>
                    <a:pt x="33" y="183"/>
                  </a:cubicBezTo>
                  <a:cubicBezTo>
                    <a:pt x="33" y="183"/>
                    <a:pt x="44" y="189"/>
                    <a:pt x="48" y="192"/>
                  </a:cubicBezTo>
                  <a:cubicBezTo>
                    <a:pt x="52" y="194"/>
                    <a:pt x="53" y="206"/>
                    <a:pt x="53" y="211"/>
                  </a:cubicBezTo>
                  <a:cubicBezTo>
                    <a:pt x="53" y="217"/>
                    <a:pt x="55" y="217"/>
                    <a:pt x="62" y="222"/>
                  </a:cubicBezTo>
                  <a:cubicBezTo>
                    <a:pt x="65" y="224"/>
                    <a:pt x="65" y="226"/>
                    <a:pt x="64" y="228"/>
                  </a:cubicBezTo>
                  <a:cubicBezTo>
                    <a:pt x="71" y="231"/>
                    <a:pt x="71" y="231"/>
                    <a:pt x="71" y="231"/>
                  </a:cubicBezTo>
                  <a:lnTo>
                    <a:pt x="77" y="22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6" name="Freeform 331">
              <a:extLst>
                <a:ext uri="{FF2B5EF4-FFF2-40B4-BE49-F238E27FC236}">
                  <a16:creationId xmlns:a16="http://schemas.microsoft.com/office/drawing/2014/main" id="{ECF7C169-F04D-4C77-A002-D736E6B4DCAD}"/>
                </a:ext>
              </a:extLst>
            </p:cNvPr>
            <p:cNvSpPr>
              <a:spLocks noChangeAspect="1"/>
            </p:cNvSpPr>
            <p:nvPr/>
          </p:nvSpPr>
          <p:spPr bwMode="auto">
            <a:xfrm>
              <a:off x="12546" y="3969"/>
              <a:ext cx="653" cy="410"/>
            </a:xfrm>
            <a:custGeom>
              <a:avLst/>
              <a:gdLst/>
              <a:ahLst/>
              <a:cxnLst>
                <a:cxn ang="0">
                  <a:pos x="6" y="30"/>
                </a:cxn>
                <a:cxn ang="0">
                  <a:pos x="1" y="40"/>
                </a:cxn>
                <a:cxn ang="0">
                  <a:pos x="4" y="55"/>
                </a:cxn>
                <a:cxn ang="0">
                  <a:pos x="0" y="70"/>
                </a:cxn>
                <a:cxn ang="0">
                  <a:pos x="13" y="78"/>
                </a:cxn>
                <a:cxn ang="0">
                  <a:pos x="23" y="70"/>
                </a:cxn>
                <a:cxn ang="0">
                  <a:pos x="31" y="78"/>
                </a:cxn>
                <a:cxn ang="0">
                  <a:pos x="43" y="70"/>
                </a:cxn>
                <a:cxn ang="0">
                  <a:pos x="50" y="79"/>
                </a:cxn>
                <a:cxn ang="0">
                  <a:pos x="66" y="78"/>
                </a:cxn>
                <a:cxn ang="0">
                  <a:pos x="119" y="95"/>
                </a:cxn>
                <a:cxn ang="0">
                  <a:pos x="138" y="93"/>
                </a:cxn>
                <a:cxn ang="0">
                  <a:pos x="156" y="112"/>
                </a:cxn>
                <a:cxn ang="0">
                  <a:pos x="196" y="153"/>
                </a:cxn>
                <a:cxn ang="0">
                  <a:pos x="244" y="153"/>
                </a:cxn>
                <a:cxn ang="0">
                  <a:pos x="243" y="162"/>
                </a:cxn>
                <a:cxn ang="0">
                  <a:pos x="229" y="178"/>
                </a:cxn>
                <a:cxn ang="0">
                  <a:pos x="227" y="193"/>
                </a:cxn>
                <a:cxn ang="0">
                  <a:pos x="218" y="199"/>
                </a:cxn>
                <a:cxn ang="0">
                  <a:pos x="222" y="204"/>
                </a:cxn>
                <a:cxn ang="0">
                  <a:pos x="231" y="198"/>
                </a:cxn>
                <a:cxn ang="0">
                  <a:pos x="243" y="205"/>
                </a:cxn>
                <a:cxn ang="0">
                  <a:pos x="278" y="170"/>
                </a:cxn>
                <a:cxn ang="0">
                  <a:pos x="299" y="160"/>
                </a:cxn>
                <a:cxn ang="0">
                  <a:pos x="310" y="128"/>
                </a:cxn>
                <a:cxn ang="0">
                  <a:pos x="324" y="94"/>
                </a:cxn>
                <a:cxn ang="0">
                  <a:pos x="307" y="83"/>
                </a:cxn>
                <a:cxn ang="0">
                  <a:pos x="318" y="74"/>
                </a:cxn>
                <a:cxn ang="0">
                  <a:pos x="306" y="47"/>
                </a:cxn>
                <a:cxn ang="0">
                  <a:pos x="318" y="18"/>
                </a:cxn>
                <a:cxn ang="0">
                  <a:pos x="308" y="5"/>
                </a:cxn>
                <a:cxn ang="0">
                  <a:pos x="274" y="5"/>
                </a:cxn>
                <a:cxn ang="0">
                  <a:pos x="259" y="17"/>
                </a:cxn>
                <a:cxn ang="0">
                  <a:pos x="247" y="18"/>
                </a:cxn>
                <a:cxn ang="0">
                  <a:pos x="234" y="7"/>
                </a:cxn>
                <a:cxn ang="0">
                  <a:pos x="207" y="13"/>
                </a:cxn>
                <a:cxn ang="0">
                  <a:pos x="193" y="5"/>
                </a:cxn>
                <a:cxn ang="0">
                  <a:pos x="181" y="18"/>
                </a:cxn>
                <a:cxn ang="0">
                  <a:pos x="158" y="20"/>
                </a:cxn>
                <a:cxn ang="0">
                  <a:pos x="149" y="31"/>
                </a:cxn>
                <a:cxn ang="0">
                  <a:pos x="140" y="36"/>
                </a:cxn>
                <a:cxn ang="0">
                  <a:pos x="118" y="30"/>
                </a:cxn>
                <a:cxn ang="0">
                  <a:pos x="103" y="36"/>
                </a:cxn>
                <a:cxn ang="0">
                  <a:pos x="73" y="29"/>
                </a:cxn>
                <a:cxn ang="0">
                  <a:pos x="68" y="26"/>
                </a:cxn>
                <a:cxn ang="0">
                  <a:pos x="48" y="24"/>
                </a:cxn>
                <a:cxn ang="0">
                  <a:pos x="42" y="30"/>
                </a:cxn>
                <a:cxn ang="0">
                  <a:pos x="34" y="24"/>
                </a:cxn>
                <a:cxn ang="0">
                  <a:pos x="22" y="19"/>
                </a:cxn>
                <a:cxn ang="0">
                  <a:pos x="16" y="24"/>
                </a:cxn>
                <a:cxn ang="0">
                  <a:pos x="9" y="21"/>
                </a:cxn>
                <a:cxn ang="0">
                  <a:pos x="6" y="30"/>
                </a:cxn>
              </a:cxnLst>
              <a:rect l="0" t="0" r="r" b="b"/>
              <a:pathLst>
                <a:path w="326" h="205">
                  <a:moveTo>
                    <a:pt x="6" y="30"/>
                  </a:moveTo>
                  <a:cubicBezTo>
                    <a:pt x="7" y="35"/>
                    <a:pt x="1" y="40"/>
                    <a:pt x="1" y="40"/>
                  </a:cubicBezTo>
                  <a:cubicBezTo>
                    <a:pt x="1" y="40"/>
                    <a:pt x="4" y="53"/>
                    <a:pt x="4" y="55"/>
                  </a:cubicBezTo>
                  <a:cubicBezTo>
                    <a:pt x="5" y="56"/>
                    <a:pt x="3" y="64"/>
                    <a:pt x="0" y="70"/>
                  </a:cubicBezTo>
                  <a:cubicBezTo>
                    <a:pt x="4" y="74"/>
                    <a:pt x="10" y="78"/>
                    <a:pt x="13" y="78"/>
                  </a:cubicBezTo>
                  <a:cubicBezTo>
                    <a:pt x="17" y="78"/>
                    <a:pt x="23" y="70"/>
                    <a:pt x="23" y="70"/>
                  </a:cubicBezTo>
                  <a:cubicBezTo>
                    <a:pt x="31" y="78"/>
                    <a:pt x="31" y="78"/>
                    <a:pt x="31" y="78"/>
                  </a:cubicBezTo>
                  <a:cubicBezTo>
                    <a:pt x="43" y="70"/>
                    <a:pt x="43" y="70"/>
                    <a:pt x="43" y="70"/>
                  </a:cubicBezTo>
                  <a:cubicBezTo>
                    <a:pt x="43" y="70"/>
                    <a:pt x="50" y="79"/>
                    <a:pt x="50" y="79"/>
                  </a:cubicBezTo>
                  <a:cubicBezTo>
                    <a:pt x="51" y="79"/>
                    <a:pt x="66" y="78"/>
                    <a:pt x="66" y="78"/>
                  </a:cubicBezTo>
                  <a:cubicBezTo>
                    <a:pt x="119" y="95"/>
                    <a:pt x="119" y="95"/>
                    <a:pt x="119" y="95"/>
                  </a:cubicBezTo>
                  <a:cubicBezTo>
                    <a:pt x="119" y="95"/>
                    <a:pt x="130" y="84"/>
                    <a:pt x="138" y="93"/>
                  </a:cubicBezTo>
                  <a:cubicBezTo>
                    <a:pt x="147" y="101"/>
                    <a:pt x="156" y="112"/>
                    <a:pt x="156" y="112"/>
                  </a:cubicBezTo>
                  <a:cubicBezTo>
                    <a:pt x="196" y="153"/>
                    <a:pt x="196" y="153"/>
                    <a:pt x="196" y="153"/>
                  </a:cubicBezTo>
                  <a:cubicBezTo>
                    <a:pt x="196" y="153"/>
                    <a:pt x="245" y="153"/>
                    <a:pt x="244" y="153"/>
                  </a:cubicBezTo>
                  <a:cubicBezTo>
                    <a:pt x="244" y="154"/>
                    <a:pt x="248" y="160"/>
                    <a:pt x="243" y="162"/>
                  </a:cubicBezTo>
                  <a:cubicBezTo>
                    <a:pt x="238" y="164"/>
                    <a:pt x="229" y="178"/>
                    <a:pt x="229" y="178"/>
                  </a:cubicBezTo>
                  <a:cubicBezTo>
                    <a:pt x="227" y="193"/>
                    <a:pt x="227" y="193"/>
                    <a:pt x="227" y="193"/>
                  </a:cubicBezTo>
                  <a:cubicBezTo>
                    <a:pt x="218" y="199"/>
                    <a:pt x="218" y="199"/>
                    <a:pt x="218" y="199"/>
                  </a:cubicBezTo>
                  <a:cubicBezTo>
                    <a:pt x="222" y="204"/>
                    <a:pt x="222" y="204"/>
                    <a:pt x="222" y="204"/>
                  </a:cubicBezTo>
                  <a:cubicBezTo>
                    <a:pt x="231" y="198"/>
                    <a:pt x="231" y="198"/>
                    <a:pt x="231" y="198"/>
                  </a:cubicBezTo>
                  <a:cubicBezTo>
                    <a:pt x="243" y="205"/>
                    <a:pt x="243" y="205"/>
                    <a:pt x="243" y="205"/>
                  </a:cubicBezTo>
                  <a:cubicBezTo>
                    <a:pt x="255" y="190"/>
                    <a:pt x="269" y="178"/>
                    <a:pt x="278" y="170"/>
                  </a:cubicBezTo>
                  <a:cubicBezTo>
                    <a:pt x="289" y="161"/>
                    <a:pt x="292" y="164"/>
                    <a:pt x="299" y="160"/>
                  </a:cubicBezTo>
                  <a:cubicBezTo>
                    <a:pt x="306" y="156"/>
                    <a:pt x="310" y="128"/>
                    <a:pt x="310" y="128"/>
                  </a:cubicBezTo>
                  <a:cubicBezTo>
                    <a:pt x="310" y="128"/>
                    <a:pt x="323" y="94"/>
                    <a:pt x="324" y="94"/>
                  </a:cubicBezTo>
                  <a:cubicBezTo>
                    <a:pt x="326" y="94"/>
                    <a:pt x="307" y="83"/>
                    <a:pt x="307" y="83"/>
                  </a:cubicBezTo>
                  <a:cubicBezTo>
                    <a:pt x="307" y="83"/>
                    <a:pt x="317" y="74"/>
                    <a:pt x="318" y="74"/>
                  </a:cubicBezTo>
                  <a:cubicBezTo>
                    <a:pt x="319" y="74"/>
                    <a:pt x="311" y="58"/>
                    <a:pt x="306" y="47"/>
                  </a:cubicBezTo>
                  <a:cubicBezTo>
                    <a:pt x="302" y="36"/>
                    <a:pt x="315" y="24"/>
                    <a:pt x="318" y="18"/>
                  </a:cubicBezTo>
                  <a:cubicBezTo>
                    <a:pt x="321" y="12"/>
                    <a:pt x="308" y="14"/>
                    <a:pt x="308" y="5"/>
                  </a:cubicBezTo>
                  <a:cubicBezTo>
                    <a:pt x="295" y="5"/>
                    <a:pt x="275" y="5"/>
                    <a:pt x="274" y="5"/>
                  </a:cubicBezTo>
                  <a:cubicBezTo>
                    <a:pt x="273" y="5"/>
                    <a:pt x="259" y="16"/>
                    <a:pt x="259" y="17"/>
                  </a:cubicBezTo>
                  <a:cubicBezTo>
                    <a:pt x="259" y="18"/>
                    <a:pt x="247" y="18"/>
                    <a:pt x="247" y="18"/>
                  </a:cubicBezTo>
                  <a:cubicBezTo>
                    <a:pt x="247" y="18"/>
                    <a:pt x="244" y="13"/>
                    <a:pt x="234" y="7"/>
                  </a:cubicBezTo>
                  <a:cubicBezTo>
                    <a:pt x="225" y="0"/>
                    <a:pt x="208" y="12"/>
                    <a:pt x="207" y="13"/>
                  </a:cubicBezTo>
                  <a:cubicBezTo>
                    <a:pt x="206" y="13"/>
                    <a:pt x="201" y="7"/>
                    <a:pt x="193" y="5"/>
                  </a:cubicBezTo>
                  <a:cubicBezTo>
                    <a:pt x="185" y="2"/>
                    <a:pt x="182" y="18"/>
                    <a:pt x="181" y="18"/>
                  </a:cubicBezTo>
                  <a:cubicBezTo>
                    <a:pt x="180" y="18"/>
                    <a:pt x="160" y="19"/>
                    <a:pt x="158" y="20"/>
                  </a:cubicBezTo>
                  <a:cubicBezTo>
                    <a:pt x="156" y="20"/>
                    <a:pt x="149" y="30"/>
                    <a:pt x="149" y="31"/>
                  </a:cubicBezTo>
                  <a:cubicBezTo>
                    <a:pt x="149" y="31"/>
                    <a:pt x="142" y="35"/>
                    <a:pt x="140" y="36"/>
                  </a:cubicBezTo>
                  <a:cubicBezTo>
                    <a:pt x="138" y="38"/>
                    <a:pt x="118" y="30"/>
                    <a:pt x="118" y="30"/>
                  </a:cubicBezTo>
                  <a:cubicBezTo>
                    <a:pt x="118" y="30"/>
                    <a:pt x="108" y="35"/>
                    <a:pt x="103" y="36"/>
                  </a:cubicBezTo>
                  <a:cubicBezTo>
                    <a:pt x="98" y="36"/>
                    <a:pt x="74" y="29"/>
                    <a:pt x="73" y="29"/>
                  </a:cubicBezTo>
                  <a:cubicBezTo>
                    <a:pt x="71" y="29"/>
                    <a:pt x="68" y="26"/>
                    <a:pt x="68" y="26"/>
                  </a:cubicBezTo>
                  <a:cubicBezTo>
                    <a:pt x="68" y="26"/>
                    <a:pt x="49" y="24"/>
                    <a:pt x="48" y="24"/>
                  </a:cubicBezTo>
                  <a:cubicBezTo>
                    <a:pt x="48" y="24"/>
                    <a:pt x="43" y="29"/>
                    <a:pt x="42" y="30"/>
                  </a:cubicBezTo>
                  <a:cubicBezTo>
                    <a:pt x="41" y="30"/>
                    <a:pt x="36" y="26"/>
                    <a:pt x="34" y="24"/>
                  </a:cubicBezTo>
                  <a:cubicBezTo>
                    <a:pt x="31" y="21"/>
                    <a:pt x="22" y="19"/>
                    <a:pt x="22" y="19"/>
                  </a:cubicBezTo>
                  <a:cubicBezTo>
                    <a:pt x="16" y="24"/>
                    <a:pt x="16" y="24"/>
                    <a:pt x="16" y="24"/>
                  </a:cubicBezTo>
                  <a:cubicBezTo>
                    <a:pt x="9" y="21"/>
                    <a:pt x="9" y="21"/>
                    <a:pt x="9" y="21"/>
                  </a:cubicBezTo>
                  <a:cubicBezTo>
                    <a:pt x="8" y="24"/>
                    <a:pt x="5" y="27"/>
                    <a:pt x="6" y="3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7" name="Freeform 332">
              <a:extLst>
                <a:ext uri="{FF2B5EF4-FFF2-40B4-BE49-F238E27FC236}">
                  <a16:creationId xmlns:a16="http://schemas.microsoft.com/office/drawing/2014/main" id="{58D5947D-6B4B-45C9-A680-930E7419B433}"/>
                </a:ext>
              </a:extLst>
            </p:cNvPr>
            <p:cNvSpPr>
              <a:spLocks noChangeAspect="1"/>
            </p:cNvSpPr>
            <p:nvPr/>
          </p:nvSpPr>
          <p:spPr bwMode="auto">
            <a:xfrm>
              <a:off x="12628" y="3223"/>
              <a:ext cx="1081" cy="664"/>
            </a:xfrm>
            <a:custGeom>
              <a:avLst/>
              <a:gdLst/>
              <a:ahLst/>
              <a:cxnLst>
                <a:cxn ang="0">
                  <a:pos x="529" y="184"/>
                </a:cxn>
                <a:cxn ang="0">
                  <a:pos x="534" y="174"/>
                </a:cxn>
                <a:cxn ang="0">
                  <a:pos x="511" y="172"/>
                </a:cxn>
                <a:cxn ang="0">
                  <a:pos x="501" y="160"/>
                </a:cxn>
                <a:cxn ang="0">
                  <a:pos x="471" y="173"/>
                </a:cxn>
                <a:cxn ang="0">
                  <a:pos x="453" y="173"/>
                </a:cxn>
                <a:cxn ang="0">
                  <a:pos x="440" y="184"/>
                </a:cxn>
                <a:cxn ang="0">
                  <a:pos x="424" y="190"/>
                </a:cxn>
                <a:cxn ang="0">
                  <a:pos x="400" y="178"/>
                </a:cxn>
                <a:cxn ang="0">
                  <a:pos x="388" y="161"/>
                </a:cxn>
                <a:cxn ang="0">
                  <a:pos x="392" y="141"/>
                </a:cxn>
                <a:cxn ang="0">
                  <a:pos x="391" y="132"/>
                </a:cxn>
                <a:cxn ang="0">
                  <a:pos x="395" y="113"/>
                </a:cxn>
                <a:cxn ang="0">
                  <a:pos x="367" y="102"/>
                </a:cxn>
                <a:cxn ang="0">
                  <a:pos x="358" y="79"/>
                </a:cxn>
                <a:cxn ang="0">
                  <a:pos x="361" y="55"/>
                </a:cxn>
                <a:cxn ang="0">
                  <a:pos x="353" y="27"/>
                </a:cxn>
                <a:cxn ang="0">
                  <a:pos x="336" y="14"/>
                </a:cxn>
                <a:cxn ang="0">
                  <a:pos x="321" y="12"/>
                </a:cxn>
                <a:cxn ang="0">
                  <a:pos x="307" y="18"/>
                </a:cxn>
                <a:cxn ang="0">
                  <a:pos x="293" y="17"/>
                </a:cxn>
                <a:cxn ang="0">
                  <a:pos x="270" y="25"/>
                </a:cxn>
                <a:cxn ang="0">
                  <a:pos x="256" y="26"/>
                </a:cxn>
                <a:cxn ang="0">
                  <a:pos x="249" y="29"/>
                </a:cxn>
                <a:cxn ang="0">
                  <a:pos x="236" y="33"/>
                </a:cxn>
                <a:cxn ang="0">
                  <a:pos x="221" y="14"/>
                </a:cxn>
                <a:cxn ang="0">
                  <a:pos x="203" y="8"/>
                </a:cxn>
                <a:cxn ang="0">
                  <a:pos x="175" y="12"/>
                </a:cxn>
                <a:cxn ang="0">
                  <a:pos x="164" y="8"/>
                </a:cxn>
                <a:cxn ang="0">
                  <a:pos x="148" y="10"/>
                </a:cxn>
                <a:cxn ang="0">
                  <a:pos x="124" y="19"/>
                </a:cxn>
                <a:cxn ang="0">
                  <a:pos x="108" y="34"/>
                </a:cxn>
                <a:cxn ang="0">
                  <a:pos x="93" y="67"/>
                </a:cxn>
                <a:cxn ang="0">
                  <a:pos x="68" y="103"/>
                </a:cxn>
                <a:cxn ang="0">
                  <a:pos x="63" y="114"/>
                </a:cxn>
                <a:cxn ang="0">
                  <a:pos x="47" y="139"/>
                </a:cxn>
                <a:cxn ang="0">
                  <a:pos x="0" y="170"/>
                </a:cxn>
                <a:cxn ang="0">
                  <a:pos x="20" y="175"/>
                </a:cxn>
                <a:cxn ang="0">
                  <a:pos x="53" y="178"/>
                </a:cxn>
                <a:cxn ang="0">
                  <a:pos x="84" y="177"/>
                </a:cxn>
                <a:cxn ang="0">
                  <a:pos x="140" y="194"/>
                </a:cxn>
                <a:cxn ang="0">
                  <a:pos x="192" y="194"/>
                </a:cxn>
                <a:cxn ang="0">
                  <a:pos x="211" y="249"/>
                </a:cxn>
                <a:cxn ang="0">
                  <a:pos x="226" y="297"/>
                </a:cxn>
                <a:cxn ang="0">
                  <a:pos x="271" y="321"/>
                </a:cxn>
                <a:cxn ang="0">
                  <a:pos x="308" y="332"/>
                </a:cxn>
                <a:cxn ang="0">
                  <a:pos x="327" y="305"/>
                </a:cxn>
                <a:cxn ang="0">
                  <a:pos x="375" y="269"/>
                </a:cxn>
                <a:cxn ang="0">
                  <a:pos x="401" y="254"/>
                </a:cxn>
                <a:cxn ang="0">
                  <a:pos x="426" y="241"/>
                </a:cxn>
                <a:cxn ang="0">
                  <a:pos x="466" y="253"/>
                </a:cxn>
                <a:cxn ang="0">
                  <a:pos x="463" y="230"/>
                </a:cxn>
                <a:cxn ang="0">
                  <a:pos x="496" y="212"/>
                </a:cxn>
                <a:cxn ang="0">
                  <a:pos x="498" y="195"/>
                </a:cxn>
              </a:cxnLst>
              <a:rect l="0" t="0" r="r" b="b"/>
              <a:pathLst>
                <a:path w="539" h="332">
                  <a:moveTo>
                    <a:pt x="512" y="186"/>
                  </a:moveTo>
                  <a:cubicBezTo>
                    <a:pt x="521" y="184"/>
                    <a:pt x="526" y="184"/>
                    <a:pt x="529" y="184"/>
                  </a:cubicBezTo>
                  <a:cubicBezTo>
                    <a:pt x="532" y="184"/>
                    <a:pt x="539" y="178"/>
                    <a:pt x="539" y="178"/>
                  </a:cubicBezTo>
                  <a:cubicBezTo>
                    <a:pt x="534" y="174"/>
                    <a:pt x="534" y="174"/>
                    <a:pt x="534" y="174"/>
                  </a:cubicBezTo>
                  <a:cubicBezTo>
                    <a:pt x="527" y="169"/>
                    <a:pt x="527" y="169"/>
                    <a:pt x="527" y="169"/>
                  </a:cubicBezTo>
                  <a:cubicBezTo>
                    <a:pt x="527" y="169"/>
                    <a:pt x="519" y="172"/>
                    <a:pt x="511" y="172"/>
                  </a:cubicBezTo>
                  <a:cubicBezTo>
                    <a:pt x="503" y="172"/>
                    <a:pt x="508" y="171"/>
                    <a:pt x="506" y="164"/>
                  </a:cubicBezTo>
                  <a:cubicBezTo>
                    <a:pt x="504" y="157"/>
                    <a:pt x="501" y="160"/>
                    <a:pt x="501" y="160"/>
                  </a:cubicBezTo>
                  <a:cubicBezTo>
                    <a:pt x="484" y="162"/>
                    <a:pt x="484" y="162"/>
                    <a:pt x="484" y="162"/>
                  </a:cubicBezTo>
                  <a:cubicBezTo>
                    <a:pt x="484" y="162"/>
                    <a:pt x="477" y="170"/>
                    <a:pt x="471" y="173"/>
                  </a:cubicBezTo>
                  <a:cubicBezTo>
                    <a:pt x="464" y="175"/>
                    <a:pt x="455" y="169"/>
                    <a:pt x="455" y="169"/>
                  </a:cubicBezTo>
                  <a:cubicBezTo>
                    <a:pt x="453" y="173"/>
                    <a:pt x="453" y="173"/>
                    <a:pt x="453" y="173"/>
                  </a:cubicBezTo>
                  <a:cubicBezTo>
                    <a:pt x="446" y="170"/>
                    <a:pt x="446" y="170"/>
                    <a:pt x="446" y="170"/>
                  </a:cubicBezTo>
                  <a:cubicBezTo>
                    <a:pt x="440" y="184"/>
                    <a:pt x="440" y="184"/>
                    <a:pt x="440" y="184"/>
                  </a:cubicBezTo>
                  <a:cubicBezTo>
                    <a:pt x="429" y="184"/>
                    <a:pt x="429" y="184"/>
                    <a:pt x="429" y="184"/>
                  </a:cubicBezTo>
                  <a:cubicBezTo>
                    <a:pt x="424" y="190"/>
                    <a:pt x="424" y="190"/>
                    <a:pt x="424" y="190"/>
                  </a:cubicBezTo>
                  <a:cubicBezTo>
                    <a:pt x="410" y="189"/>
                    <a:pt x="410" y="189"/>
                    <a:pt x="410" y="189"/>
                  </a:cubicBezTo>
                  <a:cubicBezTo>
                    <a:pt x="400" y="178"/>
                    <a:pt x="400" y="178"/>
                    <a:pt x="400" y="178"/>
                  </a:cubicBezTo>
                  <a:cubicBezTo>
                    <a:pt x="400" y="166"/>
                    <a:pt x="400" y="166"/>
                    <a:pt x="400" y="166"/>
                  </a:cubicBezTo>
                  <a:cubicBezTo>
                    <a:pt x="400" y="166"/>
                    <a:pt x="393" y="162"/>
                    <a:pt x="388" y="161"/>
                  </a:cubicBezTo>
                  <a:cubicBezTo>
                    <a:pt x="382" y="159"/>
                    <a:pt x="380" y="152"/>
                    <a:pt x="384" y="152"/>
                  </a:cubicBezTo>
                  <a:cubicBezTo>
                    <a:pt x="388" y="152"/>
                    <a:pt x="392" y="141"/>
                    <a:pt x="392" y="141"/>
                  </a:cubicBezTo>
                  <a:cubicBezTo>
                    <a:pt x="383" y="136"/>
                    <a:pt x="383" y="136"/>
                    <a:pt x="383" y="136"/>
                  </a:cubicBezTo>
                  <a:cubicBezTo>
                    <a:pt x="391" y="132"/>
                    <a:pt x="391" y="132"/>
                    <a:pt x="391" y="132"/>
                  </a:cubicBezTo>
                  <a:cubicBezTo>
                    <a:pt x="386" y="127"/>
                    <a:pt x="386" y="127"/>
                    <a:pt x="386" y="127"/>
                  </a:cubicBezTo>
                  <a:cubicBezTo>
                    <a:pt x="386" y="127"/>
                    <a:pt x="393" y="115"/>
                    <a:pt x="395" y="113"/>
                  </a:cubicBezTo>
                  <a:cubicBezTo>
                    <a:pt x="397" y="111"/>
                    <a:pt x="397" y="99"/>
                    <a:pt x="384" y="97"/>
                  </a:cubicBezTo>
                  <a:cubicBezTo>
                    <a:pt x="371" y="94"/>
                    <a:pt x="367" y="102"/>
                    <a:pt x="367" y="102"/>
                  </a:cubicBezTo>
                  <a:cubicBezTo>
                    <a:pt x="367" y="102"/>
                    <a:pt x="367" y="94"/>
                    <a:pt x="365" y="90"/>
                  </a:cubicBezTo>
                  <a:cubicBezTo>
                    <a:pt x="363" y="86"/>
                    <a:pt x="358" y="86"/>
                    <a:pt x="358" y="79"/>
                  </a:cubicBezTo>
                  <a:cubicBezTo>
                    <a:pt x="357" y="72"/>
                    <a:pt x="353" y="73"/>
                    <a:pt x="352" y="66"/>
                  </a:cubicBezTo>
                  <a:cubicBezTo>
                    <a:pt x="351" y="58"/>
                    <a:pt x="360" y="56"/>
                    <a:pt x="361" y="55"/>
                  </a:cubicBezTo>
                  <a:cubicBezTo>
                    <a:pt x="362" y="53"/>
                    <a:pt x="347" y="39"/>
                    <a:pt x="347" y="39"/>
                  </a:cubicBezTo>
                  <a:cubicBezTo>
                    <a:pt x="353" y="27"/>
                    <a:pt x="353" y="27"/>
                    <a:pt x="353" y="27"/>
                  </a:cubicBezTo>
                  <a:cubicBezTo>
                    <a:pt x="353" y="27"/>
                    <a:pt x="346" y="21"/>
                    <a:pt x="343" y="20"/>
                  </a:cubicBezTo>
                  <a:cubicBezTo>
                    <a:pt x="339" y="18"/>
                    <a:pt x="336" y="14"/>
                    <a:pt x="336" y="14"/>
                  </a:cubicBezTo>
                  <a:cubicBezTo>
                    <a:pt x="330" y="18"/>
                    <a:pt x="330" y="18"/>
                    <a:pt x="330" y="18"/>
                  </a:cubicBezTo>
                  <a:cubicBezTo>
                    <a:pt x="330" y="18"/>
                    <a:pt x="328" y="13"/>
                    <a:pt x="321" y="12"/>
                  </a:cubicBezTo>
                  <a:cubicBezTo>
                    <a:pt x="315" y="12"/>
                    <a:pt x="314" y="20"/>
                    <a:pt x="314" y="20"/>
                  </a:cubicBezTo>
                  <a:cubicBezTo>
                    <a:pt x="307" y="18"/>
                    <a:pt x="307" y="18"/>
                    <a:pt x="307" y="18"/>
                  </a:cubicBezTo>
                  <a:cubicBezTo>
                    <a:pt x="307" y="18"/>
                    <a:pt x="307" y="22"/>
                    <a:pt x="304" y="22"/>
                  </a:cubicBezTo>
                  <a:cubicBezTo>
                    <a:pt x="300" y="23"/>
                    <a:pt x="293" y="17"/>
                    <a:pt x="293" y="17"/>
                  </a:cubicBezTo>
                  <a:cubicBezTo>
                    <a:pt x="293" y="22"/>
                    <a:pt x="293" y="22"/>
                    <a:pt x="293" y="22"/>
                  </a:cubicBezTo>
                  <a:cubicBezTo>
                    <a:pt x="293" y="22"/>
                    <a:pt x="273" y="21"/>
                    <a:pt x="270" y="25"/>
                  </a:cubicBezTo>
                  <a:cubicBezTo>
                    <a:pt x="267" y="28"/>
                    <a:pt x="261" y="20"/>
                    <a:pt x="261" y="20"/>
                  </a:cubicBezTo>
                  <a:cubicBezTo>
                    <a:pt x="256" y="26"/>
                    <a:pt x="256" y="26"/>
                    <a:pt x="256" y="26"/>
                  </a:cubicBezTo>
                  <a:cubicBezTo>
                    <a:pt x="256" y="26"/>
                    <a:pt x="256" y="42"/>
                    <a:pt x="251" y="42"/>
                  </a:cubicBezTo>
                  <a:cubicBezTo>
                    <a:pt x="247" y="42"/>
                    <a:pt x="249" y="34"/>
                    <a:pt x="249" y="29"/>
                  </a:cubicBezTo>
                  <a:cubicBezTo>
                    <a:pt x="249" y="24"/>
                    <a:pt x="244" y="23"/>
                    <a:pt x="244" y="23"/>
                  </a:cubicBezTo>
                  <a:cubicBezTo>
                    <a:pt x="244" y="23"/>
                    <a:pt x="242" y="33"/>
                    <a:pt x="236" y="33"/>
                  </a:cubicBezTo>
                  <a:cubicBezTo>
                    <a:pt x="229" y="33"/>
                    <a:pt x="226" y="23"/>
                    <a:pt x="226" y="23"/>
                  </a:cubicBezTo>
                  <a:cubicBezTo>
                    <a:pt x="226" y="23"/>
                    <a:pt x="222" y="14"/>
                    <a:pt x="221" y="14"/>
                  </a:cubicBezTo>
                  <a:cubicBezTo>
                    <a:pt x="220" y="14"/>
                    <a:pt x="217" y="9"/>
                    <a:pt x="217" y="9"/>
                  </a:cubicBezTo>
                  <a:cubicBezTo>
                    <a:pt x="203" y="8"/>
                    <a:pt x="203" y="8"/>
                    <a:pt x="203" y="8"/>
                  </a:cubicBezTo>
                  <a:cubicBezTo>
                    <a:pt x="196" y="12"/>
                    <a:pt x="196" y="12"/>
                    <a:pt x="196" y="12"/>
                  </a:cubicBezTo>
                  <a:cubicBezTo>
                    <a:pt x="196" y="12"/>
                    <a:pt x="176" y="12"/>
                    <a:pt x="175" y="12"/>
                  </a:cubicBezTo>
                  <a:cubicBezTo>
                    <a:pt x="174" y="12"/>
                    <a:pt x="173" y="5"/>
                    <a:pt x="173" y="5"/>
                  </a:cubicBezTo>
                  <a:cubicBezTo>
                    <a:pt x="164" y="8"/>
                    <a:pt x="164" y="8"/>
                    <a:pt x="164" y="8"/>
                  </a:cubicBezTo>
                  <a:cubicBezTo>
                    <a:pt x="164" y="8"/>
                    <a:pt x="159" y="1"/>
                    <a:pt x="158" y="0"/>
                  </a:cubicBezTo>
                  <a:cubicBezTo>
                    <a:pt x="157" y="0"/>
                    <a:pt x="148" y="10"/>
                    <a:pt x="148" y="10"/>
                  </a:cubicBezTo>
                  <a:cubicBezTo>
                    <a:pt x="139" y="8"/>
                    <a:pt x="139" y="8"/>
                    <a:pt x="139" y="8"/>
                  </a:cubicBezTo>
                  <a:cubicBezTo>
                    <a:pt x="139" y="8"/>
                    <a:pt x="130" y="15"/>
                    <a:pt x="124" y="19"/>
                  </a:cubicBezTo>
                  <a:cubicBezTo>
                    <a:pt x="123" y="33"/>
                    <a:pt x="123" y="33"/>
                    <a:pt x="123" y="33"/>
                  </a:cubicBezTo>
                  <a:cubicBezTo>
                    <a:pt x="108" y="34"/>
                    <a:pt x="108" y="34"/>
                    <a:pt x="108" y="34"/>
                  </a:cubicBezTo>
                  <a:cubicBezTo>
                    <a:pt x="86" y="56"/>
                    <a:pt x="86" y="56"/>
                    <a:pt x="86" y="56"/>
                  </a:cubicBezTo>
                  <a:cubicBezTo>
                    <a:pt x="93" y="67"/>
                    <a:pt x="93" y="67"/>
                    <a:pt x="93" y="67"/>
                  </a:cubicBezTo>
                  <a:cubicBezTo>
                    <a:pt x="93" y="67"/>
                    <a:pt x="75" y="81"/>
                    <a:pt x="74" y="82"/>
                  </a:cubicBezTo>
                  <a:cubicBezTo>
                    <a:pt x="73" y="83"/>
                    <a:pt x="68" y="103"/>
                    <a:pt x="68" y="103"/>
                  </a:cubicBezTo>
                  <a:cubicBezTo>
                    <a:pt x="58" y="105"/>
                    <a:pt x="58" y="105"/>
                    <a:pt x="58" y="105"/>
                  </a:cubicBezTo>
                  <a:cubicBezTo>
                    <a:pt x="63" y="114"/>
                    <a:pt x="63" y="114"/>
                    <a:pt x="63" y="114"/>
                  </a:cubicBezTo>
                  <a:cubicBezTo>
                    <a:pt x="63" y="114"/>
                    <a:pt x="48" y="126"/>
                    <a:pt x="47" y="127"/>
                  </a:cubicBezTo>
                  <a:cubicBezTo>
                    <a:pt x="46" y="129"/>
                    <a:pt x="47" y="134"/>
                    <a:pt x="47" y="139"/>
                  </a:cubicBezTo>
                  <a:cubicBezTo>
                    <a:pt x="47" y="144"/>
                    <a:pt x="0" y="170"/>
                    <a:pt x="0" y="170"/>
                  </a:cubicBezTo>
                  <a:cubicBezTo>
                    <a:pt x="0" y="170"/>
                    <a:pt x="0" y="170"/>
                    <a:pt x="0" y="170"/>
                  </a:cubicBezTo>
                  <a:cubicBezTo>
                    <a:pt x="14" y="168"/>
                    <a:pt x="14" y="168"/>
                    <a:pt x="14" y="168"/>
                  </a:cubicBezTo>
                  <a:cubicBezTo>
                    <a:pt x="14" y="168"/>
                    <a:pt x="19" y="175"/>
                    <a:pt x="20" y="175"/>
                  </a:cubicBezTo>
                  <a:cubicBezTo>
                    <a:pt x="21" y="175"/>
                    <a:pt x="31" y="170"/>
                    <a:pt x="31" y="170"/>
                  </a:cubicBezTo>
                  <a:cubicBezTo>
                    <a:pt x="31" y="170"/>
                    <a:pt x="53" y="179"/>
                    <a:pt x="53" y="178"/>
                  </a:cubicBezTo>
                  <a:cubicBezTo>
                    <a:pt x="54" y="177"/>
                    <a:pt x="59" y="165"/>
                    <a:pt x="59" y="165"/>
                  </a:cubicBezTo>
                  <a:cubicBezTo>
                    <a:pt x="84" y="177"/>
                    <a:pt x="84" y="177"/>
                    <a:pt x="84" y="177"/>
                  </a:cubicBezTo>
                  <a:cubicBezTo>
                    <a:pt x="84" y="177"/>
                    <a:pt x="101" y="173"/>
                    <a:pt x="102" y="173"/>
                  </a:cubicBezTo>
                  <a:cubicBezTo>
                    <a:pt x="102" y="174"/>
                    <a:pt x="140" y="194"/>
                    <a:pt x="140" y="194"/>
                  </a:cubicBezTo>
                  <a:cubicBezTo>
                    <a:pt x="152" y="191"/>
                    <a:pt x="152" y="191"/>
                    <a:pt x="152" y="191"/>
                  </a:cubicBezTo>
                  <a:cubicBezTo>
                    <a:pt x="192" y="194"/>
                    <a:pt x="192" y="194"/>
                    <a:pt x="192" y="194"/>
                  </a:cubicBezTo>
                  <a:cubicBezTo>
                    <a:pt x="192" y="194"/>
                    <a:pt x="199" y="198"/>
                    <a:pt x="206" y="210"/>
                  </a:cubicBezTo>
                  <a:cubicBezTo>
                    <a:pt x="214" y="222"/>
                    <a:pt x="211" y="249"/>
                    <a:pt x="211" y="249"/>
                  </a:cubicBezTo>
                  <a:cubicBezTo>
                    <a:pt x="233" y="275"/>
                    <a:pt x="233" y="275"/>
                    <a:pt x="233" y="275"/>
                  </a:cubicBezTo>
                  <a:cubicBezTo>
                    <a:pt x="226" y="297"/>
                    <a:pt x="226" y="297"/>
                    <a:pt x="226" y="297"/>
                  </a:cubicBezTo>
                  <a:cubicBezTo>
                    <a:pt x="274" y="299"/>
                    <a:pt x="274" y="299"/>
                    <a:pt x="274" y="299"/>
                  </a:cubicBezTo>
                  <a:cubicBezTo>
                    <a:pt x="271" y="321"/>
                    <a:pt x="271" y="321"/>
                    <a:pt x="271" y="321"/>
                  </a:cubicBezTo>
                  <a:cubicBezTo>
                    <a:pt x="292" y="317"/>
                    <a:pt x="292" y="317"/>
                    <a:pt x="292" y="317"/>
                  </a:cubicBezTo>
                  <a:cubicBezTo>
                    <a:pt x="308" y="332"/>
                    <a:pt x="308" y="332"/>
                    <a:pt x="308" y="332"/>
                  </a:cubicBezTo>
                  <a:cubicBezTo>
                    <a:pt x="312" y="328"/>
                    <a:pt x="312" y="328"/>
                    <a:pt x="312" y="328"/>
                  </a:cubicBezTo>
                  <a:cubicBezTo>
                    <a:pt x="312" y="328"/>
                    <a:pt x="320" y="310"/>
                    <a:pt x="327" y="305"/>
                  </a:cubicBezTo>
                  <a:cubicBezTo>
                    <a:pt x="335" y="301"/>
                    <a:pt x="346" y="294"/>
                    <a:pt x="360" y="285"/>
                  </a:cubicBezTo>
                  <a:cubicBezTo>
                    <a:pt x="375" y="276"/>
                    <a:pt x="368" y="274"/>
                    <a:pt x="375" y="269"/>
                  </a:cubicBezTo>
                  <a:cubicBezTo>
                    <a:pt x="382" y="264"/>
                    <a:pt x="380" y="265"/>
                    <a:pt x="387" y="264"/>
                  </a:cubicBezTo>
                  <a:cubicBezTo>
                    <a:pt x="394" y="262"/>
                    <a:pt x="401" y="254"/>
                    <a:pt x="401" y="254"/>
                  </a:cubicBezTo>
                  <a:cubicBezTo>
                    <a:pt x="412" y="256"/>
                    <a:pt x="412" y="256"/>
                    <a:pt x="412" y="256"/>
                  </a:cubicBezTo>
                  <a:cubicBezTo>
                    <a:pt x="426" y="241"/>
                    <a:pt x="426" y="241"/>
                    <a:pt x="426" y="241"/>
                  </a:cubicBezTo>
                  <a:cubicBezTo>
                    <a:pt x="451" y="242"/>
                    <a:pt x="451" y="242"/>
                    <a:pt x="451" y="242"/>
                  </a:cubicBezTo>
                  <a:cubicBezTo>
                    <a:pt x="466" y="253"/>
                    <a:pt x="466" y="253"/>
                    <a:pt x="466" y="253"/>
                  </a:cubicBezTo>
                  <a:cubicBezTo>
                    <a:pt x="477" y="245"/>
                    <a:pt x="477" y="245"/>
                    <a:pt x="477" y="245"/>
                  </a:cubicBezTo>
                  <a:cubicBezTo>
                    <a:pt x="463" y="230"/>
                    <a:pt x="463" y="230"/>
                    <a:pt x="463" y="230"/>
                  </a:cubicBezTo>
                  <a:cubicBezTo>
                    <a:pt x="473" y="229"/>
                    <a:pt x="473" y="229"/>
                    <a:pt x="473" y="229"/>
                  </a:cubicBezTo>
                  <a:cubicBezTo>
                    <a:pt x="496" y="212"/>
                    <a:pt x="496" y="212"/>
                    <a:pt x="496" y="212"/>
                  </a:cubicBezTo>
                  <a:cubicBezTo>
                    <a:pt x="498" y="213"/>
                    <a:pt x="498" y="213"/>
                    <a:pt x="498" y="213"/>
                  </a:cubicBezTo>
                  <a:cubicBezTo>
                    <a:pt x="498" y="207"/>
                    <a:pt x="498" y="196"/>
                    <a:pt x="498" y="195"/>
                  </a:cubicBezTo>
                  <a:cubicBezTo>
                    <a:pt x="498" y="194"/>
                    <a:pt x="504" y="189"/>
                    <a:pt x="512" y="186"/>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8" name="Freeform 333">
              <a:extLst>
                <a:ext uri="{FF2B5EF4-FFF2-40B4-BE49-F238E27FC236}">
                  <a16:creationId xmlns:a16="http://schemas.microsoft.com/office/drawing/2014/main" id="{E919891E-C9A6-47F8-9564-382C4F2D9A06}"/>
                </a:ext>
              </a:extLst>
            </p:cNvPr>
            <p:cNvSpPr>
              <a:spLocks noChangeAspect="1"/>
            </p:cNvSpPr>
            <p:nvPr/>
          </p:nvSpPr>
          <p:spPr bwMode="auto">
            <a:xfrm>
              <a:off x="13627" y="3344"/>
              <a:ext cx="467" cy="309"/>
            </a:xfrm>
            <a:custGeom>
              <a:avLst/>
              <a:gdLst/>
              <a:ahLst/>
              <a:cxnLst>
                <a:cxn ang="0">
                  <a:pos x="189" y="26"/>
                </a:cxn>
                <a:cxn ang="0">
                  <a:pos x="187" y="5"/>
                </a:cxn>
                <a:cxn ang="0">
                  <a:pos x="182" y="0"/>
                </a:cxn>
                <a:cxn ang="0">
                  <a:pos x="174" y="10"/>
                </a:cxn>
                <a:cxn ang="0">
                  <a:pos x="164" y="10"/>
                </a:cxn>
                <a:cxn ang="0">
                  <a:pos x="165" y="20"/>
                </a:cxn>
                <a:cxn ang="0">
                  <a:pos x="158" y="30"/>
                </a:cxn>
                <a:cxn ang="0">
                  <a:pos x="158" y="44"/>
                </a:cxn>
                <a:cxn ang="0">
                  <a:pos x="150" y="50"/>
                </a:cxn>
                <a:cxn ang="0">
                  <a:pos x="152" y="56"/>
                </a:cxn>
                <a:cxn ang="0">
                  <a:pos x="144" y="60"/>
                </a:cxn>
                <a:cxn ang="0">
                  <a:pos x="107" y="81"/>
                </a:cxn>
                <a:cxn ang="0">
                  <a:pos x="64" y="77"/>
                </a:cxn>
                <a:cxn ang="0">
                  <a:pos x="37" y="91"/>
                </a:cxn>
                <a:cxn ang="0">
                  <a:pos x="20" y="86"/>
                </a:cxn>
                <a:cxn ang="0">
                  <a:pos x="1" y="101"/>
                </a:cxn>
                <a:cxn ang="0">
                  <a:pos x="3" y="100"/>
                </a:cxn>
                <a:cxn ang="0">
                  <a:pos x="8" y="104"/>
                </a:cxn>
                <a:cxn ang="0">
                  <a:pos x="13" y="112"/>
                </a:cxn>
                <a:cxn ang="0">
                  <a:pos x="29" y="109"/>
                </a:cxn>
                <a:cxn ang="0">
                  <a:pos x="36" y="114"/>
                </a:cxn>
                <a:cxn ang="0">
                  <a:pos x="41" y="118"/>
                </a:cxn>
                <a:cxn ang="0">
                  <a:pos x="31" y="124"/>
                </a:cxn>
                <a:cxn ang="0">
                  <a:pos x="14" y="126"/>
                </a:cxn>
                <a:cxn ang="0">
                  <a:pos x="0" y="135"/>
                </a:cxn>
                <a:cxn ang="0">
                  <a:pos x="0" y="153"/>
                </a:cxn>
                <a:cxn ang="0">
                  <a:pos x="6" y="155"/>
                </a:cxn>
                <a:cxn ang="0">
                  <a:pos x="8" y="137"/>
                </a:cxn>
                <a:cxn ang="0">
                  <a:pos x="24" y="138"/>
                </a:cxn>
                <a:cxn ang="0">
                  <a:pos x="32" y="130"/>
                </a:cxn>
                <a:cxn ang="0">
                  <a:pos x="44" y="139"/>
                </a:cxn>
                <a:cxn ang="0">
                  <a:pos x="61" y="132"/>
                </a:cxn>
                <a:cxn ang="0">
                  <a:pos x="70" y="137"/>
                </a:cxn>
                <a:cxn ang="0">
                  <a:pos x="97" y="137"/>
                </a:cxn>
                <a:cxn ang="0">
                  <a:pos x="95" y="126"/>
                </a:cxn>
                <a:cxn ang="0">
                  <a:pos x="104" y="119"/>
                </a:cxn>
                <a:cxn ang="0">
                  <a:pos x="106" y="132"/>
                </a:cxn>
                <a:cxn ang="0">
                  <a:pos x="144" y="129"/>
                </a:cxn>
                <a:cxn ang="0">
                  <a:pos x="165" y="133"/>
                </a:cxn>
                <a:cxn ang="0">
                  <a:pos x="178" y="122"/>
                </a:cxn>
                <a:cxn ang="0">
                  <a:pos x="172" y="109"/>
                </a:cxn>
                <a:cxn ang="0">
                  <a:pos x="192" y="89"/>
                </a:cxn>
                <a:cxn ang="0">
                  <a:pos x="217" y="83"/>
                </a:cxn>
                <a:cxn ang="0">
                  <a:pos x="234" y="72"/>
                </a:cxn>
                <a:cxn ang="0">
                  <a:pos x="228" y="44"/>
                </a:cxn>
                <a:cxn ang="0">
                  <a:pos x="234" y="29"/>
                </a:cxn>
                <a:cxn ang="0">
                  <a:pos x="207" y="29"/>
                </a:cxn>
                <a:cxn ang="0">
                  <a:pos x="189" y="26"/>
                </a:cxn>
              </a:cxnLst>
              <a:rect l="0" t="0" r="r" b="b"/>
              <a:pathLst>
                <a:path w="234" h="155">
                  <a:moveTo>
                    <a:pt x="189" y="26"/>
                  </a:moveTo>
                  <a:cubicBezTo>
                    <a:pt x="189" y="26"/>
                    <a:pt x="187" y="9"/>
                    <a:pt x="187" y="5"/>
                  </a:cubicBezTo>
                  <a:cubicBezTo>
                    <a:pt x="187" y="0"/>
                    <a:pt x="182" y="0"/>
                    <a:pt x="182" y="0"/>
                  </a:cubicBezTo>
                  <a:cubicBezTo>
                    <a:pt x="174" y="10"/>
                    <a:pt x="174" y="10"/>
                    <a:pt x="174" y="10"/>
                  </a:cubicBezTo>
                  <a:cubicBezTo>
                    <a:pt x="164" y="10"/>
                    <a:pt x="164" y="10"/>
                    <a:pt x="164" y="10"/>
                  </a:cubicBezTo>
                  <a:cubicBezTo>
                    <a:pt x="165" y="20"/>
                    <a:pt x="165" y="20"/>
                    <a:pt x="165" y="20"/>
                  </a:cubicBezTo>
                  <a:cubicBezTo>
                    <a:pt x="165" y="20"/>
                    <a:pt x="158" y="28"/>
                    <a:pt x="158" y="30"/>
                  </a:cubicBezTo>
                  <a:cubicBezTo>
                    <a:pt x="158" y="31"/>
                    <a:pt x="158" y="44"/>
                    <a:pt x="158" y="44"/>
                  </a:cubicBezTo>
                  <a:cubicBezTo>
                    <a:pt x="150" y="50"/>
                    <a:pt x="150" y="50"/>
                    <a:pt x="150" y="50"/>
                  </a:cubicBezTo>
                  <a:cubicBezTo>
                    <a:pt x="152" y="56"/>
                    <a:pt x="152" y="56"/>
                    <a:pt x="152" y="56"/>
                  </a:cubicBezTo>
                  <a:cubicBezTo>
                    <a:pt x="152" y="56"/>
                    <a:pt x="152" y="59"/>
                    <a:pt x="144" y="60"/>
                  </a:cubicBezTo>
                  <a:cubicBezTo>
                    <a:pt x="136" y="61"/>
                    <a:pt x="107" y="81"/>
                    <a:pt x="107" y="81"/>
                  </a:cubicBezTo>
                  <a:cubicBezTo>
                    <a:pt x="107" y="81"/>
                    <a:pt x="65" y="77"/>
                    <a:pt x="64" y="77"/>
                  </a:cubicBezTo>
                  <a:cubicBezTo>
                    <a:pt x="62" y="77"/>
                    <a:pt x="38" y="90"/>
                    <a:pt x="37" y="91"/>
                  </a:cubicBezTo>
                  <a:cubicBezTo>
                    <a:pt x="36" y="91"/>
                    <a:pt x="20" y="86"/>
                    <a:pt x="20" y="86"/>
                  </a:cubicBezTo>
                  <a:cubicBezTo>
                    <a:pt x="1" y="101"/>
                    <a:pt x="1" y="101"/>
                    <a:pt x="1" y="101"/>
                  </a:cubicBezTo>
                  <a:cubicBezTo>
                    <a:pt x="3" y="100"/>
                    <a:pt x="3" y="100"/>
                    <a:pt x="3" y="100"/>
                  </a:cubicBezTo>
                  <a:cubicBezTo>
                    <a:pt x="3" y="100"/>
                    <a:pt x="6" y="97"/>
                    <a:pt x="8" y="104"/>
                  </a:cubicBezTo>
                  <a:cubicBezTo>
                    <a:pt x="10" y="111"/>
                    <a:pt x="5" y="112"/>
                    <a:pt x="13" y="112"/>
                  </a:cubicBezTo>
                  <a:cubicBezTo>
                    <a:pt x="21" y="112"/>
                    <a:pt x="29" y="109"/>
                    <a:pt x="29" y="109"/>
                  </a:cubicBezTo>
                  <a:cubicBezTo>
                    <a:pt x="36" y="114"/>
                    <a:pt x="36" y="114"/>
                    <a:pt x="36" y="114"/>
                  </a:cubicBezTo>
                  <a:cubicBezTo>
                    <a:pt x="41" y="118"/>
                    <a:pt x="41" y="118"/>
                    <a:pt x="41" y="118"/>
                  </a:cubicBezTo>
                  <a:cubicBezTo>
                    <a:pt x="41" y="118"/>
                    <a:pt x="34" y="124"/>
                    <a:pt x="31" y="124"/>
                  </a:cubicBezTo>
                  <a:cubicBezTo>
                    <a:pt x="28" y="124"/>
                    <a:pt x="23" y="124"/>
                    <a:pt x="14" y="126"/>
                  </a:cubicBezTo>
                  <a:cubicBezTo>
                    <a:pt x="6" y="129"/>
                    <a:pt x="0" y="134"/>
                    <a:pt x="0" y="135"/>
                  </a:cubicBezTo>
                  <a:cubicBezTo>
                    <a:pt x="0" y="136"/>
                    <a:pt x="0" y="147"/>
                    <a:pt x="0" y="153"/>
                  </a:cubicBezTo>
                  <a:cubicBezTo>
                    <a:pt x="6" y="155"/>
                    <a:pt x="6" y="155"/>
                    <a:pt x="6" y="155"/>
                  </a:cubicBezTo>
                  <a:cubicBezTo>
                    <a:pt x="8" y="137"/>
                    <a:pt x="8" y="137"/>
                    <a:pt x="8" y="137"/>
                  </a:cubicBezTo>
                  <a:cubicBezTo>
                    <a:pt x="24" y="138"/>
                    <a:pt x="24" y="138"/>
                    <a:pt x="24" y="138"/>
                  </a:cubicBezTo>
                  <a:cubicBezTo>
                    <a:pt x="32" y="130"/>
                    <a:pt x="32" y="130"/>
                    <a:pt x="32" y="130"/>
                  </a:cubicBezTo>
                  <a:cubicBezTo>
                    <a:pt x="32" y="130"/>
                    <a:pt x="44" y="139"/>
                    <a:pt x="44" y="139"/>
                  </a:cubicBezTo>
                  <a:cubicBezTo>
                    <a:pt x="45" y="140"/>
                    <a:pt x="50" y="132"/>
                    <a:pt x="61" y="132"/>
                  </a:cubicBezTo>
                  <a:cubicBezTo>
                    <a:pt x="72" y="132"/>
                    <a:pt x="70" y="137"/>
                    <a:pt x="70" y="137"/>
                  </a:cubicBezTo>
                  <a:cubicBezTo>
                    <a:pt x="97" y="137"/>
                    <a:pt x="97" y="137"/>
                    <a:pt x="97" y="137"/>
                  </a:cubicBezTo>
                  <a:cubicBezTo>
                    <a:pt x="95" y="126"/>
                    <a:pt x="95" y="126"/>
                    <a:pt x="95" y="126"/>
                  </a:cubicBezTo>
                  <a:cubicBezTo>
                    <a:pt x="104" y="119"/>
                    <a:pt x="104" y="119"/>
                    <a:pt x="104" y="119"/>
                  </a:cubicBezTo>
                  <a:cubicBezTo>
                    <a:pt x="106" y="132"/>
                    <a:pt x="106" y="132"/>
                    <a:pt x="106" y="132"/>
                  </a:cubicBezTo>
                  <a:cubicBezTo>
                    <a:pt x="106" y="132"/>
                    <a:pt x="131" y="130"/>
                    <a:pt x="144" y="129"/>
                  </a:cubicBezTo>
                  <a:cubicBezTo>
                    <a:pt x="157" y="129"/>
                    <a:pt x="165" y="133"/>
                    <a:pt x="165" y="133"/>
                  </a:cubicBezTo>
                  <a:cubicBezTo>
                    <a:pt x="178" y="122"/>
                    <a:pt x="178" y="122"/>
                    <a:pt x="178" y="122"/>
                  </a:cubicBezTo>
                  <a:cubicBezTo>
                    <a:pt x="172" y="109"/>
                    <a:pt x="172" y="109"/>
                    <a:pt x="172" y="109"/>
                  </a:cubicBezTo>
                  <a:cubicBezTo>
                    <a:pt x="172" y="109"/>
                    <a:pt x="190" y="89"/>
                    <a:pt x="192" y="89"/>
                  </a:cubicBezTo>
                  <a:cubicBezTo>
                    <a:pt x="194" y="89"/>
                    <a:pt x="207" y="87"/>
                    <a:pt x="217" y="83"/>
                  </a:cubicBezTo>
                  <a:cubicBezTo>
                    <a:pt x="228" y="79"/>
                    <a:pt x="234" y="72"/>
                    <a:pt x="234" y="72"/>
                  </a:cubicBezTo>
                  <a:cubicBezTo>
                    <a:pt x="228" y="44"/>
                    <a:pt x="228" y="44"/>
                    <a:pt x="228" y="44"/>
                  </a:cubicBezTo>
                  <a:cubicBezTo>
                    <a:pt x="234" y="29"/>
                    <a:pt x="234" y="29"/>
                    <a:pt x="234" y="29"/>
                  </a:cubicBezTo>
                  <a:cubicBezTo>
                    <a:pt x="207" y="29"/>
                    <a:pt x="207" y="29"/>
                    <a:pt x="207" y="29"/>
                  </a:cubicBezTo>
                  <a:lnTo>
                    <a:pt x="189" y="2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99" name="Freeform 334">
              <a:extLst>
                <a:ext uri="{FF2B5EF4-FFF2-40B4-BE49-F238E27FC236}">
                  <a16:creationId xmlns:a16="http://schemas.microsoft.com/office/drawing/2014/main" id="{D8353044-8299-4247-B99D-E8A4570012EF}"/>
                </a:ext>
              </a:extLst>
            </p:cNvPr>
            <p:cNvSpPr>
              <a:spLocks noChangeAspect="1"/>
            </p:cNvSpPr>
            <p:nvPr/>
          </p:nvSpPr>
          <p:spPr bwMode="auto">
            <a:xfrm>
              <a:off x="12877" y="2540"/>
              <a:ext cx="1350" cy="1063"/>
            </a:xfrm>
            <a:custGeom>
              <a:avLst/>
              <a:gdLst/>
              <a:ahLst/>
              <a:cxnLst>
                <a:cxn ang="0">
                  <a:pos x="561" y="367"/>
                </a:cxn>
                <a:cxn ang="0">
                  <a:pos x="593" y="349"/>
                </a:cxn>
                <a:cxn ang="0">
                  <a:pos x="611" y="304"/>
                </a:cxn>
                <a:cxn ang="0">
                  <a:pos x="605" y="273"/>
                </a:cxn>
                <a:cxn ang="0">
                  <a:pos x="607" y="241"/>
                </a:cxn>
                <a:cxn ang="0">
                  <a:pos x="629" y="236"/>
                </a:cxn>
                <a:cxn ang="0">
                  <a:pos x="657" y="224"/>
                </a:cxn>
                <a:cxn ang="0">
                  <a:pos x="653" y="170"/>
                </a:cxn>
                <a:cxn ang="0">
                  <a:pos x="657" y="149"/>
                </a:cxn>
                <a:cxn ang="0">
                  <a:pos x="603" y="98"/>
                </a:cxn>
                <a:cxn ang="0">
                  <a:pos x="552" y="59"/>
                </a:cxn>
                <a:cxn ang="0">
                  <a:pos x="476" y="34"/>
                </a:cxn>
                <a:cxn ang="0">
                  <a:pos x="434" y="12"/>
                </a:cxn>
                <a:cxn ang="0">
                  <a:pos x="326" y="52"/>
                </a:cxn>
                <a:cxn ang="0">
                  <a:pos x="309" y="55"/>
                </a:cxn>
                <a:cxn ang="0">
                  <a:pos x="289" y="49"/>
                </a:cxn>
                <a:cxn ang="0">
                  <a:pos x="249" y="54"/>
                </a:cxn>
                <a:cxn ang="0">
                  <a:pos x="258" y="108"/>
                </a:cxn>
                <a:cxn ang="0">
                  <a:pos x="227" y="130"/>
                </a:cxn>
                <a:cxn ang="0">
                  <a:pos x="233" y="175"/>
                </a:cxn>
                <a:cxn ang="0">
                  <a:pos x="217" y="226"/>
                </a:cxn>
                <a:cxn ang="0">
                  <a:pos x="166" y="252"/>
                </a:cxn>
                <a:cxn ang="0">
                  <a:pos x="138" y="258"/>
                </a:cxn>
                <a:cxn ang="0">
                  <a:pos x="91" y="263"/>
                </a:cxn>
                <a:cxn ang="0">
                  <a:pos x="30" y="306"/>
                </a:cxn>
                <a:cxn ang="0">
                  <a:pos x="1" y="336"/>
                </a:cxn>
                <a:cxn ang="0">
                  <a:pos x="24" y="351"/>
                </a:cxn>
                <a:cxn ang="0">
                  <a:pos x="49" y="346"/>
                </a:cxn>
                <a:cxn ang="0">
                  <a:pos x="79" y="349"/>
                </a:cxn>
                <a:cxn ang="0">
                  <a:pos x="102" y="364"/>
                </a:cxn>
                <a:cxn ang="0">
                  <a:pos x="125" y="370"/>
                </a:cxn>
                <a:cxn ang="0">
                  <a:pos x="137" y="361"/>
                </a:cxn>
                <a:cxn ang="0">
                  <a:pos x="169" y="358"/>
                </a:cxn>
                <a:cxn ang="0">
                  <a:pos x="190" y="361"/>
                </a:cxn>
                <a:cxn ang="0">
                  <a:pos x="212" y="355"/>
                </a:cxn>
                <a:cxn ang="0">
                  <a:pos x="223" y="380"/>
                </a:cxn>
                <a:cxn ang="0">
                  <a:pos x="234" y="420"/>
                </a:cxn>
                <a:cxn ang="0">
                  <a:pos x="260" y="438"/>
                </a:cxn>
                <a:cxn ang="0">
                  <a:pos x="267" y="473"/>
                </a:cxn>
                <a:cxn ang="0">
                  <a:pos x="260" y="493"/>
                </a:cxn>
                <a:cxn ang="0">
                  <a:pos x="276" y="519"/>
                </a:cxn>
                <a:cxn ang="0">
                  <a:pos x="305" y="525"/>
                </a:cxn>
                <a:cxn ang="0">
                  <a:pos x="329" y="514"/>
                </a:cxn>
                <a:cxn ang="0">
                  <a:pos x="360" y="503"/>
                </a:cxn>
                <a:cxn ang="0">
                  <a:pos x="411" y="492"/>
                </a:cxn>
                <a:cxn ang="0">
                  <a:pos x="518" y="461"/>
                </a:cxn>
                <a:cxn ang="0">
                  <a:pos x="532" y="445"/>
                </a:cxn>
                <a:cxn ang="0">
                  <a:pos x="538" y="411"/>
                </a:cxn>
                <a:cxn ang="0">
                  <a:pos x="555" y="393"/>
                </a:cxn>
              </a:cxnLst>
              <a:rect l="0" t="0" r="r" b="b"/>
              <a:pathLst>
                <a:path w="675" h="531">
                  <a:moveTo>
                    <a:pt x="560" y="385"/>
                  </a:moveTo>
                  <a:cubicBezTo>
                    <a:pt x="553" y="377"/>
                    <a:pt x="553" y="377"/>
                    <a:pt x="553" y="377"/>
                  </a:cubicBezTo>
                  <a:cubicBezTo>
                    <a:pt x="561" y="367"/>
                    <a:pt x="561" y="367"/>
                    <a:pt x="561" y="367"/>
                  </a:cubicBezTo>
                  <a:cubicBezTo>
                    <a:pt x="586" y="366"/>
                    <a:pt x="586" y="366"/>
                    <a:pt x="586" y="366"/>
                  </a:cubicBezTo>
                  <a:cubicBezTo>
                    <a:pt x="587" y="353"/>
                    <a:pt x="587" y="353"/>
                    <a:pt x="587" y="353"/>
                  </a:cubicBezTo>
                  <a:cubicBezTo>
                    <a:pt x="593" y="349"/>
                    <a:pt x="593" y="349"/>
                    <a:pt x="593" y="349"/>
                  </a:cubicBezTo>
                  <a:cubicBezTo>
                    <a:pt x="597" y="334"/>
                    <a:pt x="597" y="334"/>
                    <a:pt x="597" y="334"/>
                  </a:cubicBezTo>
                  <a:cubicBezTo>
                    <a:pt x="597" y="334"/>
                    <a:pt x="612" y="328"/>
                    <a:pt x="612" y="322"/>
                  </a:cubicBezTo>
                  <a:cubicBezTo>
                    <a:pt x="612" y="316"/>
                    <a:pt x="620" y="309"/>
                    <a:pt x="611" y="304"/>
                  </a:cubicBezTo>
                  <a:cubicBezTo>
                    <a:pt x="602" y="299"/>
                    <a:pt x="591" y="285"/>
                    <a:pt x="591" y="285"/>
                  </a:cubicBezTo>
                  <a:cubicBezTo>
                    <a:pt x="612" y="283"/>
                    <a:pt x="612" y="283"/>
                    <a:pt x="612" y="283"/>
                  </a:cubicBezTo>
                  <a:cubicBezTo>
                    <a:pt x="612" y="283"/>
                    <a:pt x="605" y="275"/>
                    <a:pt x="605" y="273"/>
                  </a:cubicBezTo>
                  <a:cubicBezTo>
                    <a:pt x="605" y="272"/>
                    <a:pt x="608" y="265"/>
                    <a:pt x="608" y="265"/>
                  </a:cubicBezTo>
                  <a:cubicBezTo>
                    <a:pt x="598" y="258"/>
                    <a:pt x="598" y="258"/>
                    <a:pt x="598" y="258"/>
                  </a:cubicBezTo>
                  <a:cubicBezTo>
                    <a:pt x="598" y="258"/>
                    <a:pt x="599" y="241"/>
                    <a:pt x="607" y="241"/>
                  </a:cubicBezTo>
                  <a:cubicBezTo>
                    <a:pt x="615" y="241"/>
                    <a:pt x="617" y="241"/>
                    <a:pt x="617" y="241"/>
                  </a:cubicBezTo>
                  <a:cubicBezTo>
                    <a:pt x="617" y="241"/>
                    <a:pt x="616" y="236"/>
                    <a:pt x="617" y="236"/>
                  </a:cubicBezTo>
                  <a:cubicBezTo>
                    <a:pt x="619" y="236"/>
                    <a:pt x="629" y="236"/>
                    <a:pt x="629" y="236"/>
                  </a:cubicBezTo>
                  <a:cubicBezTo>
                    <a:pt x="629" y="230"/>
                    <a:pt x="629" y="230"/>
                    <a:pt x="629" y="230"/>
                  </a:cubicBezTo>
                  <a:cubicBezTo>
                    <a:pt x="654" y="229"/>
                    <a:pt x="654" y="229"/>
                    <a:pt x="654" y="229"/>
                  </a:cubicBezTo>
                  <a:cubicBezTo>
                    <a:pt x="657" y="224"/>
                    <a:pt x="657" y="224"/>
                    <a:pt x="657" y="224"/>
                  </a:cubicBezTo>
                  <a:cubicBezTo>
                    <a:pt x="629" y="197"/>
                    <a:pt x="629" y="197"/>
                    <a:pt x="629" y="197"/>
                  </a:cubicBezTo>
                  <a:cubicBezTo>
                    <a:pt x="635" y="171"/>
                    <a:pt x="635" y="171"/>
                    <a:pt x="635" y="171"/>
                  </a:cubicBezTo>
                  <a:cubicBezTo>
                    <a:pt x="653" y="170"/>
                    <a:pt x="653" y="170"/>
                    <a:pt x="653" y="170"/>
                  </a:cubicBezTo>
                  <a:cubicBezTo>
                    <a:pt x="645" y="160"/>
                    <a:pt x="645" y="160"/>
                    <a:pt x="645" y="160"/>
                  </a:cubicBezTo>
                  <a:cubicBezTo>
                    <a:pt x="650" y="149"/>
                    <a:pt x="650" y="149"/>
                    <a:pt x="650" y="149"/>
                  </a:cubicBezTo>
                  <a:cubicBezTo>
                    <a:pt x="657" y="149"/>
                    <a:pt x="657" y="149"/>
                    <a:pt x="657" y="149"/>
                  </a:cubicBezTo>
                  <a:cubicBezTo>
                    <a:pt x="657" y="149"/>
                    <a:pt x="670" y="132"/>
                    <a:pt x="672" y="123"/>
                  </a:cubicBezTo>
                  <a:cubicBezTo>
                    <a:pt x="675" y="114"/>
                    <a:pt x="622" y="94"/>
                    <a:pt x="614" y="92"/>
                  </a:cubicBezTo>
                  <a:cubicBezTo>
                    <a:pt x="606" y="89"/>
                    <a:pt x="603" y="98"/>
                    <a:pt x="603" y="98"/>
                  </a:cubicBezTo>
                  <a:cubicBezTo>
                    <a:pt x="586" y="98"/>
                    <a:pt x="586" y="98"/>
                    <a:pt x="586" y="98"/>
                  </a:cubicBezTo>
                  <a:cubicBezTo>
                    <a:pt x="586" y="85"/>
                    <a:pt x="586" y="85"/>
                    <a:pt x="586" y="85"/>
                  </a:cubicBezTo>
                  <a:cubicBezTo>
                    <a:pt x="552" y="59"/>
                    <a:pt x="552" y="59"/>
                    <a:pt x="552" y="59"/>
                  </a:cubicBezTo>
                  <a:cubicBezTo>
                    <a:pt x="552" y="59"/>
                    <a:pt x="548" y="65"/>
                    <a:pt x="547" y="66"/>
                  </a:cubicBezTo>
                  <a:cubicBezTo>
                    <a:pt x="546" y="68"/>
                    <a:pt x="521" y="62"/>
                    <a:pt x="521" y="62"/>
                  </a:cubicBezTo>
                  <a:cubicBezTo>
                    <a:pt x="521" y="62"/>
                    <a:pt x="487" y="36"/>
                    <a:pt x="476" y="34"/>
                  </a:cubicBezTo>
                  <a:cubicBezTo>
                    <a:pt x="465" y="32"/>
                    <a:pt x="457" y="41"/>
                    <a:pt x="457" y="41"/>
                  </a:cubicBezTo>
                  <a:cubicBezTo>
                    <a:pt x="429" y="28"/>
                    <a:pt x="429" y="28"/>
                    <a:pt x="429" y="28"/>
                  </a:cubicBezTo>
                  <a:cubicBezTo>
                    <a:pt x="429" y="28"/>
                    <a:pt x="434" y="25"/>
                    <a:pt x="434" y="12"/>
                  </a:cubicBezTo>
                  <a:cubicBezTo>
                    <a:pt x="433" y="0"/>
                    <a:pt x="393" y="13"/>
                    <a:pt x="393" y="13"/>
                  </a:cubicBezTo>
                  <a:cubicBezTo>
                    <a:pt x="393" y="13"/>
                    <a:pt x="369" y="28"/>
                    <a:pt x="364" y="34"/>
                  </a:cubicBezTo>
                  <a:cubicBezTo>
                    <a:pt x="358" y="40"/>
                    <a:pt x="332" y="51"/>
                    <a:pt x="326" y="52"/>
                  </a:cubicBezTo>
                  <a:cubicBezTo>
                    <a:pt x="320" y="52"/>
                    <a:pt x="300" y="71"/>
                    <a:pt x="300" y="71"/>
                  </a:cubicBezTo>
                  <a:cubicBezTo>
                    <a:pt x="300" y="71"/>
                    <a:pt x="297" y="64"/>
                    <a:pt x="297" y="63"/>
                  </a:cubicBezTo>
                  <a:cubicBezTo>
                    <a:pt x="297" y="62"/>
                    <a:pt x="309" y="55"/>
                    <a:pt x="309" y="55"/>
                  </a:cubicBezTo>
                  <a:cubicBezTo>
                    <a:pt x="301" y="49"/>
                    <a:pt x="301" y="49"/>
                    <a:pt x="301" y="49"/>
                  </a:cubicBezTo>
                  <a:cubicBezTo>
                    <a:pt x="301" y="46"/>
                    <a:pt x="301" y="46"/>
                    <a:pt x="301" y="46"/>
                  </a:cubicBezTo>
                  <a:cubicBezTo>
                    <a:pt x="289" y="49"/>
                    <a:pt x="289" y="49"/>
                    <a:pt x="289" y="49"/>
                  </a:cubicBezTo>
                  <a:cubicBezTo>
                    <a:pt x="289" y="49"/>
                    <a:pt x="287" y="44"/>
                    <a:pt x="274" y="38"/>
                  </a:cubicBezTo>
                  <a:cubicBezTo>
                    <a:pt x="261" y="32"/>
                    <a:pt x="272" y="59"/>
                    <a:pt x="272" y="60"/>
                  </a:cubicBezTo>
                  <a:cubicBezTo>
                    <a:pt x="272" y="62"/>
                    <a:pt x="252" y="52"/>
                    <a:pt x="249" y="54"/>
                  </a:cubicBezTo>
                  <a:cubicBezTo>
                    <a:pt x="245" y="57"/>
                    <a:pt x="254" y="78"/>
                    <a:pt x="254" y="78"/>
                  </a:cubicBezTo>
                  <a:cubicBezTo>
                    <a:pt x="244" y="84"/>
                    <a:pt x="244" y="84"/>
                    <a:pt x="244" y="84"/>
                  </a:cubicBezTo>
                  <a:cubicBezTo>
                    <a:pt x="258" y="108"/>
                    <a:pt x="258" y="108"/>
                    <a:pt x="258" y="108"/>
                  </a:cubicBezTo>
                  <a:cubicBezTo>
                    <a:pt x="237" y="109"/>
                    <a:pt x="237" y="109"/>
                    <a:pt x="237" y="109"/>
                  </a:cubicBezTo>
                  <a:cubicBezTo>
                    <a:pt x="225" y="116"/>
                    <a:pt x="225" y="116"/>
                    <a:pt x="225" y="116"/>
                  </a:cubicBezTo>
                  <a:cubicBezTo>
                    <a:pt x="225" y="116"/>
                    <a:pt x="227" y="130"/>
                    <a:pt x="227" y="130"/>
                  </a:cubicBezTo>
                  <a:cubicBezTo>
                    <a:pt x="227" y="131"/>
                    <a:pt x="221" y="134"/>
                    <a:pt x="218" y="139"/>
                  </a:cubicBezTo>
                  <a:cubicBezTo>
                    <a:pt x="214" y="145"/>
                    <a:pt x="229" y="157"/>
                    <a:pt x="231" y="158"/>
                  </a:cubicBezTo>
                  <a:cubicBezTo>
                    <a:pt x="232" y="159"/>
                    <a:pt x="235" y="170"/>
                    <a:pt x="233" y="175"/>
                  </a:cubicBezTo>
                  <a:cubicBezTo>
                    <a:pt x="231" y="179"/>
                    <a:pt x="213" y="199"/>
                    <a:pt x="212" y="201"/>
                  </a:cubicBezTo>
                  <a:cubicBezTo>
                    <a:pt x="211" y="203"/>
                    <a:pt x="220" y="206"/>
                    <a:pt x="228" y="211"/>
                  </a:cubicBezTo>
                  <a:cubicBezTo>
                    <a:pt x="236" y="216"/>
                    <a:pt x="217" y="226"/>
                    <a:pt x="217" y="226"/>
                  </a:cubicBezTo>
                  <a:cubicBezTo>
                    <a:pt x="227" y="236"/>
                    <a:pt x="227" y="236"/>
                    <a:pt x="227" y="236"/>
                  </a:cubicBezTo>
                  <a:cubicBezTo>
                    <a:pt x="227" y="236"/>
                    <a:pt x="189" y="263"/>
                    <a:pt x="188" y="264"/>
                  </a:cubicBezTo>
                  <a:cubicBezTo>
                    <a:pt x="188" y="265"/>
                    <a:pt x="166" y="252"/>
                    <a:pt x="166" y="252"/>
                  </a:cubicBezTo>
                  <a:cubicBezTo>
                    <a:pt x="154" y="258"/>
                    <a:pt x="154" y="258"/>
                    <a:pt x="154" y="258"/>
                  </a:cubicBezTo>
                  <a:cubicBezTo>
                    <a:pt x="146" y="252"/>
                    <a:pt x="146" y="252"/>
                    <a:pt x="146" y="252"/>
                  </a:cubicBezTo>
                  <a:cubicBezTo>
                    <a:pt x="138" y="258"/>
                    <a:pt x="138" y="258"/>
                    <a:pt x="138" y="258"/>
                  </a:cubicBezTo>
                  <a:cubicBezTo>
                    <a:pt x="119" y="255"/>
                    <a:pt x="119" y="255"/>
                    <a:pt x="119" y="255"/>
                  </a:cubicBezTo>
                  <a:cubicBezTo>
                    <a:pt x="98" y="274"/>
                    <a:pt x="98" y="274"/>
                    <a:pt x="98" y="274"/>
                  </a:cubicBezTo>
                  <a:cubicBezTo>
                    <a:pt x="91" y="263"/>
                    <a:pt x="91" y="263"/>
                    <a:pt x="91" y="263"/>
                  </a:cubicBezTo>
                  <a:cubicBezTo>
                    <a:pt x="91" y="263"/>
                    <a:pt x="78" y="271"/>
                    <a:pt x="76" y="273"/>
                  </a:cubicBezTo>
                  <a:cubicBezTo>
                    <a:pt x="74" y="274"/>
                    <a:pt x="68" y="274"/>
                    <a:pt x="44" y="277"/>
                  </a:cubicBezTo>
                  <a:cubicBezTo>
                    <a:pt x="19" y="281"/>
                    <a:pt x="30" y="306"/>
                    <a:pt x="30" y="306"/>
                  </a:cubicBezTo>
                  <a:cubicBezTo>
                    <a:pt x="30" y="306"/>
                    <a:pt x="20" y="306"/>
                    <a:pt x="17" y="306"/>
                  </a:cubicBezTo>
                  <a:cubicBezTo>
                    <a:pt x="14" y="306"/>
                    <a:pt x="9" y="330"/>
                    <a:pt x="9" y="331"/>
                  </a:cubicBezTo>
                  <a:cubicBezTo>
                    <a:pt x="9" y="332"/>
                    <a:pt x="1" y="336"/>
                    <a:pt x="1" y="336"/>
                  </a:cubicBezTo>
                  <a:cubicBezTo>
                    <a:pt x="0" y="360"/>
                    <a:pt x="0" y="360"/>
                    <a:pt x="0" y="360"/>
                  </a:cubicBezTo>
                  <a:cubicBezTo>
                    <a:pt x="6" y="356"/>
                    <a:pt x="15" y="349"/>
                    <a:pt x="15" y="349"/>
                  </a:cubicBezTo>
                  <a:cubicBezTo>
                    <a:pt x="24" y="351"/>
                    <a:pt x="24" y="351"/>
                    <a:pt x="24" y="351"/>
                  </a:cubicBezTo>
                  <a:cubicBezTo>
                    <a:pt x="24" y="351"/>
                    <a:pt x="33" y="341"/>
                    <a:pt x="34" y="341"/>
                  </a:cubicBezTo>
                  <a:cubicBezTo>
                    <a:pt x="35" y="342"/>
                    <a:pt x="40" y="349"/>
                    <a:pt x="40" y="349"/>
                  </a:cubicBezTo>
                  <a:cubicBezTo>
                    <a:pt x="49" y="346"/>
                    <a:pt x="49" y="346"/>
                    <a:pt x="49" y="346"/>
                  </a:cubicBezTo>
                  <a:cubicBezTo>
                    <a:pt x="49" y="346"/>
                    <a:pt x="50" y="353"/>
                    <a:pt x="51" y="353"/>
                  </a:cubicBezTo>
                  <a:cubicBezTo>
                    <a:pt x="52" y="353"/>
                    <a:pt x="72" y="353"/>
                    <a:pt x="72" y="353"/>
                  </a:cubicBezTo>
                  <a:cubicBezTo>
                    <a:pt x="79" y="349"/>
                    <a:pt x="79" y="349"/>
                    <a:pt x="79" y="349"/>
                  </a:cubicBezTo>
                  <a:cubicBezTo>
                    <a:pt x="93" y="350"/>
                    <a:pt x="93" y="350"/>
                    <a:pt x="93" y="350"/>
                  </a:cubicBezTo>
                  <a:cubicBezTo>
                    <a:pt x="93" y="350"/>
                    <a:pt x="96" y="355"/>
                    <a:pt x="97" y="355"/>
                  </a:cubicBezTo>
                  <a:cubicBezTo>
                    <a:pt x="98" y="355"/>
                    <a:pt x="102" y="364"/>
                    <a:pt x="102" y="364"/>
                  </a:cubicBezTo>
                  <a:cubicBezTo>
                    <a:pt x="102" y="364"/>
                    <a:pt x="105" y="374"/>
                    <a:pt x="112" y="374"/>
                  </a:cubicBezTo>
                  <a:cubicBezTo>
                    <a:pt x="118" y="374"/>
                    <a:pt x="120" y="364"/>
                    <a:pt x="120" y="364"/>
                  </a:cubicBezTo>
                  <a:cubicBezTo>
                    <a:pt x="120" y="364"/>
                    <a:pt x="125" y="365"/>
                    <a:pt x="125" y="370"/>
                  </a:cubicBezTo>
                  <a:cubicBezTo>
                    <a:pt x="125" y="375"/>
                    <a:pt x="123" y="383"/>
                    <a:pt x="127" y="383"/>
                  </a:cubicBezTo>
                  <a:cubicBezTo>
                    <a:pt x="132" y="383"/>
                    <a:pt x="132" y="367"/>
                    <a:pt x="132" y="367"/>
                  </a:cubicBezTo>
                  <a:cubicBezTo>
                    <a:pt x="137" y="361"/>
                    <a:pt x="137" y="361"/>
                    <a:pt x="137" y="361"/>
                  </a:cubicBezTo>
                  <a:cubicBezTo>
                    <a:pt x="137" y="361"/>
                    <a:pt x="143" y="369"/>
                    <a:pt x="146" y="366"/>
                  </a:cubicBezTo>
                  <a:cubicBezTo>
                    <a:pt x="149" y="362"/>
                    <a:pt x="169" y="363"/>
                    <a:pt x="169" y="363"/>
                  </a:cubicBezTo>
                  <a:cubicBezTo>
                    <a:pt x="169" y="358"/>
                    <a:pt x="169" y="358"/>
                    <a:pt x="169" y="358"/>
                  </a:cubicBezTo>
                  <a:cubicBezTo>
                    <a:pt x="169" y="358"/>
                    <a:pt x="176" y="364"/>
                    <a:pt x="180" y="363"/>
                  </a:cubicBezTo>
                  <a:cubicBezTo>
                    <a:pt x="183" y="363"/>
                    <a:pt x="183" y="359"/>
                    <a:pt x="183" y="359"/>
                  </a:cubicBezTo>
                  <a:cubicBezTo>
                    <a:pt x="190" y="361"/>
                    <a:pt x="190" y="361"/>
                    <a:pt x="190" y="361"/>
                  </a:cubicBezTo>
                  <a:cubicBezTo>
                    <a:pt x="190" y="361"/>
                    <a:pt x="191" y="353"/>
                    <a:pt x="197" y="353"/>
                  </a:cubicBezTo>
                  <a:cubicBezTo>
                    <a:pt x="204" y="354"/>
                    <a:pt x="206" y="359"/>
                    <a:pt x="206" y="359"/>
                  </a:cubicBezTo>
                  <a:cubicBezTo>
                    <a:pt x="212" y="355"/>
                    <a:pt x="212" y="355"/>
                    <a:pt x="212" y="355"/>
                  </a:cubicBezTo>
                  <a:cubicBezTo>
                    <a:pt x="212" y="355"/>
                    <a:pt x="215" y="359"/>
                    <a:pt x="219" y="361"/>
                  </a:cubicBezTo>
                  <a:cubicBezTo>
                    <a:pt x="222" y="362"/>
                    <a:pt x="229" y="368"/>
                    <a:pt x="229" y="368"/>
                  </a:cubicBezTo>
                  <a:cubicBezTo>
                    <a:pt x="223" y="380"/>
                    <a:pt x="223" y="380"/>
                    <a:pt x="223" y="380"/>
                  </a:cubicBezTo>
                  <a:cubicBezTo>
                    <a:pt x="223" y="380"/>
                    <a:pt x="238" y="394"/>
                    <a:pt x="237" y="396"/>
                  </a:cubicBezTo>
                  <a:cubicBezTo>
                    <a:pt x="236" y="397"/>
                    <a:pt x="227" y="399"/>
                    <a:pt x="228" y="407"/>
                  </a:cubicBezTo>
                  <a:cubicBezTo>
                    <a:pt x="229" y="414"/>
                    <a:pt x="233" y="413"/>
                    <a:pt x="234" y="420"/>
                  </a:cubicBezTo>
                  <a:cubicBezTo>
                    <a:pt x="234" y="427"/>
                    <a:pt x="239" y="427"/>
                    <a:pt x="241" y="431"/>
                  </a:cubicBezTo>
                  <a:cubicBezTo>
                    <a:pt x="243" y="435"/>
                    <a:pt x="243" y="443"/>
                    <a:pt x="243" y="443"/>
                  </a:cubicBezTo>
                  <a:cubicBezTo>
                    <a:pt x="243" y="443"/>
                    <a:pt x="247" y="435"/>
                    <a:pt x="260" y="438"/>
                  </a:cubicBezTo>
                  <a:cubicBezTo>
                    <a:pt x="273" y="440"/>
                    <a:pt x="273" y="452"/>
                    <a:pt x="271" y="454"/>
                  </a:cubicBezTo>
                  <a:cubicBezTo>
                    <a:pt x="269" y="456"/>
                    <a:pt x="262" y="468"/>
                    <a:pt x="262" y="468"/>
                  </a:cubicBezTo>
                  <a:cubicBezTo>
                    <a:pt x="267" y="473"/>
                    <a:pt x="267" y="473"/>
                    <a:pt x="267" y="473"/>
                  </a:cubicBezTo>
                  <a:cubicBezTo>
                    <a:pt x="259" y="477"/>
                    <a:pt x="259" y="477"/>
                    <a:pt x="259" y="477"/>
                  </a:cubicBezTo>
                  <a:cubicBezTo>
                    <a:pt x="268" y="482"/>
                    <a:pt x="268" y="482"/>
                    <a:pt x="268" y="482"/>
                  </a:cubicBezTo>
                  <a:cubicBezTo>
                    <a:pt x="268" y="482"/>
                    <a:pt x="264" y="493"/>
                    <a:pt x="260" y="493"/>
                  </a:cubicBezTo>
                  <a:cubicBezTo>
                    <a:pt x="256" y="493"/>
                    <a:pt x="258" y="500"/>
                    <a:pt x="264" y="502"/>
                  </a:cubicBezTo>
                  <a:cubicBezTo>
                    <a:pt x="269" y="503"/>
                    <a:pt x="276" y="507"/>
                    <a:pt x="276" y="507"/>
                  </a:cubicBezTo>
                  <a:cubicBezTo>
                    <a:pt x="276" y="519"/>
                    <a:pt x="276" y="519"/>
                    <a:pt x="276" y="519"/>
                  </a:cubicBezTo>
                  <a:cubicBezTo>
                    <a:pt x="286" y="530"/>
                    <a:pt x="286" y="530"/>
                    <a:pt x="286" y="530"/>
                  </a:cubicBezTo>
                  <a:cubicBezTo>
                    <a:pt x="300" y="531"/>
                    <a:pt x="300" y="531"/>
                    <a:pt x="300" y="531"/>
                  </a:cubicBezTo>
                  <a:cubicBezTo>
                    <a:pt x="305" y="525"/>
                    <a:pt x="305" y="525"/>
                    <a:pt x="305" y="525"/>
                  </a:cubicBezTo>
                  <a:cubicBezTo>
                    <a:pt x="316" y="525"/>
                    <a:pt x="316" y="525"/>
                    <a:pt x="316" y="525"/>
                  </a:cubicBezTo>
                  <a:cubicBezTo>
                    <a:pt x="322" y="511"/>
                    <a:pt x="322" y="511"/>
                    <a:pt x="322" y="511"/>
                  </a:cubicBezTo>
                  <a:cubicBezTo>
                    <a:pt x="329" y="514"/>
                    <a:pt x="329" y="514"/>
                    <a:pt x="329" y="514"/>
                  </a:cubicBezTo>
                  <a:cubicBezTo>
                    <a:pt x="331" y="510"/>
                    <a:pt x="331" y="510"/>
                    <a:pt x="331" y="510"/>
                  </a:cubicBezTo>
                  <a:cubicBezTo>
                    <a:pt x="331" y="510"/>
                    <a:pt x="340" y="516"/>
                    <a:pt x="347" y="514"/>
                  </a:cubicBezTo>
                  <a:cubicBezTo>
                    <a:pt x="353" y="511"/>
                    <a:pt x="360" y="503"/>
                    <a:pt x="360" y="503"/>
                  </a:cubicBezTo>
                  <a:cubicBezTo>
                    <a:pt x="375" y="502"/>
                    <a:pt x="375" y="502"/>
                    <a:pt x="375" y="502"/>
                  </a:cubicBezTo>
                  <a:cubicBezTo>
                    <a:pt x="394" y="487"/>
                    <a:pt x="394" y="487"/>
                    <a:pt x="394" y="487"/>
                  </a:cubicBezTo>
                  <a:cubicBezTo>
                    <a:pt x="394" y="487"/>
                    <a:pt x="410" y="492"/>
                    <a:pt x="411" y="492"/>
                  </a:cubicBezTo>
                  <a:cubicBezTo>
                    <a:pt x="412" y="491"/>
                    <a:pt x="436" y="478"/>
                    <a:pt x="438" y="478"/>
                  </a:cubicBezTo>
                  <a:cubicBezTo>
                    <a:pt x="439" y="478"/>
                    <a:pt x="481" y="482"/>
                    <a:pt x="481" y="482"/>
                  </a:cubicBezTo>
                  <a:cubicBezTo>
                    <a:pt x="481" y="482"/>
                    <a:pt x="510" y="462"/>
                    <a:pt x="518" y="461"/>
                  </a:cubicBezTo>
                  <a:cubicBezTo>
                    <a:pt x="526" y="460"/>
                    <a:pt x="526" y="457"/>
                    <a:pt x="526" y="457"/>
                  </a:cubicBezTo>
                  <a:cubicBezTo>
                    <a:pt x="524" y="451"/>
                    <a:pt x="524" y="451"/>
                    <a:pt x="524" y="451"/>
                  </a:cubicBezTo>
                  <a:cubicBezTo>
                    <a:pt x="532" y="445"/>
                    <a:pt x="532" y="445"/>
                    <a:pt x="532" y="445"/>
                  </a:cubicBezTo>
                  <a:cubicBezTo>
                    <a:pt x="532" y="445"/>
                    <a:pt x="532" y="432"/>
                    <a:pt x="532" y="431"/>
                  </a:cubicBezTo>
                  <a:cubicBezTo>
                    <a:pt x="532" y="429"/>
                    <a:pt x="539" y="421"/>
                    <a:pt x="539" y="421"/>
                  </a:cubicBezTo>
                  <a:cubicBezTo>
                    <a:pt x="538" y="411"/>
                    <a:pt x="538" y="411"/>
                    <a:pt x="538" y="411"/>
                  </a:cubicBezTo>
                  <a:cubicBezTo>
                    <a:pt x="548" y="411"/>
                    <a:pt x="548" y="411"/>
                    <a:pt x="548" y="411"/>
                  </a:cubicBezTo>
                  <a:cubicBezTo>
                    <a:pt x="556" y="401"/>
                    <a:pt x="556" y="401"/>
                    <a:pt x="556" y="401"/>
                  </a:cubicBezTo>
                  <a:cubicBezTo>
                    <a:pt x="556" y="397"/>
                    <a:pt x="555" y="393"/>
                    <a:pt x="555" y="393"/>
                  </a:cubicBezTo>
                  <a:lnTo>
                    <a:pt x="560" y="38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00" name="Freeform 335">
              <a:extLst>
                <a:ext uri="{FF2B5EF4-FFF2-40B4-BE49-F238E27FC236}">
                  <a16:creationId xmlns:a16="http://schemas.microsoft.com/office/drawing/2014/main" id="{4AAF2CAE-11C8-48D2-A252-1F11D0A5829B}"/>
                </a:ext>
              </a:extLst>
            </p:cNvPr>
            <p:cNvSpPr>
              <a:spLocks noChangeAspect="1"/>
            </p:cNvSpPr>
            <p:nvPr/>
          </p:nvSpPr>
          <p:spPr bwMode="auto">
            <a:xfrm>
              <a:off x="13984" y="3001"/>
              <a:ext cx="257" cy="401"/>
            </a:xfrm>
            <a:custGeom>
              <a:avLst/>
              <a:gdLst/>
              <a:ahLst/>
              <a:cxnLst>
                <a:cxn ang="0">
                  <a:pos x="8" y="177"/>
                </a:cxn>
                <a:cxn ang="0">
                  <a:pos x="10" y="198"/>
                </a:cxn>
                <a:cxn ang="0">
                  <a:pos x="28" y="201"/>
                </a:cxn>
                <a:cxn ang="0">
                  <a:pos x="55" y="201"/>
                </a:cxn>
                <a:cxn ang="0">
                  <a:pos x="65" y="177"/>
                </a:cxn>
                <a:cxn ang="0">
                  <a:pos x="77" y="178"/>
                </a:cxn>
                <a:cxn ang="0">
                  <a:pos x="78" y="165"/>
                </a:cxn>
                <a:cxn ang="0">
                  <a:pos x="87" y="165"/>
                </a:cxn>
                <a:cxn ang="0">
                  <a:pos x="102" y="140"/>
                </a:cxn>
                <a:cxn ang="0">
                  <a:pos x="102" y="124"/>
                </a:cxn>
                <a:cxn ang="0">
                  <a:pos x="115" y="107"/>
                </a:cxn>
                <a:cxn ang="0">
                  <a:pos x="123" y="109"/>
                </a:cxn>
                <a:cxn ang="0">
                  <a:pos x="129" y="92"/>
                </a:cxn>
                <a:cxn ang="0">
                  <a:pos x="129" y="22"/>
                </a:cxn>
                <a:cxn ang="0">
                  <a:pos x="99" y="4"/>
                </a:cxn>
                <a:cxn ang="0">
                  <a:pos x="101" y="0"/>
                </a:cxn>
                <a:cxn ang="0">
                  <a:pos x="76" y="1"/>
                </a:cxn>
                <a:cxn ang="0">
                  <a:pos x="76" y="7"/>
                </a:cxn>
                <a:cxn ang="0">
                  <a:pos x="64" y="7"/>
                </a:cxn>
                <a:cxn ang="0">
                  <a:pos x="64" y="12"/>
                </a:cxn>
                <a:cxn ang="0">
                  <a:pos x="54" y="12"/>
                </a:cxn>
                <a:cxn ang="0">
                  <a:pos x="45" y="29"/>
                </a:cxn>
                <a:cxn ang="0">
                  <a:pos x="55" y="36"/>
                </a:cxn>
                <a:cxn ang="0">
                  <a:pos x="52" y="44"/>
                </a:cxn>
                <a:cxn ang="0">
                  <a:pos x="59" y="54"/>
                </a:cxn>
                <a:cxn ang="0">
                  <a:pos x="38" y="56"/>
                </a:cxn>
                <a:cxn ang="0">
                  <a:pos x="58" y="75"/>
                </a:cxn>
                <a:cxn ang="0">
                  <a:pos x="59" y="93"/>
                </a:cxn>
                <a:cxn ang="0">
                  <a:pos x="44" y="105"/>
                </a:cxn>
                <a:cxn ang="0">
                  <a:pos x="40" y="120"/>
                </a:cxn>
                <a:cxn ang="0">
                  <a:pos x="34" y="124"/>
                </a:cxn>
                <a:cxn ang="0">
                  <a:pos x="33" y="137"/>
                </a:cxn>
                <a:cxn ang="0">
                  <a:pos x="8" y="138"/>
                </a:cxn>
                <a:cxn ang="0">
                  <a:pos x="0" y="148"/>
                </a:cxn>
                <a:cxn ang="0">
                  <a:pos x="7" y="156"/>
                </a:cxn>
                <a:cxn ang="0">
                  <a:pos x="2" y="164"/>
                </a:cxn>
                <a:cxn ang="0">
                  <a:pos x="3" y="172"/>
                </a:cxn>
                <a:cxn ang="0">
                  <a:pos x="3" y="172"/>
                </a:cxn>
                <a:cxn ang="0">
                  <a:pos x="8" y="177"/>
                </a:cxn>
              </a:cxnLst>
              <a:rect l="0" t="0" r="r" b="b"/>
              <a:pathLst>
                <a:path w="129" h="201">
                  <a:moveTo>
                    <a:pt x="8" y="177"/>
                  </a:moveTo>
                  <a:cubicBezTo>
                    <a:pt x="8" y="181"/>
                    <a:pt x="10" y="198"/>
                    <a:pt x="10" y="198"/>
                  </a:cubicBezTo>
                  <a:cubicBezTo>
                    <a:pt x="28" y="201"/>
                    <a:pt x="28" y="201"/>
                    <a:pt x="28" y="201"/>
                  </a:cubicBezTo>
                  <a:cubicBezTo>
                    <a:pt x="55" y="201"/>
                    <a:pt x="55" y="201"/>
                    <a:pt x="55" y="201"/>
                  </a:cubicBezTo>
                  <a:cubicBezTo>
                    <a:pt x="65" y="177"/>
                    <a:pt x="65" y="177"/>
                    <a:pt x="65" y="177"/>
                  </a:cubicBezTo>
                  <a:cubicBezTo>
                    <a:pt x="77" y="178"/>
                    <a:pt x="77" y="178"/>
                    <a:pt x="77" y="178"/>
                  </a:cubicBezTo>
                  <a:cubicBezTo>
                    <a:pt x="78" y="165"/>
                    <a:pt x="78" y="165"/>
                    <a:pt x="78" y="165"/>
                  </a:cubicBezTo>
                  <a:cubicBezTo>
                    <a:pt x="87" y="165"/>
                    <a:pt x="87" y="165"/>
                    <a:pt x="87" y="165"/>
                  </a:cubicBezTo>
                  <a:cubicBezTo>
                    <a:pt x="102" y="140"/>
                    <a:pt x="102" y="140"/>
                    <a:pt x="102" y="140"/>
                  </a:cubicBezTo>
                  <a:cubicBezTo>
                    <a:pt x="102" y="140"/>
                    <a:pt x="102" y="126"/>
                    <a:pt x="102" y="124"/>
                  </a:cubicBezTo>
                  <a:cubicBezTo>
                    <a:pt x="102" y="121"/>
                    <a:pt x="107" y="114"/>
                    <a:pt x="115" y="107"/>
                  </a:cubicBezTo>
                  <a:cubicBezTo>
                    <a:pt x="123" y="101"/>
                    <a:pt x="123" y="109"/>
                    <a:pt x="123" y="109"/>
                  </a:cubicBezTo>
                  <a:cubicBezTo>
                    <a:pt x="129" y="92"/>
                    <a:pt x="129" y="92"/>
                    <a:pt x="129" y="92"/>
                  </a:cubicBezTo>
                  <a:cubicBezTo>
                    <a:pt x="129" y="22"/>
                    <a:pt x="129" y="22"/>
                    <a:pt x="129" y="22"/>
                  </a:cubicBezTo>
                  <a:cubicBezTo>
                    <a:pt x="99" y="4"/>
                    <a:pt x="99" y="4"/>
                    <a:pt x="99" y="4"/>
                  </a:cubicBezTo>
                  <a:cubicBezTo>
                    <a:pt x="101" y="0"/>
                    <a:pt x="101" y="0"/>
                    <a:pt x="101" y="0"/>
                  </a:cubicBezTo>
                  <a:cubicBezTo>
                    <a:pt x="76" y="1"/>
                    <a:pt x="76" y="1"/>
                    <a:pt x="76" y="1"/>
                  </a:cubicBezTo>
                  <a:cubicBezTo>
                    <a:pt x="76" y="7"/>
                    <a:pt x="76" y="7"/>
                    <a:pt x="76" y="7"/>
                  </a:cubicBezTo>
                  <a:cubicBezTo>
                    <a:pt x="76" y="7"/>
                    <a:pt x="66" y="7"/>
                    <a:pt x="64" y="7"/>
                  </a:cubicBezTo>
                  <a:cubicBezTo>
                    <a:pt x="63" y="7"/>
                    <a:pt x="64" y="12"/>
                    <a:pt x="64" y="12"/>
                  </a:cubicBezTo>
                  <a:cubicBezTo>
                    <a:pt x="64" y="12"/>
                    <a:pt x="62" y="12"/>
                    <a:pt x="54" y="12"/>
                  </a:cubicBezTo>
                  <a:cubicBezTo>
                    <a:pt x="46" y="12"/>
                    <a:pt x="45" y="29"/>
                    <a:pt x="45" y="29"/>
                  </a:cubicBezTo>
                  <a:cubicBezTo>
                    <a:pt x="55" y="36"/>
                    <a:pt x="55" y="36"/>
                    <a:pt x="55" y="36"/>
                  </a:cubicBezTo>
                  <a:cubicBezTo>
                    <a:pt x="55" y="36"/>
                    <a:pt x="52" y="43"/>
                    <a:pt x="52" y="44"/>
                  </a:cubicBezTo>
                  <a:cubicBezTo>
                    <a:pt x="52" y="46"/>
                    <a:pt x="59" y="54"/>
                    <a:pt x="59" y="54"/>
                  </a:cubicBezTo>
                  <a:cubicBezTo>
                    <a:pt x="38" y="56"/>
                    <a:pt x="38" y="56"/>
                    <a:pt x="38" y="56"/>
                  </a:cubicBezTo>
                  <a:cubicBezTo>
                    <a:pt x="38" y="56"/>
                    <a:pt x="49" y="70"/>
                    <a:pt x="58" y="75"/>
                  </a:cubicBezTo>
                  <a:cubicBezTo>
                    <a:pt x="67" y="80"/>
                    <a:pt x="59" y="87"/>
                    <a:pt x="59" y="93"/>
                  </a:cubicBezTo>
                  <a:cubicBezTo>
                    <a:pt x="59" y="99"/>
                    <a:pt x="44" y="105"/>
                    <a:pt x="44" y="105"/>
                  </a:cubicBezTo>
                  <a:cubicBezTo>
                    <a:pt x="40" y="120"/>
                    <a:pt x="40" y="120"/>
                    <a:pt x="40" y="120"/>
                  </a:cubicBezTo>
                  <a:cubicBezTo>
                    <a:pt x="34" y="124"/>
                    <a:pt x="34" y="124"/>
                    <a:pt x="34" y="124"/>
                  </a:cubicBezTo>
                  <a:cubicBezTo>
                    <a:pt x="33" y="137"/>
                    <a:pt x="33" y="137"/>
                    <a:pt x="33" y="137"/>
                  </a:cubicBezTo>
                  <a:cubicBezTo>
                    <a:pt x="8" y="138"/>
                    <a:pt x="8" y="138"/>
                    <a:pt x="8" y="138"/>
                  </a:cubicBezTo>
                  <a:cubicBezTo>
                    <a:pt x="0" y="148"/>
                    <a:pt x="0" y="148"/>
                    <a:pt x="0" y="148"/>
                  </a:cubicBezTo>
                  <a:cubicBezTo>
                    <a:pt x="7" y="156"/>
                    <a:pt x="7" y="156"/>
                    <a:pt x="7" y="156"/>
                  </a:cubicBezTo>
                  <a:cubicBezTo>
                    <a:pt x="2" y="164"/>
                    <a:pt x="2" y="164"/>
                    <a:pt x="2" y="164"/>
                  </a:cubicBezTo>
                  <a:cubicBezTo>
                    <a:pt x="2" y="164"/>
                    <a:pt x="3" y="168"/>
                    <a:pt x="3" y="172"/>
                  </a:cubicBezTo>
                  <a:cubicBezTo>
                    <a:pt x="3" y="172"/>
                    <a:pt x="3" y="172"/>
                    <a:pt x="3" y="172"/>
                  </a:cubicBezTo>
                  <a:cubicBezTo>
                    <a:pt x="3" y="172"/>
                    <a:pt x="8" y="172"/>
                    <a:pt x="8" y="177"/>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1" name="Freeform 337">
              <a:extLst>
                <a:ext uri="{FF2B5EF4-FFF2-40B4-BE49-F238E27FC236}">
                  <a16:creationId xmlns:a16="http://schemas.microsoft.com/office/drawing/2014/main" id="{257E5BD2-778E-4E00-9261-645AFCCB79D8}"/>
                </a:ext>
              </a:extLst>
            </p:cNvPr>
            <p:cNvSpPr>
              <a:spLocks noChangeAspect="1"/>
            </p:cNvSpPr>
            <p:nvPr/>
          </p:nvSpPr>
          <p:spPr bwMode="auto">
            <a:xfrm>
              <a:off x="13479" y="1161"/>
              <a:ext cx="687" cy="1000"/>
            </a:xfrm>
            <a:custGeom>
              <a:avLst/>
              <a:gdLst/>
              <a:ahLst/>
              <a:cxnLst>
                <a:cxn ang="0">
                  <a:pos x="46" y="488"/>
                </a:cxn>
                <a:cxn ang="0">
                  <a:pos x="88" y="478"/>
                </a:cxn>
                <a:cxn ang="0">
                  <a:pos x="102" y="474"/>
                </a:cxn>
                <a:cxn ang="0">
                  <a:pos x="124" y="465"/>
                </a:cxn>
                <a:cxn ang="0">
                  <a:pos x="142" y="435"/>
                </a:cxn>
                <a:cxn ang="0">
                  <a:pos x="154" y="395"/>
                </a:cxn>
                <a:cxn ang="0">
                  <a:pos x="183" y="404"/>
                </a:cxn>
                <a:cxn ang="0">
                  <a:pos x="231" y="396"/>
                </a:cxn>
                <a:cxn ang="0">
                  <a:pos x="283" y="384"/>
                </a:cxn>
                <a:cxn ang="0">
                  <a:pos x="321" y="318"/>
                </a:cxn>
                <a:cxn ang="0">
                  <a:pos x="322" y="288"/>
                </a:cxn>
                <a:cxn ang="0">
                  <a:pos x="336" y="268"/>
                </a:cxn>
                <a:cxn ang="0">
                  <a:pos x="336" y="254"/>
                </a:cxn>
                <a:cxn ang="0">
                  <a:pos x="333" y="242"/>
                </a:cxn>
                <a:cxn ang="0">
                  <a:pos x="310" y="203"/>
                </a:cxn>
                <a:cxn ang="0">
                  <a:pos x="289" y="135"/>
                </a:cxn>
                <a:cxn ang="0">
                  <a:pos x="288" y="113"/>
                </a:cxn>
                <a:cxn ang="0">
                  <a:pos x="295" y="79"/>
                </a:cxn>
                <a:cxn ang="0">
                  <a:pos x="285" y="67"/>
                </a:cxn>
                <a:cxn ang="0">
                  <a:pos x="284" y="57"/>
                </a:cxn>
                <a:cxn ang="0">
                  <a:pos x="280" y="43"/>
                </a:cxn>
                <a:cxn ang="0">
                  <a:pos x="289" y="23"/>
                </a:cxn>
                <a:cxn ang="0">
                  <a:pos x="265" y="12"/>
                </a:cxn>
                <a:cxn ang="0">
                  <a:pos x="252" y="0"/>
                </a:cxn>
                <a:cxn ang="0">
                  <a:pos x="250" y="30"/>
                </a:cxn>
                <a:cxn ang="0">
                  <a:pos x="235" y="45"/>
                </a:cxn>
                <a:cxn ang="0">
                  <a:pos x="202" y="74"/>
                </a:cxn>
                <a:cxn ang="0">
                  <a:pos x="194" y="107"/>
                </a:cxn>
                <a:cxn ang="0">
                  <a:pos x="191" y="142"/>
                </a:cxn>
                <a:cxn ang="0">
                  <a:pos x="186" y="164"/>
                </a:cxn>
                <a:cxn ang="0">
                  <a:pos x="177" y="179"/>
                </a:cxn>
                <a:cxn ang="0">
                  <a:pos x="176" y="196"/>
                </a:cxn>
                <a:cxn ang="0">
                  <a:pos x="194" y="217"/>
                </a:cxn>
                <a:cxn ang="0">
                  <a:pos x="166" y="246"/>
                </a:cxn>
                <a:cxn ang="0">
                  <a:pos x="146" y="243"/>
                </a:cxn>
                <a:cxn ang="0">
                  <a:pos x="110" y="262"/>
                </a:cxn>
                <a:cxn ang="0">
                  <a:pos x="81" y="284"/>
                </a:cxn>
                <a:cxn ang="0">
                  <a:pos x="65" y="291"/>
                </a:cxn>
                <a:cxn ang="0">
                  <a:pos x="35" y="304"/>
                </a:cxn>
                <a:cxn ang="0">
                  <a:pos x="16" y="343"/>
                </a:cxn>
                <a:cxn ang="0">
                  <a:pos x="3" y="373"/>
                </a:cxn>
                <a:cxn ang="0">
                  <a:pos x="9" y="403"/>
                </a:cxn>
                <a:cxn ang="0">
                  <a:pos x="11" y="411"/>
                </a:cxn>
                <a:cxn ang="0">
                  <a:pos x="0" y="454"/>
                </a:cxn>
                <a:cxn ang="0">
                  <a:pos x="8" y="459"/>
                </a:cxn>
                <a:cxn ang="0">
                  <a:pos x="23" y="453"/>
                </a:cxn>
                <a:cxn ang="0">
                  <a:pos x="37" y="464"/>
                </a:cxn>
              </a:cxnLst>
              <a:rect l="0" t="0" r="r" b="b"/>
              <a:pathLst>
                <a:path w="343" h="499">
                  <a:moveTo>
                    <a:pt x="37" y="464"/>
                  </a:moveTo>
                  <a:cubicBezTo>
                    <a:pt x="37" y="471"/>
                    <a:pt x="36" y="487"/>
                    <a:pt x="46" y="488"/>
                  </a:cubicBezTo>
                  <a:cubicBezTo>
                    <a:pt x="56" y="489"/>
                    <a:pt x="56" y="499"/>
                    <a:pt x="69" y="496"/>
                  </a:cubicBezTo>
                  <a:cubicBezTo>
                    <a:pt x="82" y="493"/>
                    <a:pt x="88" y="478"/>
                    <a:pt x="88" y="478"/>
                  </a:cubicBezTo>
                  <a:cubicBezTo>
                    <a:pt x="100" y="481"/>
                    <a:pt x="100" y="481"/>
                    <a:pt x="100" y="481"/>
                  </a:cubicBezTo>
                  <a:cubicBezTo>
                    <a:pt x="102" y="474"/>
                    <a:pt x="102" y="474"/>
                    <a:pt x="102" y="474"/>
                  </a:cubicBezTo>
                  <a:cubicBezTo>
                    <a:pt x="102" y="474"/>
                    <a:pt x="114" y="481"/>
                    <a:pt x="115" y="479"/>
                  </a:cubicBezTo>
                  <a:cubicBezTo>
                    <a:pt x="115" y="478"/>
                    <a:pt x="124" y="465"/>
                    <a:pt x="124" y="465"/>
                  </a:cubicBezTo>
                  <a:cubicBezTo>
                    <a:pt x="124" y="465"/>
                    <a:pt x="135" y="465"/>
                    <a:pt x="135" y="463"/>
                  </a:cubicBezTo>
                  <a:cubicBezTo>
                    <a:pt x="135" y="461"/>
                    <a:pt x="144" y="443"/>
                    <a:pt x="142" y="435"/>
                  </a:cubicBezTo>
                  <a:cubicBezTo>
                    <a:pt x="140" y="427"/>
                    <a:pt x="129" y="422"/>
                    <a:pt x="133" y="416"/>
                  </a:cubicBezTo>
                  <a:cubicBezTo>
                    <a:pt x="137" y="410"/>
                    <a:pt x="154" y="395"/>
                    <a:pt x="154" y="395"/>
                  </a:cubicBezTo>
                  <a:cubicBezTo>
                    <a:pt x="173" y="407"/>
                    <a:pt x="173" y="407"/>
                    <a:pt x="173" y="407"/>
                  </a:cubicBezTo>
                  <a:cubicBezTo>
                    <a:pt x="183" y="404"/>
                    <a:pt x="183" y="404"/>
                    <a:pt x="183" y="404"/>
                  </a:cubicBezTo>
                  <a:cubicBezTo>
                    <a:pt x="183" y="404"/>
                    <a:pt x="185" y="415"/>
                    <a:pt x="194" y="414"/>
                  </a:cubicBezTo>
                  <a:cubicBezTo>
                    <a:pt x="203" y="413"/>
                    <a:pt x="231" y="396"/>
                    <a:pt x="231" y="396"/>
                  </a:cubicBezTo>
                  <a:cubicBezTo>
                    <a:pt x="256" y="394"/>
                    <a:pt x="256" y="394"/>
                    <a:pt x="256" y="394"/>
                  </a:cubicBezTo>
                  <a:cubicBezTo>
                    <a:pt x="256" y="394"/>
                    <a:pt x="276" y="389"/>
                    <a:pt x="283" y="384"/>
                  </a:cubicBezTo>
                  <a:cubicBezTo>
                    <a:pt x="291" y="379"/>
                    <a:pt x="313" y="365"/>
                    <a:pt x="313" y="365"/>
                  </a:cubicBezTo>
                  <a:cubicBezTo>
                    <a:pt x="313" y="365"/>
                    <a:pt x="321" y="328"/>
                    <a:pt x="321" y="318"/>
                  </a:cubicBezTo>
                  <a:cubicBezTo>
                    <a:pt x="321" y="308"/>
                    <a:pt x="327" y="302"/>
                    <a:pt x="326" y="298"/>
                  </a:cubicBezTo>
                  <a:cubicBezTo>
                    <a:pt x="324" y="294"/>
                    <a:pt x="322" y="289"/>
                    <a:pt x="322" y="288"/>
                  </a:cubicBezTo>
                  <a:cubicBezTo>
                    <a:pt x="322" y="288"/>
                    <a:pt x="335" y="281"/>
                    <a:pt x="335" y="281"/>
                  </a:cubicBezTo>
                  <a:cubicBezTo>
                    <a:pt x="335" y="281"/>
                    <a:pt x="329" y="272"/>
                    <a:pt x="336" y="268"/>
                  </a:cubicBezTo>
                  <a:cubicBezTo>
                    <a:pt x="342" y="264"/>
                    <a:pt x="339" y="258"/>
                    <a:pt x="339" y="258"/>
                  </a:cubicBezTo>
                  <a:cubicBezTo>
                    <a:pt x="336" y="254"/>
                    <a:pt x="336" y="254"/>
                    <a:pt x="336" y="254"/>
                  </a:cubicBezTo>
                  <a:cubicBezTo>
                    <a:pt x="336" y="254"/>
                    <a:pt x="343" y="251"/>
                    <a:pt x="340" y="249"/>
                  </a:cubicBezTo>
                  <a:cubicBezTo>
                    <a:pt x="337" y="246"/>
                    <a:pt x="333" y="242"/>
                    <a:pt x="333" y="242"/>
                  </a:cubicBezTo>
                  <a:cubicBezTo>
                    <a:pt x="322" y="243"/>
                    <a:pt x="322" y="243"/>
                    <a:pt x="322" y="243"/>
                  </a:cubicBezTo>
                  <a:cubicBezTo>
                    <a:pt x="310" y="203"/>
                    <a:pt x="310" y="203"/>
                    <a:pt x="310" y="203"/>
                  </a:cubicBezTo>
                  <a:cubicBezTo>
                    <a:pt x="309" y="151"/>
                    <a:pt x="309" y="151"/>
                    <a:pt x="309" y="151"/>
                  </a:cubicBezTo>
                  <a:cubicBezTo>
                    <a:pt x="289" y="135"/>
                    <a:pt x="289" y="135"/>
                    <a:pt x="289" y="135"/>
                  </a:cubicBezTo>
                  <a:cubicBezTo>
                    <a:pt x="293" y="123"/>
                    <a:pt x="293" y="123"/>
                    <a:pt x="293" y="123"/>
                  </a:cubicBezTo>
                  <a:cubicBezTo>
                    <a:pt x="293" y="123"/>
                    <a:pt x="288" y="114"/>
                    <a:pt x="288" y="113"/>
                  </a:cubicBezTo>
                  <a:cubicBezTo>
                    <a:pt x="288" y="112"/>
                    <a:pt x="297" y="98"/>
                    <a:pt x="297" y="98"/>
                  </a:cubicBezTo>
                  <a:cubicBezTo>
                    <a:pt x="295" y="79"/>
                    <a:pt x="295" y="79"/>
                    <a:pt x="295" y="79"/>
                  </a:cubicBezTo>
                  <a:cubicBezTo>
                    <a:pt x="288" y="78"/>
                    <a:pt x="288" y="78"/>
                    <a:pt x="288" y="78"/>
                  </a:cubicBezTo>
                  <a:cubicBezTo>
                    <a:pt x="285" y="67"/>
                    <a:pt x="285" y="67"/>
                    <a:pt x="285" y="67"/>
                  </a:cubicBezTo>
                  <a:cubicBezTo>
                    <a:pt x="290" y="61"/>
                    <a:pt x="290" y="61"/>
                    <a:pt x="290" y="61"/>
                  </a:cubicBezTo>
                  <a:cubicBezTo>
                    <a:pt x="284" y="57"/>
                    <a:pt x="284" y="57"/>
                    <a:pt x="284" y="57"/>
                  </a:cubicBezTo>
                  <a:cubicBezTo>
                    <a:pt x="284" y="44"/>
                    <a:pt x="284" y="44"/>
                    <a:pt x="284" y="44"/>
                  </a:cubicBezTo>
                  <a:cubicBezTo>
                    <a:pt x="280" y="43"/>
                    <a:pt x="280" y="43"/>
                    <a:pt x="280" y="43"/>
                  </a:cubicBezTo>
                  <a:cubicBezTo>
                    <a:pt x="281" y="29"/>
                    <a:pt x="281" y="29"/>
                    <a:pt x="281" y="29"/>
                  </a:cubicBezTo>
                  <a:cubicBezTo>
                    <a:pt x="289" y="23"/>
                    <a:pt x="289" y="23"/>
                    <a:pt x="289" y="23"/>
                  </a:cubicBezTo>
                  <a:cubicBezTo>
                    <a:pt x="287" y="12"/>
                    <a:pt x="287" y="12"/>
                    <a:pt x="287" y="12"/>
                  </a:cubicBezTo>
                  <a:cubicBezTo>
                    <a:pt x="275" y="12"/>
                    <a:pt x="265" y="12"/>
                    <a:pt x="265" y="12"/>
                  </a:cubicBezTo>
                  <a:cubicBezTo>
                    <a:pt x="255" y="2"/>
                    <a:pt x="255" y="2"/>
                    <a:pt x="255" y="2"/>
                  </a:cubicBezTo>
                  <a:cubicBezTo>
                    <a:pt x="252" y="0"/>
                    <a:pt x="252" y="0"/>
                    <a:pt x="252" y="0"/>
                  </a:cubicBezTo>
                  <a:cubicBezTo>
                    <a:pt x="256" y="17"/>
                    <a:pt x="256" y="17"/>
                    <a:pt x="256" y="17"/>
                  </a:cubicBezTo>
                  <a:cubicBezTo>
                    <a:pt x="250" y="30"/>
                    <a:pt x="250" y="30"/>
                    <a:pt x="250" y="30"/>
                  </a:cubicBezTo>
                  <a:cubicBezTo>
                    <a:pt x="239" y="31"/>
                    <a:pt x="239" y="31"/>
                    <a:pt x="239" y="31"/>
                  </a:cubicBezTo>
                  <a:cubicBezTo>
                    <a:pt x="239" y="31"/>
                    <a:pt x="238" y="39"/>
                    <a:pt x="235" y="45"/>
                  </a:cubicBezTo>
                  <a:cubicBezTo>
                    <a:pt x="232" y="50"/>
                    <a:pt x="215" y="47"/>
                    <a:pt x="211" y="49"/>
                  </a:cubicBezTo>
                  <a:cubicBezTo>
                    <a:pt x="206" y="51"/>
                    <a:pt x="203" y="72"/>
                    <a:pt x="202" y="74"/>
                  </a:cubicBezTo>
                  <a:cubicBezTo>
                    <a:pt x="202" y="76"/>
                    <a:pt x="184" y="90"/>
                    <a:pt x="185" y="94"/>
                  </a:cubicBezTo>
                  <a:cubicBezTo>
                    <a:pt x="185" y="98"/>
                    <a:pt x="194" y="107"/>
                    <a:pt x="194" y="107"/>
                  </a:cubicBezTo>
                  <a:cubicBezTo>
                    <a:pt x="194" y="107"/>
                    <a:pt x="187" y="116"/>
                    <a:pt x="187" y="123"/>
                  </a:cubicBezTo>
                  <a:cubicBezTo>
                    <a:pt x="186" y="131"/>
                    <a:pt x="191" y="142"/>
                    <a:pt x="191" y="142"/>
                  </a:cubicBezTo>
                  <a:cubicBezTo>
                    <a:pt x="194" y="160"/>
                    <a:pt x="194" y="160"/>
                    <a:pt x="194" y="160"/>
                  </a:cubicBezTo>
                  <a:cubicBezTo>
                    <a:pt x="186" y="164"/>
                    <a:pt x="186" y="164"/>
                    <a:pt x="186" y="164"/>
                  </a:cubicBezTo>
                  <a:cubicBezTo>
                    <a:pt x="186" y="171"/>
                    <a:pt x="186" y="171"/>
                    <a:pt x="186" y="171"/>
                  </a:cubicBezTo>
                  <a:cubicBezTo>
                    <a:pt x="186" y="171"/>
                    <a:pt x="181" y="175"/>
                    <a:pt x="177" y="179"/>
                  </a:cubicBezTo>
                  <a:cubicBezTo>
                    <a:pt x="173" y="183"/>
                    <a:pt x="182" y="191"/>
                    <a:pt x="182" y="191"/>
                  </a:cubicBezTo>
                  <a:cubicBezTo>
                    <a:pt x="176" y="196"/>
                    <a:pt x="176" y="196"/>
                    <a:pt x="176" y="196"/>
                  </a:cubicBezTo>
                  <a:cubicBezTo>
                    <a:pt x="181" y="206"/>
                    <a:pt x="181" y="206"/>
                    <a:pt x="181" y="206"/>
                  </a:cubicBezTo>
                  <a:cubicBezTo>
                    <a:pt x="194" y="217"/>
                    <a:pt x="194" y="217"/>
                    <a:pt x="194" y="217"/>
                  </a:cubicBezTo>
                  <a:cubicBezTo>
                    <a:pt x="194" y="217"/>
                    <a:pt x="186" y="241"/>
                    <a:pt x="185" y="244"/>
                  </a:cubicBezTo>
                  <a:cubicBezTo>
                    <a:pt x="184" y="248"/>
                    <a:pt x="170" y="246"/>
                    <a:pt x="166" y="246"/>
                  </a:cubicBezTo>
                  <a:cubicBezTo>
                    <a:pt x="162" y="246"/>
                    <a:pt x="154" y="250"/>
                    <a:pt x="154" y="250"/>
                  </a:cubicBezTo>
                  <a:cubicBezTo>
                    <a:pt x="154" y="250"/>
                    <a:pt x="149" y="246"/>
                    <a:pt x="146" y="243"/>
                  </a:cubicBezTo>
                  <a:cubicBezTo>
                    <a:pt x="143" y="241"/>
                    <a:pt x="123" y="244"/>
                    <a:pt x="123" y="244"/>
                  </a:cubicBezTo>
                  <a:cubicBezTo>
                    <a:pt x="123" y="244"/>
                    <a:pt x="118" y="251"/>
                    <a:pt x="110" y="262"/>
                  </a:cubicBezTo>
                  <a:cubicBezTo>
                    <a:pt x="102" y="274"/>
                    <a:pt x="89" y="271"/>
                    <a:pt x="88" y="273"/>
                  </a:cubicBezTo>
                  <a:cubicBezTo>
                    <a:pt x="87" y="275"/>
                    <a:pt x="81" y="284"/>
                    <a:pt x="81" y="284"/>
                  </a:cubicBezTo>
                  <a:cubicBezTo>
                    <a:pt x="70" y="284"/>
                    <a:pt x="70" y="284"/>
                    <a:pt x="70" y="284"/>
                  </a:cubicBezTo>
                  <a:cubicBezTo>
                    <a:pt x="65" y="291"/>
                    <a:pt x="65" y="291"/>
                    <a:pt x="65" y="291"/>
                  </a:cubicBezTo>
                  <a:cubicBezTo>
                    <a:pt x="52" y="291"/>
                    <a:pt x="52" y="291"/>
                    <a:pt x="52" y="291"/>
                  </a:cubicBezTo>
                  <a:cubicBezTo>
                    <a:pt x="52" y="291"/>
                    <a:pt x="45" y="295"/>
                    <a:pt x="35" y="304"/>
                  </a:cubicBezTo>
                  <a:cubicBezTo>
                    <a:pt x="25" y="312"/>
                    <a:pt x="30" y="328"/>
                    <a:pt x="30" y="328"/>
                  </a:cubicBezTo>
                  <a:cubicBezTo>
                    <a:pt x="30" y="328"/>
                    <a:pt x="19" y="341"/>
                    <a:pt x="16" y="343"/>
                  </a:cubicBezTo>
                  <a:cubicBezTo>
                    <a:pt x="14" y="346"/>
                    <a:pt x="12" y="364"/>
                    <a:pt x="12" y="364"/>
                  </a:cubicBezTo>
                  <a:cubicBezTo>
                    <a:pt x="12" y="364"/>
                    <a:pt x="4" y="369"/>
                    <a:pt x="3" y="373"/>
                  </a:cubicBezTo>
                  <a:cubicBezTo>
                    <a:pt x="2" y="378"/>
                    <a:pt x="8" y="390"/>
                    <a:pt x="8" y="390"/>
                  </a:cubicBezTo>
                  <a:cubicBezTo>
                    <a:pt x="8" y="390"/>
                    <a:pt x="9" y="402"/>
                    <a:pt x="9" y="403"/>
                  </a:cubicBezTo>
                  <a:cubicBezTo>
                    <a:pt x="10" y="404"/>
                    <a:pt x="18" y="408"/>
                    <a:pt x="18" y="408"/>
                  </a:cubicBezTo>
                  <a:cubicBezTo>
                    <a:pt x="11" y="411"/>
                    <a:pt x="11" y="411"/>
                    <a:pt x="11" y="411"/>
                  </a:cubicBezTo>
                  <a:cubicBezTo>
                    <a:pt x="11" y="440"/>
                    <a:pt x="11" y="440"/>
                    <a:pt x="11" y="440"/>
                  </a:cubicBezTo>
                  <a:cubicBezTo>
                    <a:pt x="0" y="454"/>
                    <a:pt x="0" y="454"/>
                    <a:pt x="0" y="454"/>
                  </a:cubicBezTo>
                  <a:cubicBezTo>
                    <a:pt x="1" y="454"/>
                    <a:pt x="2" y="454"/>
                    <a:pt x="2" y="454"/>
                  </a:cubicBezTo>
                  <a:cubicBezTo>
                    <a:pt x="8" y="459"/>
                    <a:pt x="8" y="459"/>
                    <a:pt x="8" y="459"/>
                  </a:cubicBezTo>
                  <a:cubicBezTo>
                    <a:pt x="22" y="449"/>
                    <a:pt x="22" y="449"/>
                    <a:pt x="22" y="449"/>
                  </a:cubicBezTo>
                  <a:cubicBezTo>
                    <a:pt x="23" y="453"/>
                    <a:pt x="23" y="453"/>
                    <a:pt x="23" y="453"/>
                  </a:cubicBezTo>
                  <a:cubicBezTo>
                    <a:pt x="29" y="450"/>
                    <a:pt x="29" y="450"/>
                    <a:pt x="29" y="450"/>
                  </a:cubicBezTo>
                  <a:cubicBezTo>
                    <a:pt x="29" y="450"/>
                    <a:pt x="37" y="458"/>
                    <a:pt x="37" y="464"/>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2" name="Freeform 338">
              <a:extLst>
                <a:ext uri="{FF2B5EF4-FFF2-40B4-BE49-F238E27FC236}">
                  <a16:creationId xmlns:a16="http://schemas.microsoft.com/office/drawing/2014/main" id="{260CB543-7AC9-4539-BFCF-E48DB7955973}"/>
                </a:ext>
              </a:extLst>
            </p:cNvPr>
            <p:cNvSpPr>
              <a:spLocks noChangeAspect="1"/>
            </p:cNvSpPr>
            <p:nvPr/>
          </p:nvSpPr>
          <p:spPr bwMode="auto">
            <a:xfrm>
              <a:off x="14040" y="1167"/>
              <a:ext cx="500" cy="617"/>
            </a:xfrm>
            <a:custGeom>
              <a:avLst/>
              <a:gdLst/>
              <a:ahLst/>
              <a:cxnLst>
                <a:cxn ang="0">
                  <a:pos x="76" y="284"/>
                </a:cxn>
                <a:cxn ang="0">
                  <a:pos x="98" y="274"/>
                </a:cxn>
                <a:cxn ang="0">
                  <a:pos x="113" y="285"/>
                </a:cxn>
                <a:cxn ang="0">
                  <a:pos x="125" y="289"/>
                </a:cxn>
                <a:cxn ang="0">
                  <a:pos x="129" y="299"/>
                </a:cxn>
                <a:cxn ang="0">
                  <a:pos x="132" y="296"/>
                </a:cxn>
                <a:cxn ang="0">
                  <a:pos x="148" y="308"/>
                </a:cxn>
                <a:cxn ang="0">
                  <a:pos x="154" y="296"/>
                </a:cxn>
                <a:cxn ang="0">
                  <a:pos x="161" y="294"/>
                </a:cxn>
                <a:cxn ang="0">
                  <a:pos x="167" y="284"/>
                </a:cxn>
                <a:cxn ang="0">
                  <a:pos x="172" y="275"/>
                </a:cxn>
                <a:cxn ang="0">
                  <a:pos x="164" y="262"/>
                </a:cxn>
                <a:cxn ang="0">
                  <a:pos x="157" y="254"/>
                </a:cxn>
                <a:cxn ang="0">
                  <a:pos x="167" y="246"/>
                </a:cxn>
                <a:cxn ang="0">
                  <a:pos x="167" y="230"/>
                </a:cxn>
                <a:cxn ang="0">
                  <a:pos x="175" y="220"/>
                </a:cxn>
                <a:cxn ang="0">
                  <a:pos x="179" y="200"/>
                </a:cxn>
                <a:cxn ang="0">
                  <a:pos x="194" y="195"/>
                </a:cxn>
                <a:cxn ang="0">
                  <a:pos x="201" y="183"/>
                </a:cxn>
                <a:cxn ang="0">
                  <a:pos x="205" y="172"/>
                </a:cxn>
                <a:cxn ang="0">
                  <a:pos x="214" y="166"/>
                </a:cxn>
                <a:cxn ang="0">
                  <a:pos x="214" y="155"/>
                </a:cxn>
                <a:cxn ang="0">
                  <a:pos x="220" y="151"/>
                </a:cxn>
                <a:cxn ang="0">
                  <a:pos x="224" y="134"/>
                </a:cxn>
                <a:cxn ang="0">
                  <a:pos x="250" y="127"/>
                </a:cxn>
                <a:cxn ang="0">
                  <a:pos x="250" y="126"/>
                </a:cxn>
                <a:cxn ang="0">
                  <a:pos x="240" y="113"/>
                </a:cxn>
                <a:cxn ang="0">
                  <a:pos x="229" y="115"/>
                </a:cxn>
                <a:cxn ang="0">
                  <a:pos x="183" y="67"/>
                </a:cxn>
                <a:cxn ang="0">
                  <a:pos x="179" y="57"/>
                </a:cxn>
                <a:cxn ang="0">
                  <a:pos x="160" y="55"/>
                </a:cxn>
                <a:cxn ang="0">
                  <a:pos x="158" y="47"/>
                </a:cxn>
                <a:cxn ang="0">
                  <a:pos x="148" y="41"/>
                </a:cxn>
                <a:cxn ang="0">
                  <a:pos x="128" y="30"/>
                </a:cxn>
                <a:cxn ang="0">
                  <a:pos x="102" y="16"/>
                </a:cxn>
                <a:cxn ang="0">
                  <a:pos x="90" y="5"/>
                </a:cxn>
                <a:cxn ang="0">
                  <a:pos x="56" y="2"/>
                </a:cxn>
                <a:cxn ang="0">
                  <a:pos x="33" y="9"/>
                </a:cxn>
                <a:cxn ang="0">
                  <a:pos x="7" y="9"/>
                </a:cxn>
                <a:cxn ang="0">
                  <a:pos x="9" y="20"/>
                </a:cxn>
                <a:cxn ang="0">
                  <a:pos x="1" y="26"/>
                </a:cxn>
                <a:cxn ang="0">
                  <a:pos x="0" y="40"/>
                </a:cxn>
                <a:cxn ang="0">
                  <a:pos x="4" y="41"/>
                </a:cxn>
                <a:cxn ang="0">
                  <a:pos x="4" y="54"/>
                </a:cxn>
                <a:cxn ang="0">
                  <a:pos x="10" y="58"/>
                </a:cxn>
                <a:cxn ang="0">
                  <a:pos x="5" y="64"/>
                </a:cxn>
                <a:cxn ang="0">
                  <a:pos x="8" y="75"/>
                </a:cxn>
                <a:cxn ang="0">
                  <a:pos x="15" y="76"/>
                </a:cxn>
                <a:cxn ang="0">
                  <a:pos x="17" y="95"/>
                </a:cxn>
                <a:cxn ang="0">
                  <a:pos x="8" y="110"/>
                </a:cxn>
                <a:cxn ang="0">
                  <a:pos x="13" y="120"/>
                </a:cxn>
                <a:cxn ang="0">
                  <a:pos x="9" y="132"/>
                </a:cxn>
                <a:cxn ang="0">
                  <a:pos x="29" y="148"/>
                </a:cxn>
                <a:cxn ang="0">
                  <a:pos x="30" y="200"/>
                </a:cxn>
                <a:cxn ang="0">
                  <a:pos x="42" y="240"/>
                </a:cxn>
                <a:cxn ang="0">
                  <a:pos x="53" y="239"/>
                </a:cxn>
                <a:cxn ang="0">
                  <a:pos x="60" y="246"/>
                </a:cxn>
                <a:cxn ang="0">
                  <a:pos x="56" y="251"/>
                </a:cxn>
                <a:cxn ang="0">
                  <a:pos x="59" y="255"/>
                </a:cxn>
                <a:cxn ang="0">
                  <a:pos x="56" y="265"/>
                </a:cxn>
                <a:cxn ang="0">
                  <a:pos x="54" y="277"/>
                </a:cxn>
                <a:cxn ang="0">
                  <a:pos x="70" y="281"/>
                </a:cxn>
                <a:cxn ang="0">
                  <a:pos x="76" y="284"/>
                </a:cxn>
              </a:cxnLst>
              <a:rect l="0" t="0" r="r" b="b"/>
              <a:pathLst>
                <a:path w="250" h="308">
                  <a:moveTo>
                    <a:pt x="76" y="284"/>
                  </a:moveTo>
                  <a:cubicBezTo>
                    <a:pt x="76" y="284"/>
                    <a:pt x="86" y="274"/>
                    <a:pt x="98" y="274"/>
                  </a:cubicBezTo>
                  <a:cubicBezTo>
                    <a:pt x="109" y="275"/>
                    <a:pt x="113" y="285"/>
                    <a:pt x="113" y="285"/>
                  </a:cubicBezTo>
                  <a:cubicBezTo>
                    <a:pt x="113" y="285"/>
                    <a:pt x="123" y="281"/>
                    <a:pt x="125" y="289"/>
                  </a:cubicBezTo>
                  <a:cubicBezTo>
                    <a:pt x="127" y="297"/>
                    <a:pt x="129" y="299"/>
                    <a:pt x="129" y="299"/>
                  </a:cubicBezTo>
                  <a:cubicBezTo>
                    <a:pt x="132" y="296"/>
                    <a:pt x="132" y="296"/>
                    <a:pt x="132" y="296"/>
                  </a:cubicBezTo>
                  <a:cubicBezTo>
                    <a:pt x="148" y="308"/>
                    <a:pt x="148" y="308"/>
                    <a:pt x="148" y="308"/>
                  </a:cubicBezTo>
                  <a:cubicBezTo>
                    <a:pt x="148" y="308"/>
                    <a:pt x="148" y="297"/>
                    <a:pt x="154" y="296"/>
                  </a:cubicBezTo>
                  <a:cubicBezTo>
                    <a:pt x="159" y="295"/>
                    <a:pt x="161" y="294"/>
                    <a:pt x="161" y="294"/>
                  </a:cubicBezTo>
                  <a:cubicBezTo>
                    <a:pt x="161" y="294"/>
                    <a:pt x="165" y="287"/>
                    <a:pt x="167" y="284"/>
                  </a:cubicBezTo>
                  <a:cubicBezTo>
                    <a:pt x="169" y="282"/>
                    <a:pt x="175" y="281"/>
                    <a:pt x="172" y="275"/>
                  </a:cubicBezTo>
                  <a:cubicBezTo>
                    <a:pt x="170" y="269"/>
                    <a:pt x="165" y="263"/>
                    <a:pt x="164" y="262"/>
                  </a:cubicBezTo>
                  <a:cubicBezTo>
                    <a:pt x="164" y="261"/>
                    <a:pt x="157" y="255"/>
                    <a:pt x="157" y="254"/>
                  </a:cubicBezTo>
                  <a:cubicBezTo>
                    <a:pt x="157" y="254"/>
                    <a:pt x="167" y="247"/>
                    <a:pt x="167" y="246"/>
                  </a:cubicBezTo>
                  <a:cubicBezTo>
                    <a:pt x="167" y="245"/>
                    <a:pt x="167" y="230"/>
                    <a:pt x="167" y="230"/>
                  </a:cubicBezTo>
                  <a:cubicBezTo>
                    <a:pt x="167" y="230"/>
                    <a:pt x="175" y="223"/>
                    <a:pt x="175" y="220"/>
                  </a:cubicBezTo>
                  <a:cubicBezTo>
                    <a:pt x="174" y="217"/>
                    <a:pt x="173" y="201"/>
                    <a:pt x="179" y="200"/>
                  </a:cubicBezTo>
                  <a:cubicBezTo>
                    <a:pt x="185" y="199"/>
                    <a:pt x="192" y="197"/>
                    <a:pt x="194" y="195"/>
                  </a:cubicBezTo>
                  <a:cubicBezTo>
                    <a:pt x="196" y="193"/>
                    <a:pt x="201" y="188"/>
                    <a:pt x="201" y="183"/>
                  </a:cubicBezTo>
                  <a:cubicBezTo>
                    <a:pt x="201" y="178"/>
                    <a:pt x="200" y="176"/>
                    <a:pt x="205" y="172"/>
                  </a:cubicBezTo>
                  <a:cubicBezTo>
                    <a:pt x="211" y="168"/>
                    <a:pt x="214" y="166"/>
                    <a:pt x="214" y="166"/>
                  </a:cubicBezTo>
                  <a:cubicBezTo>
                    <a:pt x="214" y="165"/>
                    <a:pt x="214" y="155"/>
                    <a:pt x="214" y="155"/>
                  </a:cubicBezTo>
                  <a:cubicBezTo>
                    <a:pt x="220" y="151"/>
                    <a:pt x="220" y="151"/>
                    <a:pt x="220" y="151"/>
                  </a:cubicBezTo>
                  <a:cubicBezTo>
                    <a:pt x="220" y="151"/>
                    <a:pt x="217" y="136"/>
                    <a:pt x="224" y="134"/>
                  </a:cubicBezTo>
                  <a:cubicBezTo>
                    <a:pt x="232" y="132"/>
                    <a:pt x="250" y="127"/>
                    <a:pt x="250" y="127"/>
                  </a:cubicBezTo>
                  <a:cubicBezTo>
                    <a:pt x="250" y="127"/>
                    <a:pt x="250" y="127"/>
                    <a:pt x="250" y="126"/>
                  </a:cubicBezTo>
                  <a:cubicBezTo>
                    <a:pt x="240" y="113"/>
                    <a:pt x="240" y="113"/>
                    <a:pt x="240" y="113"/>
                  </a:cubicBezTo>
                  <a:cubicBezTo>
                    <a:pt x="229" y="115"/>
                    <a:pt x="229" y="115"/>
                    <a:pt x="229" y="115"/>
                  </a:cubicBezTo>
                  <a:cubicBezTo>
                    <a:pt x="229" y="115"/>
                    <a:pt x="192" y="72"/>
                    <a:pt x="183" y="67"/>
                  </a:cubicBezTo>
                  <a:cubicBezTo>
                    <a:pt x="174" y="62"/>
                    <a:pt x="179" y="57"/>
                    <a:pt x="179" y="57"/>
                  </a:cubicBezTo>
                  <a:cubicBezTo>
                    <a:pt x="160" y="55"/>
                    <a:pt x="160" y="55"/>
                    <a:pt x="160" y="55"/>
                  </a:cubicBezTo>
                  <a:cubicBezTo>
                    <a:pt x="158" y="47"/>
                    <a:pt x="158" y="47"/>
                    <a:pt x="158" y="47"/>
                  </a:cubicBezTo>
                  <a:cubicBezTo>
                    <a:pt x="148" y="41"/>
                    <a:pt x="148" y="41"/>
                    <a:pt x="148" y="41"/>
                  </a:cubicBezTo>
                  <a:cubicBezTo>
                    <a:pt x="148" y="41"/>
                    <a:pt x="139" y="40"/>
                    <a:pt x="128" y="30"/>
                  </a:cubicBezTo>
                  <a:cubicBezTo>
                    <a:pt x="117" y="20"/>
                    <a:pt x="109" y="17"/>
                    <a:pt x="102" y="16"/>
                  </a:cubicBezTo>
                  <a:cubicBezTo>
                    <a:pt x="95" y="15"/>
                    <a:pt x="90" y="5"/>
                    <a:pt x="90" y="5"/>
                  </a:cubicBezTo>
                  <a:cubicBezTo>
                    <a:pt x="90" y="5"/>
                    <a:pt x="58" y="0"/>
                    <a:pt x="56" y="2"/>
                  </a:cubicBezTo>
                  <a:cubicBezTo>
                    <a:pt x="54" y="4"/>
                    <a:pt x="34" y="9"/>
                    <a:pt x="33" y="9"/>
                  </a:cubicBezTo>
                  <a:cubicBezTo>
                    <a:pt x="33" y="10"/>
                    <a:pt x="19" y="10"/>
                    <a:pt x="7" y="9"/>
                  </a:cubicBezTo>
                  <a:cubicBezTo>
                    <a:pt x="9" y="20"/>
                    <a:pt x="9" y="20"/>
                    <a:pt x="9" y="20"/>
                  </a:cubicBezTo>
                  <a:cubicBezTo>
                    <a:pt x="1" y="26"/>
                    <a:pt x="1" y="26"/>
                    <a:pt x="1" y="26"/>
                  </a:cubicBezTo>
                  <a:cubicBezTo>
                    <a:pt x="0" y="40"/>
                    <a:pt x="0" y="40"/>
                    <a:pt x="0" y="40"/>
                  </a:cubicBezTo>
                  <a:cubicBezTo>
                    <a:pt x="4" y="41"/>
                    <a:pt x="4" y="41"/>
                    <a:pt x="4" y="41"/>
                  </a:cubicBezTo>
                  <a:cubicBezTo>
                    <a:pt x="4" y="54"/>
                    <a:pt x="4" y="54"/>
                    <a:pt x="4" y="54"/>
                  </a:cubicBezTo>
                  <a:cubicBezTo>
                    <a:pt x="10" y="58"/>
                    <a:pt x="10" y="58"/>
                    <a:pt x="10" y="58"/>
                  </a:cubicBezTo>
                  <a:cubicBezTo>
                    <a:pt x="5" y="64"/>
                    <a:pt x="5" y="64"/>
                    <a:pt x="5" y="64"/>
                  </a:cubicBezTo>
                  <a:cubicBezTo>
                    <a:pt x="8" y="75"/>
                    <a:pt x="8" y="75"/>
                    <a:pt x="8" y="75"/>
                  </a:cubicBezTo>
                  <a:cubicBezTo>
                    <a:pt x="15" y="76"/>
                    <a:pt x="15" y="76"/>
                    <a:pt x="15" y="76"/>
                  </a:cubicBezTo>
                  <a:cubicBezTo>
                    <a:pt x="17" y="95"/>
                    <a:pt x="17" y="95"/>
                    <a:pt x="17" y="95"/>
                  </a:cubicBezTo>
                  <a:cubicBezTo>
                    <a:pt x="17" y="95"/>
                    <a:pt x="8" y="109"/>
                    <a:pt x="8" y="110"/>
                  </a:cubicBezTo>
                  <a:cubicBezTo>
                    <a:pt x="8" y="111"/>
                    <a:pt x="13" y="120"/>
                    <a:pt x="13" y="120"/>
                  </a:cubicBezTo>
                  <a:cubicBezTo>
                    <a:pt x="9" y="132"/>
                    <a:pt x="9" y="132"/>
                    <a:pt x="9" y="132"/>
                  </a:cubicBezTo>
                  <a:cubicBezTo>
                    <a:pt x="29" y="148"/>
                    <a:pt x="29" y="148"/>
                    <a:pt x="29" y="148"/>
                  </a:cubicBezTo>
                  <a:cubicBezTo>
                    <a:pt x="30" y="200"/>
                    <a:pt x="30" y="200"/>
                    <a:pt x="30" y="200"/>
                  </a:cubicBezTo>
                  <a:cubicBezTo>
                    <a:pt x="42" y="240"/>
                    <a:pt x="42" y="240"/>
                    <a:pt x="42" y="240"/>
                  </a:cubicBezTo>
                  <a:cubicBezTo>
                    <a:pt x="53" y="239"/>
                    <a:pt x="53" y="239"/>
                    <a:pt x="53" y="239"/>
                  </a:cubicBezTo>
                  <a:cubicBezTo>
                    <a:pt x="53" y="239"/>
                    <a:pt x="57" y="243"/>
                    <a:pt x="60" y="246"/>
                  </a:cubicBezTo>
                  <a:cubicBezTo>
                    <a:pt x="63" y="248"/>
                    <a:pt x="56" y="251"/>
                    <a:pt x="56" y="251"/>
                  </a:cubicBezTo>
                  <a:cubicBezTo>
                    <a:pt x="59" y="255"/>
                    <a:pt x="59" y="255"/>
                    <a:pt x="59" y="255"/>
                  </a:cubicBezTo>
                  <a:cubicBezTo>
                    <a:pt x="59" y="255"/>
                    <a:pt x="62" y="261"/>
                    <a:pt x="56" y="265"/>
                  </a:cubicBezTo>
                  <a:cubicBezTo>
                    <a:pt x="51" y="268"/>
                    <a:pt x="53" y="275"/>
                    <a:pt x="54" y="277"/>
                  </a:cubicBezTo>
                  <a:cubicBezTo>
                    <a:pt x="70" y="281"/>
                    <a:pt x="70" y="281"/>
                    <a:pt x="70" y="281"/>
                  </a:cubicBezTo>
                  <a:lnTo>
                    <a:pt x="76" y="284"/>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3" name="Freeform 339">
              <a:extLst>
                <a:ext uri="{FF2B5EF4-FFF2-40B4-BE49-F238E27FC236}">
                  <a16:creationId xmlns:a16="http://schemas.microsoft.com/office/drawing/2014/main" id="{80569613-9CE3-4422-98F7-32D7BEF4D038}"/>
                </a:ext>
              </a:extLst>
            </p:cNvPr>
            <p:cNvSpPr>
              <a:spLocks noChangeAspect="1"/>
            </p:cNvSpPr>
            <p:nvPr/>
          </p:nvSpPr>
          <p:spPr bwMode="auto">
            <a:xfrm>
              <a:off x="14386" y="1419"/>
              <a:ext cx="433" cy="261"/>
            </a:xfrm>
            <a:custGeom>
              <a:avLst/>
              <a:gdLst/>
              <a:ahLst/>
              <a:cxnLst>
                <a:cxn ang="0">
                  <a:pos x="16" y="104"/>
                </a:cxn>
                <a:cxn ang="0">
                  <a:pos x="19" y="98"/>
                </a:cxn>
                <a:cxn ang="0">
                  <a:pos x="25" y="103"/>
                </a:cxn>
                <a:cxn ang="0">
                  <a:pos x="32" y="96"/>
                </a:cxn>
                <a:cxn ang="0">
                  <a:pos x="41" y="94"/>
                </a:cxn>
                <a:cxn ang="0">
                  <a:pos x="48" y="82"/>
                </a:cxn>
                <a:cxn ang="0">
                  <a:pos x="63" y="80"/>
                </a:cxn>
                <a:cxn ang="0">
                  <a:pos x="78" y="70"/>
                </a:cxn>
                <a:cxn ang="0">
                  <a:pos x="83" y="79"/>
                </a:cxn>
                <a:cxn ang="0">
                  <a:pos x="77" y="82"/>
                </a:cxn>
                <a:cxn ang="0">
                  <a:pos x="69" y="92"/>
                </a:cxn>
                <a:cxn ang="0">
                  <a:pos x="71" y="98"/>
                </a:cxn>
                <a:cxn ang="0">
                  <a:pos x="64" y="104"/>
                </a:cxn>
                <a:cxn ang="0">
                  <a:pos x="63" y="112"/>
                </a:cxn>
                <a:cxn ang="0">
                  <a:pos x="81" y="119"/>
                </a:cxn>
                <a:cxn ang="0">
                  <a:pos x="103" y="115"/>
                </a:cxn>
                <a:cxn ang="0">
                  <a:pos x="108" y="130"/>
                </a:cxn>
                <a:cxn ang="0">
                  <a:pos x="123" y="119"/>
                </a:cxn>
                <a:cxn ang="0">
                  <a:pos x="121" y="112"/>
                </a:cxn>
                <a:cxn ang="0">
                  <a:pos x="125" y="108"/>
                </a:cxn>
                <a:cxn ang="0">
                  <a:pos x="120" y="99"/>
                </a:cxn>
                <a:cxn ang="0">
                  <a:pos x="131" y="90"/>
                </a:cxn>
                <a:cxn ang="0">
                  <a:pos x="153" y="97"/>
                </a:cxn>
                <a:cxn ang="0">
                  <a:pos x="188" y="97"/>
                </a:cxn>
                <a:cxn ang="0">
                  <a:pos x="193" y="102"/>
                </a:cxn>
                <a:cxn ang="0">
                  <a:pos x="216" y="102"/>
                </a:cxn>
                <a:cxn ang="0">
                  <a:pos x="215" y="98"/>
                </a:cxn>
                <a:cxn ang="0">
                  <a:pos x="209" y="87"/>
                </a:cxn>
                <a:cxn ang="0">
                  <a:pos x="208" y="69"/>
                </a:cxn>
                <a:cxn ang="0">
                  <a:pos x="201" y="46"/>
                </a:cxn>
                <a:cxn ang="0">
                  <a:pos x="181" y="19"/>
                </a:cxn>
                <a:cxn ang="0">
                  <a:pos x="160" y="12"/>
                </a:cxn>
                <a:cxn ang="0">
                  <a:pos x="138" y="18"/>
                </a:cxn>
                <a:cxn ang="0">
                  <a:pos x="128" y="12"/>
                </a:cxn>
                <a:cxn ang="0">
                  <a:pos x="115" y="19"/>
                </a:cxn>
                <a:cxn ang="0">
                  <a:pos x="101" y="7"/>
                </a:cxn>
                <a:cxn ang="0">
                  <a:pos x="82" y="7"/>
                </a:cxn>
                <a:cxn ang="0">
                  <a:pos x="77" y="0"/>
                </a:cxn>
                <a:cxn ang="0">
                  <a:pos x="77" y="1"/>
                </a:cxn>
                <a:cxn ang="0">
                  <a:pos x="51" y="8"/>
                </a:cxn>
                <a:cxn ang="0">
                  <a:pos x="47" y="25"/>
                </a:cxn>
                <a:cxn ang="0">
                  <a:pos x="41" y="29"/>
                </a:cxn>
                <a:cxn ang="0">
                  <a:pos x="41" y="40"/>
                </a:cxn>
                <a:cxn ang="0">
                  <a:pos x="32" y="46"/>
                </a:cxn>
                <a:cxn ang="0">
                  <a:pos x="28" y="57"/>
                </a:cxn>
                <a:cxn ang="0">
                  <a:pos x="21" y="69"/>
                </a:cxn>
                <a:cxn ang="0">
                  <a:pos x="6" y="74"/>
                </a:cxn>
                <a:cxn ang="0">
                  <a:pos x="2" y="94"/>
                </a:cxn>
                <a:cxn ang="0">
                  <a:pos x="2" y="94"/>
                </a:cxn>
                <a:cxn ang="0">
                  <a:pos x="10" y="97"/>
                </a:cxn>
                <a:cxn ang="0">
                  <a:pos x="16" y="104"/>
                </a:cxn>
              </a:cxnLst>
              <a:rect l="0" t="0" r="r" b="b"/>
              <a:pathLst>
                <a:path w="216" h="131">
                  <a:moveTo>
                    <a:pt x="16" y="104"/>
                  </a:moveTo>
                  <a:cubicBezTo>
                    <a:pt x="19" y="98"/>
                    <a:pt x="19" y="98"/>
                    <a:pt x="19" y="98"/>
                  </a:cubicBezTo>
                  <a:cubicBezTo>
                    <a:pt x="25" y="103"/>
                    <a:pt x="25" y="103"/>
                    <a:pt x="25" y="103"/>
                  </a:cubicBezTo>
                  <a:cubicBezTo>
                    <a:pt x="25" y="103"/>
                    <a:pt x="33" y="96"/>
                    <a:pt x="32" y="96"/>
                  </a:cubicBezTo>
                  <a:cubicBezTo>
                    <a:pt x="31" y="95"/>
                    <a:pt x="35" y="94"/>
                    <a:pt x="41" y="94"/>
                  </a:cubicBezTo>
                  <a:cubicBezTo>
                    <a:pt x="46" y="94"/>
                    <a:pt x="47" y="86"/>
                    <a:pt x="48" y="82"/>
                  </a:cubicBezTo>
                  <a:cubicBezTo>
                    <a:pt x="50" y="79"/>
                    <a:pt x="58" y="81"/>
                    <a:pt x="63" y="80"/>
                  </a:cubicBezTo>
                  <a:cubicBezTo>
                    <a:pt x="68" y="80"/>
                    <a:pt x="78" y="70"/>
                    <a:pt x="78" y="70"/>
                  </a:cubicBezTo>
                  <a:cubicBezTo>
                    <a:pt x="78" y="70"/>
                    <a:pt x="83" y="78"/>
                    <a:pt x="83" y="79"/>
                  </a:cubicBezTo>
                  <a:cubicBezTo>
                    <a:pt x="83" y="79"/>
                    <a:pt x="77" y="82"/>
                    <a:pt x="77" y="82"/>
                  </a:cubicBezTo>
                  <a:cubicBezTo>
                    <a:pt x="69" y="92"/>
                    <a:pt x="69" y="92"/>
                    <a:pt x="69" y="92"/>
                  </a:cubicBezTo>
                  <a:cubicBezTo>
                    <a:pt x="71" y="98"/>
                    <a:pt x="71" y="98"/>
                    <a:pt x="71" y="98"/>
                  </a:cubicBezTo>
                  <a:cubicBezTo>
                    <a:pt x="71" y="98"/>
                    <a:pt x="65" y="103"/>
                    <a:pt x="64" y="104"/>
                  </a:cubicBezTo>
                  <a:cubicBezTo>
                    <a:pt x="64" y="105"/>
                    <a:pt x="63" y="112"/>
                    <a:pt x="63" y="112"/>
                  </a:cubicBezTo>
                  <a:cubicBezTo>
                    <a:pt x="63" y="112"/>
                    <a:pt x="79" y="119"/>
                    <a:pt x="81" y="119"/>
                  </a:cubicBezTo>
                  <a:cubicBezTo>
                    <a:pt x="83" y="120"/>
                    <a:pt x="95" y="114"/>
                    <a:pt x="103" y="115"/>
                  </a:cubicBezTo>
                  <a:cubicBezTo>
                    <a:pt x="112" y="115"/>
                    <a:pt x="108" y="129"/>
                    <a:pt x="108" y="130"/>
                  </a:cubicBezTo>
                  <a:cubicBezTo>
                    <a:pt x="108" y="131"/>
                    <a:pt x="123" y="119"/>
                    <a:pt x="123" y="119"/>
                  </a:cubicBezTo>
                  <a:cubicBezTo>
                    <a:pt x="121" y="112"/>
                    <a:pt x="121" y="112"/>
                    <a:pt x="121" y="112"/>
                  </a:cubicBezTo>
                  <a:cubicBezTo>
                    <a:pt x="125" y="108"/>
                    <a:pt x="125" y="108"/>
                    <a:pt x="125" y="108"/>
                  </a:cubicBezTo>
                  <a:cubicBezTo>
                    <a:pt x="120" y="99"/>
                    <a:pt x="120" y="99"/>
                    <a:pt x="120" y="99"/>
                  </a:cubicBezTo>
                  <a:cubicBezTo>
                    <a:pt x="120" y="99"/>
                    <a:pt x="125" y="90"/>
                    <a:pt x="131" y="90"/>
                  </a:cubicBezTo>
                  <a:cubicBezTo>
                    <a:pt x="138" y="89"/>
                    <a:pt x="153" y="97"/>
                    <a:pt x="153" y="97"/>
                  </a:cubicBezTo>
                  <a:cubicBezTo>
                    <a:pt x="153" y="97"/>
                    <a:pt x="188" y="97"/>
                    <a:pt x="188" y="97"/>
                  </a:cubicBezTo>
                  <a:cubicBezTo>
                    <a:pt x="189" y="97"/>
                    <a:pt x="193" y="102"/>
                    <a:pt x="193" y="102"/>
                  </a:cubicBezTo>
                  <a:cubicBezTo>
                    <a:pt x="216" y="102"/>
                    <a:pt x="216" y="102"/>
                    <a:pt x="216" y="102"/>
                  </a:cubicBezTo>
                  <a:cubicBezTo>
                    <a:pt x="216" y="100"/>
                    <a:pt x="215" y="98"/>
                    <a:pt x="215" y="98"/>
                  </a:cubicBezTo>
                  <a:cubicBezTo>
                    <a:pt x="209" y="87"/>
                    <a:pt x="209" y="87"/>
                    <a:pt x="209" y="87"/>
                  </a:cubicBezTo>
                  <a:cubicBezTo>
                    <a:pt x="208" y="69"/>
                    <a:pt x="208" y="69"/>
                    <a:pt x="208" y="69"/>
                  </a:cubicBezTo>
                  <a:cubicBezTo>
                    <a:pt x="208" y="69"/>
                    <a:pt x="201" y="55"/>
                    <a:pt x="201" y="46"/>
                  </a:cubicBezTo>
                  <a:cubicBezTo>
                    <a:pt x="201" y="36"/>
                    <a:pt x="190" y="26"/>
                    <a:pt x="181" y="19"/>
                  </a:cubicBezTo>
                  <a:cubicBezTo>
                    <a:pt x="173" y="11"/>
                    <a:pt x="160" y="12"/>
                    <a:pt x="160" y="12"/>
                  </a:cubicBezTo>
                  <a:cubicBezTo>
                    <a:pt x="160" y="12"/>
                    <a:pt x="143" y="17"/>
                    <a:pt x="138" y="18"/>
                  </a:cubicBezTo>
                  <a:cubicBezTo>
                    <a:pt x="134" y="19"/>
                    <a:pt x="128" y="12"/>
                    <a:pt x="128" y="12"/>
                  </a:cubicBezTo>
                  <a:cubicBezTo>
                    <a:pt x="115" y="19"/>
                    <a:pt x="115" y="19"/>
                    <a:pt x="115" y="19"/>
                  </a:cubicBezTo>
                  <a:cubicBezTo>
                    <a:pt x="101" y="7"/>
                    <a:pt x="101" y="7"/>
                    <a:pt x="101" y="7"/>
                  </a:cubicBezTo>
                  <a:cubicBezTo>
                    <a:pt x="82" y="7"/>
                    <a:pt x="82" y="7"/>
                    <a:pt x="82" y="7"/>
                  </a:cubicBezTo>
                  <a:cubicBezTo>
                    <a:pt x="77" y="0"/>
                    <a:pt x="77" y="0"/>
                    <a:pt x="77" y="0"/>
                  </a:cubicBezTo>
                  <a:cubicBezTo>
                    <a:pt x="77" y="1"/>
                    <a:pt x="77" y="1"/>
                    <a:pt x="77" y="1"/>
                  </a:cubicBezTo>
                  <a:cubicBezTo>
                    <a:pt x="77" y="1"/>
                    <a:pt x="59" y="6"/>
                    <a:pt x="51" y="8"/>
                  </a:cubicBezTo>
                  <a:cubicBezTo>
                    <a:pt x="44" y="10"/>
                    <a:pt x="47" y="25"/>
                    <a:pt x="47" y="25"/>
                  </a:cubicBezTo>
                  <a:cubicBezTo>
                    <a:pt x="41" y="29"/>
                    <a:pt x="41" y="29"/>
                    <a:pt x="41" y="29"/>
                  </a:cubicBezTo>
                  <a:cubicBezTo>
                    <a:pt x="41" y="29"/>
                    <a:pt x="41" y="39"/>
                    <a:pt x="41" y="40"/>
                  </a:cubicBezTo>
                  <a:cubicBezTo>
                    <a:pt x="41" y="40"/>
                    <a:pt x="38" y="42"/>
                    <a:pt x="32" y="46"/>
                  </a:cubicBezTo>
                  <a:cubicBezTo>
                    <a:pt x="27" y="50"/>
                    <a:pt x="28" y="52"/>
                    <a:pt x="28" y="57"/>
                  </a:cubicBezTo>
                  <a:cubicBezTo>
                    <a:pt x="28" y="62"/>
                    <a:pt x="23" y="67"/>
                    <a:pt x="21" y="69"/>
                  </a:cubicBezTo>
                  <a:cubicBezTo>
                    <a:pt x="19" y="71"/>
                    <a:pt x="12" y="73"/>
                    <a:pt x="6" y="74"/>
                  </a:cubicBezTo>
                  <a:cubicBezTo>
                    <a:pt x="0" y="75"/>
                    <a:pt x="1" y="91"/>
                    <a:pt x="2" y="94"/>
                  </a:cubicBezTo>
                  <a:cubicBezTo>
                    <a:pt x="2" y="94"/>
                    <a:pt x="2" y="94"/>
                    <a:pt x="2" y="94"/>
                  </a:cubicBezTo>
                  <a:cubicBezTo>
                    <a:pt x="10" y="97"/>
                    <a:pt x="10" y="97"/>
                    <a:pt x="10" y="97"/>
                  </a:cubicBezTo>
                  <a:lnTo>
                    <a:pt x="16" y="104"/>
                  </a:lnTo>
                  <a:close/>
                </a:path>
              </a:pathLst>
            </a:custGeom>
            <a:solidFill>
              <a:srgbClr val="00B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4" name="Freeform 340">
              <a:extLst>
                <a:ext uri="{FF2B5EF4-FFF2-40B4-BE49-F238E27FC236}">
                  <a16:creationId xmlns:a16="http://schemas.microsoft.com/office/drawing/2014/main" id="{2A4ECA34-D9BB-415E-BCD4-1D3276498566}"/>
                </a:ext>
              </a:extLst>
            </p:cNvPr>
            <p:cNvSpPr>
              <a:spLocks noChangeAspect="1"/>
            </p:cNvSpPr>
            <p:nvPr/>
          </p:nvSpPr>
          <p:spPr bwMode="auto">
            <a:xfrm>
              <a:off x="14352" y="1559"/>
              <a:ext cx="479" cy="283"/>
            </a:xfrm>
            <a:custGeom>
              <a:avLst/>
              <a:gdLst/>
              <a:ahLst/>
              <a:cxnLst>
                <a:cxn ang="0">
                  <a:pos x="34" y="111"/>
                </a:cxn>
                <a:cxn ang="0">
                  <a:pos x="48" y="109"/>
                </a:cxn>
                <a:cxn ang="0">
                  <a:pos x="71" y="92"/>
                </a:cxn>
                <a:cxn ang="0">
                  <a:pos x="93" y="75"/>
                </a:cxn>
                <a:cxn ang="0">
                  <a:pos x="97" y="97"/>
                </a:cxn>
                <a:cxn ang="0">
                  <a:pos x="93" y="110"/>
                </a:cxn>
                <a:cxn ang="0">
                  <a:pos x="100" y="120"/>
                </a:cxn>
                <a:cxn ang="0">
                  <a:pos x="112" y="140"/>
                </a:cxn>
                <a:cxn ang="0">
                  <a:pos x="131" y="130"/>
                </a:cxn>
                <a:cxn ang="0">
                  <a:pos x="142" y="115"/>
                </a:cxn>
                <a:cxn ang="0">
                  <a:pos x="176" y="107"/>
                </a:cxn>
                <a:cxn ang="0">
                  <a:pos x="202" y="98"/>
                </a:cxn>
                <a:cxn ang="0">
                  <a:pos x="219" y="84"/>
                </a:cxn>
                <a:cxn ang="0">
                  <a:pos x="237" y="62"/>
                </a:cxn>
                <a:cxn ang="0">
                  <a:pos x="209" y="32"/>
                </a:cxn>
                <a:cxn ang="0">
                  <a:pos x="169" y="27"/>
                </a:cxn>
                <a:cxn ang="0">
                  <a:pos x="136" y="29"/>
                </a:cxn>
                <a:cxn ang="0">
                  <a:pos x="137" y="42"/>
                </a:cxn>
                <a:cxn ang="0">
                  <a:pos x="124" y="60"/>
                </a:cxn>
                <a:cxn ang="0">
                  <a:pos x="97" y="49"/>
                </a:cxn>
                <a:cxn ang="0">
                  <a:pos x="80" y="34"/>
                </a:cxn>
                <a:cxn ang="0">
                  <a:pos x="85" y="22"/>
                </a:cxn>
                <a:cxn ang="0">
                  <a:pos x="99" y="9"/>
                </a:cxn>
                <a:cxn ang="0">
                  <a:pos x="79" y="10"/>
                </a:cxn>
                <a:cxn ang="0">
                  <a:pos x="57" y="24"/>
                </a:cxn>
                <a:cxn ang="0">
                  <a:pos x="41" y="33"/>
                </a:cxn>
                <a:cxn ang="0">
                  <a:pos x="32" y="34"/>
                </a:cxn>
                <a:cxn ang="0">
                  <a:pos x="18" y="24"/>
                </a:cxn>
                <a:cxn ang="0">
                  <a:pos x="10" y="50"/>
                </a:cxn>
                <a:cxn ang="0">
                  <a:pos x="7" y="66"/>
                </a:cxn>
                <a:cxn ang="0">
                  <a:pos x="10" y="88"/>
                </a:cxn>
                <a:cxn ang="0">
                  <a:pos x="16" y="108"/>
                </a:cxn>
              </a:cxnLst>
              <a:rect l="0" t="0" r="r" b="b"/>
              <a:pathLst>
                <a:path w="239" h="141">
                  <a:moveTo>
                    <a:pt x="27" y="100"/>
                  </a:moveTo>
                  <a:cubicBezTo>
                    <a:pt x="27" y="100"/>
                    <a:pt x="33" y="111"/>
                    <a:pt x="34" y="111"/>
                  </a:cubicBezTo>
                  <a:cubicBezTo>
                    <a:pt x="35" y="110"/>
                    <a:pt x="43" y="104"/>
                    <a:pt x="43" y="104"/>
                  </a:cubicBezTo>
                  <a:cubicBezTo>
                    <a:pt x="43" y="104"/>
                    <a:pt x="47" y="110"/>
                    <a:pt x="48" y="109"/>
                  </a:cubicBezTo>
                  <a:cubicBezTo>
                    <a:pt x="48" y="108"/>
                    <a:pt x="58" y="101"/>
                    <a:pt x="62" y="99"/>
                  </a:cubicBezTo>
                  <a:cubicBezTo>
                    <a:pt x="66" y="96"/>
                    <a:pt x="68" y="92"/>
                    <a:pt x="71" y="92"/>
                  </a:cubicBezTo>
                  <a:cubicBezTo>
                    <a:pt x="74" y="92"/>
                    <a:pt x="78" y="91"/>
                    <a:pt x="78" y="90"/>
                  </a:cubicBezTo>
                  <a:cubicBezTo>
                    <a:pt x="78" y="89"/>
                    <a:pt x="93" y="75"/>
                    <a:pt x="93" y="75"/>
                  </a:cubicBezTo>
                  <a:cubicBezTo>
                    <a:pt x="93" y="75"/>
                    <a:pt x="113" y="85"/>
                    <a:pt x="110" y="89"/>
                  </a:cubicBezTo>
                  <a:cubicBezTo>
                    <a:pt x="108" y="93"/>
                    <a:pt x="97" y="97"/>
                    <a:pt x="97" y="97"/>
                  </a:cubicBezTo>
                  <a:cubicBezTo>
                    <a:pt x="100" y="106"/>
                    <a:pt x="100" y="106"/>
                    <a:pt x="100" y="106"/>
                  </a:cubicBezTo>
                  <a:cubicBezTo>
                    <a:pt x="93" y="110"/>
                    <a:pt x="93" y="110"/>
                    <a:pt x="93" y="110"/>
                  </a:cubicBezTo>
                  <a:cubicBezTo>
                    <a:pt x="90" y="120"/>
                    <a:pt x="90" y="120"/>
                    <a:pt x="90" y="120"/>
                  </a:cubicBezTo>
                  <a:cubicBezTo>
                    <a:pt x="100" y="120"/>
                    <a:pt x="100" y="120"/>
                    <a:pt x="100" y="120"/>
                  </a:cubicBezTo>
                  <a:cubicBezTo>
                    <a:pt x="99" y="133"/>
                    <a:pt x="99" y="133"/>
                    <a:pt x="99" y="133"/>
                  </a:cubicBezTo>
                  <a:cubicBezTo>
                    <a:pt x="99" y="133"/>
                    <a:pt x="112" y="141"/>
                    <a:pt x="112" y="140"/>
                  </a:cubicBezTo>
                  <a:cubicBezTo>
                    <a:pt x="112" y="139"/>
                    <a:pt x="123" y="130"/>
                    <a:pt x="123" y="130"/>
                  </a:cubicBezTo>
                  <a:cubicBezTo>
                    <a:pt x="131" y="130"/>
                    <a:pt x="131" y="130"/>
                    <a:pt x="131" y="130"/>
                  </a:cubicBezTo>
                  <a:cubicBezTo>
                    <a:pt x="130" y="117"/>
                    <a:pt x="130" y="117"/>
                    <a:pt x="130" y="117"/>
                  </a:cubicBezTo>
                  <a:cubicBezTo>
                    <a:pt x="142" y="115"/>
                    <a:pt x="142" y="115"/>
                    <a:pt x="142" y="115"/>
                  </a:cubicBezTo>
                  <a:cubicBezTo>
                    <a:pt x="142" y="115"/>
                    <a:pt x="144" y="109"/>
                    <a:pt x="145" y="109"/>
                  </a:cubicBezTo>
                  <a:cubicBezTo>
                    <a:pt x="145" y="109"/>
                    <a:pt x="176" y="107"/>
                    <a:pt x="176" y="107"/>
                  </a:cubicBezTo>
                  <a:cubicBezTo>
                    <a:pt x="176" y="107"/>
                    <a:pt x="179" y="101"/>
                    <a:pt x="190" y="100"/>
                  </a:cubicBezTo>
                  <a:cubicBezTo>
                    <a:pt x="200" y="99"/>
                    <a:pt x="202" y="98"/>
                    <a:pt x="202" y="98"/>
                  </a:cubicBezTo>
                  <a:cubicBezTo>
                    <a:pt x="202" y="98"/>
                    <a:pt x="201" y="88"/>
                    <a:pt x="202" y="88"/>
                  </a:cubicBezTo>
                  <a:cubicBezTo>
                    <a:pt x="202" y="87"/>
                    <a:pt x="219" y="84"/>
                    <a:pt x="219" y="84"/>
                  </a:cubicBezTo>
                  <a:cubicBezTo>
                    <a:pt x="239" y="102"/>
                    <a:pt x="239" y="102"/>
                    <a:pt x="239" y="102"/>
                  </a:cubicBezTo>
                  <a:cubicBezTo>
                    <a:pt x="239" y="86"/>
                    <a:pt x="238" y="65"/>
                    <a:pt x="237" y="62"/>
                  </a:cubicBezTo>
                  <a:cubicBezTo>
                    <a:pt x="237" y="59"/>
                    <a:pt x="234" y="41"/>
                    <a:pt x="232" y="32"/>
                  </a:cubicBezTo>
                  <a:cubicBezTo>
                    <a:pt x="209" y="32"/>
                    <a:pt x="209" y="32"/>
                    <a:pt x="209" y="32"/>
                  </a:cubicBezTo>
                  <a:cubicBezTo>
                    <a:pt x="209" y="32"/>
                    <a:pt x="205" y="27"/>
                    <a:pt x="204" y="27"/>
                  </a:cubicBezTo>
                  <a:cubicBezTo>
                    <a:pt x="204" y="27"/>
                    <a:pt x="169" y="27"/>
                    <a:pt x="169" y="27"/>
                  </a:cubicBezTo>
                  <a:cubicBezTo>
                    <a:pt x="169" y="27"/>
                    <a:pt x="154" y="19"/>
                    <a:pt x="147" y="20"/>
                  </a:cubicBezTo>
                  <a:cubicBezTo>
                    <a:pt x="141" y="20"/>
                    <a:pt x="136" y="29"/>
                    <a:pt x="136" y="29"/>
                  </a:cubicBezTo>
                  <a:cubicBezTo>
                    <a:pt x="141" y="38"/>
                    <a:pt x="141" y="38"/>
                    <a:pt x="141" y="38"/>
                  </a:cubicBezTo>
                  <a:cubicBezTo>
                    <a:pt x="137" y="42"/>
                    <a:pt x="137" y="42"/>
                    <a:pt x="137" y="42"/>
                  </a:cubicBezTo>
                  <a:cubicBezTo>
                    <a:pt x="139" y="49"/>
                    <a:pt x="139" y="49"/>
                    <a:pt x="139" y="49"/>
                  </a:cubicBezTo>
                  <a:cubicBezTo>
                    <a:pt x="139" y="49"/>
                    <a:pt x="124" y="61"/>
                    <a:pt x="124" y="60"/>
                  </a:cubicBezTo>
                  <a:cubicBezTo>
                    <a:pt x="124" y="59"/>
                    <a:pt x="128" y="45"/>
                    <a:pt x="119" y="45"/>
                  </a:cubicBezTo>
                  <a:cubicBezTo>
                    <a:pt x="111" y="44"/>
                    <a:pt x="99" y="50"/>
                    <a:pt x="97" y="49"/>
                  </a:cubicBezTo>
                  <a:cubicBezTo>
                    <a:pt x="95" y="49"/>
                    <a:pt x="79" y="42"/>
                    <a:pt x="79" y="42"/>
                  </a:cubicBezTo>
                  <a:cubicBezTo>
                    <a:pt x="79" y="42"/>
                    <a:pt x="80" y="35"/>
                    <a:pt x="80" y="34"/>
                  </a:cubicBezTo>
                  <a:cubicBezTo>
                    <a:pt x="81" y="33"/>
                    <a:pt x="87" y="28"/>
                    <a:pt x="87" y="28"/>
                  </a:cubicBezTo>
                  <a:cubicBezTo>
                    <a:pt x="85" y="22"/>
                    <a:pt x="85" y="22"/>
                    <a:pt x="85" y="22"/>
                  </a:cubicBezTo>
                  <a:cubicBezTo>
                    <a:pt x="93" y="12"/>
                    <a:pt x="93" y="12"/>
                    <a:pt x="93" y="12"/>
                  </a:cubicBezTo>
                  <a:cubicBezTo>
                    <a:pt x="93" y="12"/>
                    <a:pt x="99" y="9"/>
                    <a:pt x="99" y="9"/>
                  </a:cubicBezTo>
                  <a:cubicBezTo>
                    <a:pt x="99" y="8"/>
                    <a:pt x="94" y="0"/>
                    <a:pt x="94" y="0"/>
                  </a:cubicBezTo>
                  <a:cubicBezTo>
                    <a:pt x="94" y="0"/>
                    <a:pt x="84" y="10"/>
                    <a:pt x="79" y="10"/>
                  </a:cubicBezTo>
                  <a:cubicBezTo>
                    <a:pt x="74" y="11"/>
                    <a:pt x="66" y="9"/>
                    <a:pt x="64" y="12"/>
                  </a:cubicBezTo>
                  <a:cubicBezTo>
                    <a:pt x="63" y="16"/>
                    <a:pt x="62" y="24"/>
                    <a:pt x="57" y="24"/>
                  </a:cubicBezTo>
                  <a:cubicBezTo>
                    <a:pt x="51" y="24"/>
                    <a:pt x="47" y="25"/>
                    <a:pt x="48" y="26"/>
                  </a:cubicBezTo>
                  <a:cubicBezTo>
                    <a:pt x="49" y="26"/>
                    <a:pt x="41" y="33"/>
                    <a:pt x="41" y="33"/>
                  </a:cubicBezTo>
                  <a:cubicBezTo>
                    <a:pt x="35" y="28"/>
                    <a:pt x="35" y="28"/>
                    <a:pt x="35" y="28"/>
                  </a:cubicBezTo>
                  <a:cubicBezTo>
                    <a:pt x="32" y="34"/>
                    <a:pt x="32" y="34"/>
                    <a:pt x="32" y="34"/>
                  </a:cubicBezTo>
                  <a:cubicBezTo>
                    <a:pt x="26" y="27"/>
                    <a:pt x="26" y="27"/>
                    <a:pt x="26" y="27"/>
                  </a:cubicBezTo>
                  <a:cubicBezTo>
                    <a:pt x="18" y="24"/>
                    <a:pt x="18" y="24"/>
                    <a:pt x="18" y="24"/>
                  </a:cubicBezTo>
                  <a:cubicBezTo>
                    <a:pt x="17" y="27"/>
                    <a:pt x="10" y="34"/>
                    <a:pt x="10" y="34"/>
                  </a:cubicBezTo>
                  <a:cubicBezTo>
                    <a:pt x="10" y="34"/>
                    <a:pt x="10" y="49"/>
                    <a:pt x="10" y="50"/>
                  </a:cubicBezTo>
                  <a:cubicBezTo>
                    <a:pt x="10" y="51"/>
                    <a:pt x="0" y="58"/>
                    <a:pt x="0" y="58"/>
                  </a:cubicBezTo>
                  <a:cubicBezTo>
                    <a:pt x="0" y="59"/>
                    <a:pt x="7" y="65"/>
                    <a:pt x="7" y="66"/>
                  </a:cubicBezTo>
                  <a:cubicBezTo>
                    <a:pt x="8" y="67"/>
                    <a:pt x="13" y="73"/>
                    <a:pt x="15" y="79"/>
                  </a:cubicBezTo>
                  <a:cubicBezTo>
                    <a:pt x="18" y="85"/>
                    <a:pt x="12" y="86"/>
                    <a:pt x="10" y="88"/>
                  </a:cubicBezTo>
                  <a:cubicBezTo>
                    <a:pt x="9" y="90"/>
                    <a:pt x="5" y="96"/>
                    <a:pt x="4" y="97"/>
                  </a:cubicBezTo>
                  <a:cubicBezTo>
                    <a:pt x="16" y="108"/>
                    <a:pt x="16" y="108"/>
                    <a:pt x="16" y="108"/>
                  </a:cubicBezTo>
                  <a:lnTo>
                    <a:pt x="27" y="100"/>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5" name="Freeform 341">
              <a:extLst>
                <a:ext uri="{FF2B5EF4-FFF2-40B4-BE49-F238E27FC236}">
                  <a16:creationId xmlns:a16="http://schemas.microsoft.com/office/drawing/2014/main" id="{0E732870-3716-4219-8848-6FA358ABCA09}"/>
                </a:ext>
              </a:extLst>
            </p:cNvPr>
            <p:cNvSpPr>
              <a:spLocks noChangeAspect="1"/>
            </p:cNvSpPr>
            <p:nvPr/>
          </p:nvSpPr>
          <p:spPr bwMode="auto">
            <a:xfrm>
              <a:off x="14062" y="1709"/>
              <a:ext cx="773" cy="280"/>
            </a:xfrm>
            <a:custGeom>
              <a:avLst/>
              <a:gdLst>
                <a:gd name="T0" fmla="*/ 773 w 386"/>
                <a:gd name="T1" fmla="*/ 86 h 140"/>
                <a:gd name="T2" fmla="*/ 731 w 386"/>
                <a:gd name="T3" fmla="*/ 18 h 140"/>
                <a:gd name="T4" fmla="*/ 697 w 386"/>
                <a:gd name="T5" fmla="*/ 46 h 140"/>
                <a:gd name="T6" fmla="*/ 645 w 386"/>
                <a:gd name="T7" fmla="*/ 64 h 140"/>
                <a:gd name="T8" fmla="*/ 577 w 386"/>
                <a:gd name="T9" fmla="*/ 80 h 140"/>
                <a:gd name="T10" fmla="*/ 555 w 386"/>
                <a:gd name="T11" fmla="*/ 110 h 140"/>
                <a:gd name="T12" fmla="*/ 517 w 386"/>
                <a:gd name="T13" fmla="*/ 130 h 140"/>
                <a:gd name="T14" fmla="*/ 493 w 386"/>
                <a:gd name="T15" fmla="*/ 90 h 140"/>
                <a:gd name="T16" fmla="*/ 479 w 386"/>
                <a:gd name="T17" fmla="*/ 70 h 140"/>
                <a:gd name="T18" fmla="*/ 487 w 386"/>
                <a:gd name="T19" fmla="*/ 44 h 140"/>
                <a:gd name="T20" fmla="*/ 479 w 386"/>
                <a:gd name="T21" fmla="*/ 0 h 140"/>
                <a:gd name="T22" fmla="*/ 435 w 386"/>
                <a:gd name="T23" fmla="*/ 34 h 140"/>
                <a:gd name="T24" fmla="*/ 389 w 386"/>
                <a:gd name="T25" fmla="*/ 68 h 140"/>
                <a:gd name="T26" fmla="*/ 360 w 386"/>
                <a:gd name="T27" fmla="*/ 72 h 140"/>
                <a:gd name="T28" fmla="*/ 324 w 386"/>
                <a:gd name="T29" fmla="*/ 66 h 140"/>
                <a:gd name="T30" fmla="*/ 300 w 386"/>
                <a:gd name="T31" fmla="*/ 46 h 140"/>
                <a:gd name="T32" fmla="*/ 274 w 386"/>
                <a:gd name="T33" fmla="*/ 74 h 140"/>
                <a:gd name="T34" fmla="*/ 236 w 386"/>
                <a:gd name="T35" fmla="*/ 56 h 140"/>
                <a:gd name="T36" fmla="*/ 204 w 386"/>
                <a:gd name="T37" fmla="*/ 28 h 140"/>
                <a:gd name="T38" fmla="*/ 130 w 386"/>
                <a:gd name="T39" fmla="*/ 26 h 140"/>
                <a:gd name="T40" fmla="*/ 86 w 386"/>
                <a:gd name="T41" fmla="*/ 12 h 140"/>
                <a:gd name="T42" fmla="*/ 62 w 386"/>
                <a:gd name="T43" fmla="*/ 28 h 140"/>
                <a:gd name="T44" fmla="*/ 60 w 386"/>
                <a:gd name="T45" fmla="*/ 88 h 140"/>
                <a:gd name="T46" fmla="*/ 0 w 386"/>
                <a:gd name="T47" fmla="*/ 210 h 140"/>
                <a:gd name="T48" fmla="*/ 70 w 386"/>
                <a:gd name="T49" fmla="*/ 274 h 140"/>
                <a:gd name="T50" fmla="*/ 120 w 386"/>
                <a:gd name="T51" fmla="*/ 222 h 140"/>
                <a:gd name="T52" fmla="*/ 164 w 386"/>
                <a:gd name="T53" fmla="*/ 208 h 140"/>
                <a:gd name="T54" fmla="*/ 182 w 386"/>
                <a:gd name="T55" fmla="*/ 188 h 140"/>
                <a:gd name="T56" fmla="*/ 224 w 386"/>
                <a:gd name="T57" fmla="*/ 154 h 140"/>
                <a:gd name="T58" fmla="*/ 308 w 386"/>
                <a:gd name="T59" fmla="*/ 208 h 140"/>
                <a:gd name="T60" fmla="*/ 334 w 386"/>
                <a:gd name="T61" fmla="*/ 220 h 140"/>
                <a:gd name="T62" fmla="*/ 356 w 386"/>
                <a:gd name="T63" fmla="*/ 222 h 140"/>
                <a:gd name="T64" fmla="*/ 366 w 386"/>
                <a:gd name="T65" fmla="*/ 254 h 140"/>
                <a:gd name="T66" fmla="*/ 415 w 386"/>
                <a:gd name="T67" fmla="*/ 196 h 140"/>
                <a:gd name="T68" fmla="*/ 453 w 386"/>
                <a:gd name="T69" fmla="*/ 210 h 140"/>
                <a:gd name="T70" fmla="*/ 479 w 386"/>
                <a:gd name="T71" fmla="*/ 242 h 140"/>
                <a:gd name="T72" fmla="*/ 517 w 386"/>
                <a:gd name="T73" fmla="*/ 260 h 140"/>
                <a:gd name="T74" fmla="*/ 567 w 386"/>
                <a:gd name="T75" fmla="*/ 250 h 140"/>
                <a:gd name="T76" fmla="*/ 605 w 386"/>
                <a:gd name="T77" fmla="*/ 234 h 140"/>
                <a:gd name="T78" fmla="*/ 649 w 386"/>
                <a:gd name="T79" fmla="*/ 192 h 140"/>
                <a:gd name="T80" fmla="*/ 685 w 386"/>
                <a:gd name="T81" fmla="*/ 194 h 140"/>
                <a:gd name="T82" fmla="*/ 755 w 386"/>
                <a:gd name="T83" fmla="*/ 15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6"/>
                <a:gd name="T127" fmla="*/ 0 h 140"/>
                <a:gd name="T128" fmla="*/ 386 w 38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6" h="140">
                  <a:moveTo>
                    <a:pt x="375" y="65"/>
                  </a:moveTo>
                  <a:cubicBezTo>
                    <a:pt x="386" y="43"/>
                    <a:pt x="386" y="43"/>
                    <a:pt x="386" y="43"/>
                  </a:cubicBezTo>
                  <a:cubicBezTo>
                    <a:pt x="386" y="43"/>
                    <a:pt x="386" y="36"/>
                    <a:pt x="385" y="27"/>
                  </a:cubicBezTo>
                  <a:cubicBezTo>
                    <a:pt x="365" y="9"/>
                    <a:pt x="365" y="9"/>
                    <a:pt x="365" y="9"/>
                  </a:cubicBezTo>
                  <a:cubicBezTo>
                    <a:pt x="365" y="9"/>
                    <a:pt x="348" y="12"/>
                    <a:pt x="348" y="13"/>
                  </a:cubicBezTo>
                  <a:cubicBezTo>
                    <a:pt x="347" y="13"/>
                    <a:pt x="348" y="23"/>
                    <a:pt x="348" y="23"/>
                  </a:cubicBezTo>
                  <a:cubicBezTo>
                    <a:pt x="348" y="23"/>
                    <a:pt x="346" y="24"/>
                    <a:pt x="336" y="25"/>
                  </a:cubicBezTo>
                  <a:cubicBezTo>
                    <a:pt x="325" y="26"/>
                    <a:pt x="322" y="32"/>
                    <a:pt x="322" y="32"/>
                  </a:cubicBezTo>
                  <a:cubicBezTo>
                    <a:pt x="322" y="32"/>
                    <a:pt x="291" y="34"/>
                    <a:pt x="291" y="34"/>
                  </a:cubicBezTo>
                  <a:cubicBezTo>
                    <a:pt x="290" y="34"/>
                    <a:pt x="288" y="40"/>
                    <a:pt x="288" y="40"/>
                  </a:cubicBezTo>
                  <a:cubicBezTo>
                    <a:pt x="276" y="42"/>
                    <a:pt x="276" y="42"/>
                    <a:pt x="276" y="42"/>
                  </a:cubicBezTo>
                  <a:cubicBezTo>
                    <a:pt x="277" y="55"/>
                    <a:pt x="277" y="55"/>
                    <a:pt x="277" y="55"/>
                  </a:cubicBezTo>
                  <a:cubicBezTo>
                    <a:pt x="269" y="55"/>
                    <a:pt x="269" y="55"/>
                    <a:pt x="269" y="55"/>
                  </a:cubicBezTo>
                  <a:cubicBezTo>
                    <a:pt x="269" y="55"/>
                    <a:pt x="258" y="64"/>
                    <a:pt x="258" y="65"/>
                  </a:cubicBezTo>
                  <a:cubicBezTo>
                    <a:pt x="258" y="66"/>
                    <a:pt x="245" y="58"/>
                    <a:pt x="245" y="58"/>
                  </a:cubicBezTo>
                  <a:cubicBezTo>
                    <a:pt x="246" y="45"/>
                    <a:pt x="246" y="45"/>
                    <a:pt x="246" y="45"/>
                  </a:cubicBezTo>
                  <a:cubicBezTo>
                    <a:pt x="236" y="45"/>
                    <a:pt x="236" y="45"/>
                    <a:pt x="236" y="45"/>
                  </a:cubicBezTo>
                  <a:cubicBezTo>
                    <a:pt x="239" y="35"/>
                    <a:pt x="239" y="35"/>
                    <a:pt x="239" y="35"/>
                  </a:cubicBezTo>
                  <a:cubicBezTo>
                    <a:pt x="246" y="31"/>
                    <a:pt x="246" y="31"/>
                    <a:pt x="246" y="31"/>
                  </a:cubicBezTo>
                  <a:cubicBezTo>
                    <a:pt x="243" y="22"/>
                    <a:pt x="243" y="22"/>
                    <a:pt x="243" y="22"/>
                  </a:cubicBezTo>
                  <a:cubicBezTo>
                    <a:pt x="243" y="22"/>
                    <a:pt x="254" y="18"/>
                    <a:pt x="256" y="14"/>
                  </a:cubicBezTo>
                  <a:cubicBezTo>
                    <a:pt x="259" y="10"/>
                    <a:pt x="239" y="0"/>
                    <a:pt x="239" y="0"/>
                  </a:cubicBezTo>
                  <a:cubicBezTo>
                    <a:pt x="239" y="0"/>
                    <a:pt x="224" y="14"/>
                    <a:pt x="224" y="15"/>
                  </a:cubicBezTo>
                  <a:cubicBezTo>
                    <a:pt x="224" y="16"/>
                    <a:pt x="220" y="17"/>
                    <a:pt x="217" y="17"/>
                  </a:cubicBezTo>
                  <a:cubicBezTo>
                    <a:pt x="214" y="17"/>
                    <a:pt x="212" y="21"/>
                    <a:pt x="208" y="24"/>
                  </a:cubicBezTo>
                  <a:cubicBezTo>
                    <a:pt x="204" y="26"/>
                    <a:pt x="194" y="33"/>
                    <a:pt x="194" y="34"/>
                  </a:cubicBezTo>
                  <a:cubicBezTo>
                    <a:pt x="193" y="35"/>
                    <a:pt x="189" y="29"/>
                    <a:pt x="189" y="29"/>
                  </a:cubicBezTo>
                  <a:cubicBezTo>
                    <a:pt x="189" y="29"/>
                    <a:pt x="181" y="35"/>
                    <a:pt x="180" y="36"/>
                  </a:cubicBezTo>
                  <a:cubicBezTo>
                    <a:pt x="179" y="36"/>
                    <a:pt x="173" y="25"/>
                    <a:pt x="173" y="25"/>
                  </a:cubicBezTo>
                  <a:cubicBezTo>
                    <a:pt x="162" y="33"/>
                    <a:pt x="162" y="33"/>
                    <a:pt x="162" y="33"/>
                  </a:cubicBezTo>
                  <a:cubicBezTo>
                    <a:pt x="150" y="22"/>
                    <a:pt x="150" y="22"/>
                    <a:pt x="150" y="22"/>
                  </a:cubicBezTo>
                  <a:cubicBezTo>
                    <a:pt x="150" y="23"/>
                    <a:pt x="150" y="23"/>
                    <a:pt x="150" y="23"/>
                  </a:cubicBezTo>
                  <a:cubicBezTo>
                    <a:pt x="150" y="23"/>
                    <a:pt x="148" y="24"/>
                    <a:pt x="143" y="25"/>
                  </a:cubicBezTo>
                  <a:cubicBezTo>
                    <a:pt x="137" y="26"/>
                    <a:pt x="137" y="37"/>
                    <a:pt x="137" y="37"/>
                  </a:cubicBezTo>
                  <a:cubicBezTo>
                    <a:pt x="121" y="25"/>
                    <a:pt x="121" y="25"/>
                    <a:pt x="121" y="25"/>
                  </a:cubicBezTo>
                  <a:cubicBezTo>
                    <a:pt x="118" y="28"/>
                    <a:pt x="118" y="28"/>
                    <a:pt x="118" y="28"/>
                  </a:cubicBezTo>
                  <a:cubicBezTo>
                    <a:pt x="118" y="28"/>
                    <a:pt x="116" y="26"/>
                    <a:pt x="114" y="18"/>
                  </a:cubicBezTo>
                  <a:cubicBezTo>
                    <a:pt x="112" y="10"/>
                    <a:pt x="102" y="14"/>
                    <a:pt x="102" y="14"/>
                  </a:cubicBezTo>
                  <a:cubicBezTo>
                    <a:pt x="102" y="14"/>
                    <a:pt x="98" y="4"/>
                    <a:pt x="87" y="3"/>
                  </a:cubicBezTo>
                  <a:cubicBezTo>
                    <a:pt x="75" y="3"/>
                    <a:pt x="65" y="13"/>
                    <a:pt x="65" y="13"/>
                  </a:cubicBezTo>
                  <a:cubicBezTo>
                    <a:pt x="59" y="10"/>
                    <a:pt x="59" y="10"/>
                    <a:pt x="59" y="10"/>
                  </a:cubicBezTo>
                  <a:cubicBezTo>
                    <a:pt x="43" y="6"/>
                    <a:pt x="43" y="6"/>
                    <a:pt x="43" y="6"/>
                  </a:cubicBezTo>
                  <a:cubicBezTo>
                    <a:pt x="44" y="7"/>
                    <a:pt x="44" y="7"/>
                    <a:pt x="44" y="7"/>
                  </a:cubicBezTo>
                  <a:cubicBezTo>
                    <a:pt x="44" y="7"/>
                    <a:pt x="31" y="14"/>
                    <a:pt x="31" y="14"/>
                  </a:cubicBezTo>
                  <a:cubicBezTo>
                    <a:pt x="31" y="15"/>
                    <a:pt x="33" y="20"/>
                    <a:pt x="35" y="24"/>
                  </a:cubicBezTo>
                  <a:cubicBezTo>
                    <a:pt x="36" y="28"/>
                    <a:pt x="30" y="34"/>
                    <a:pt x="30" y="44"/>
                  </a:cubicBezTo>
                  <a:cubicBezTo>
                    <a:pt x="30" y="54"/>
                    <a:pt x="22" y="91"/>
                    <a:pt x="22" y="91"/>
                  </a:cubicBezTo>
                  <a:cubicBezTo>
                    <a:pt x="22" y="91"/>
                    <a:pt x="10" y="98"/>
                    <a:pt x="0" y="105"/>
                  </a:cubicBezTo>
                  <a:cubicBezTo>
                    <a:pt x="9" y="106"/>
                    <a:pt x="18" y="108"/>
                    <a:pt x="20" y="115"/>
                  </a:cubicBezTo>
                  <a:cubicBezTo>
                    <a:pt x="24" y="126"/>
                    <a:pt x="28" y="140"/>
                    <a:pt x="35" y="137"/>
                  </a:cubicBezTo>
                  <a:cubicBezTo>
                    <a:pt x="41" y="135"/>
                    <a:pt x="55" y="123"/>
                    <a:pt x="56" y="118"/>
                  </a:cubicBezTo>
                  <a:cubicBezTo>
                    <a:pt x="58" y="114"/>
                    <a:pt x="60" y="111"/>
                    <a:pt x="60" y="111"/>
                  </a:cubicBezTo>
                  <a:cubicBezTo>
                    <a:pt x="60" y="111"/>
                    <a:pt x="60" y="114"/>
                    <a:pt x="68" y="111"/>
                  </a:cubicBezTo>
                  <a:cubicBezTo>
                    <a:pt x="75" y="109"/>
                    <a:pt x="82" y="105"/>
                    <a:pt x="82" y="104"/>
                  </a:cubicBezTo>
                  <a:cubicBezTo>
                    <a:pt x="82" y="103"/>
                    <a:pt x="81" y="96"/>
                    <a:pt x="81" y="96"/>
                  </a:cubicBezTo>
                  <a:cubicBezTo>
                    <a:pt x="91" y="94"/>
                    <a:pt x="91" y="94"/>
                    <a:pt x="91" y="94"/>
                  </a:cubicBezTo>
                  <a:cubicBezTo>
                    <a:pt x="91" y="94"/>
                    <a:pt x="92" y="86"/>
                    <a:pt x="92" y="85"/>
                  </a:cubicBezTo>
                  <a:cubicBezTo>
                    <a:pt x="92" y="85"/>
                    <a:pt x="112" y="77"/>
                    <a:pt x="112" y="77"/>
                  </a:cubicBezTo>
                  <a:cubicBezTo>
                    <a:pt x="112" y="77"/>
                    <a:pt x="122" y="87"/>
                    <a:pt x="127" y="89"/>
                  </a:cubicBezTo>
                  <a:cubicBezTo>
                    <a:pt x="133" y="91"/>
                    <a:pt x="154" y="104"/>
                    <a:pt x="154" y="104"/>
                  </a:cubicBezTo>
                  <a:cubicBezTo>
                    <a:pt x="154" y="104"/>
                    <a:pt x="165" y="94"/>
                    <a:pt x="165" y="96"/>
                  </a:cubicBezTo>
                  <a:cubicBezTo>
                    <a:pt x="165" y="97"/>
                    <a:pt x="167" y="110"/>
                    <a:pt x="167" y="110"/>
                  </a:cubicBezTo>
                  <a:cubicBezTo>
                    <a:pt x="176" y="107"/>
                    <a:pt x="176" y="107"/>
                    <a:pt x="176" y="107"/>
                  </a:cubicBezTo>
                  <a:cubicBezTo>
                    <a:pt x="178" y="111"/>
                    <a:pt x="178" y="111"/>
                    <a:pt x="178" y="111"/>
                  </a:cubicBezTo>
                  <a:cubicBezTo>
                    <a:pt x="175" y="117"/>
                    <a:pt x="175" y="117"/>
                    <a:pt x="175" y="117"/>
                  </a:cubicBezTo>
                  <a:cubicBezTo>
                    <a:pt x="183" y="127"/>
                    <a:pt x="183" y="127"/>
                    <a:pt x="183" y="127"/>
                  </a:cubicBezTo>
                  <a:cubicBezTo>
                    <a:pt x="183" y="127"/>
                    <a:pt x="188" y="120"/>
                    <a:pt x="194" y="116"/>
                  </a:cubicBezTo>
                  <a:cubicBezTo>
                    <a:pt x="200" y="112"/>
                    <a:pt x="207" y="98"/>
                    <a:pt x="207" y="98"/>
                  </a:cubicBezTo>
                  <a:cubicBezTo>
                    <a:pt x="207" y="98"/>
                    <a:pt x="214" y="107"/>
                    <a:pt x="215" y="107"/>
                  </a:cubicBezTo>
                  <a:cubicBezTo>
                    <a:pt x="216" y="107"/>
                    <a:pt x="226" y="105"/>
                    <a:pt x="226" y="105"/>
                  </a:cubicBezTo>
                  <a:cubicBezTo>
                    <a:pt x="235" y="114"/>
                    <a:pt x="235" y="114"/>
                    <a:pt x="235" y="114"/>
                  </a:cubicBezTo>
                  <a:cubicBezTo>
                    <a:pt x="239" y="121"/>
                    <a:pt x="239" y="121"/>
                    <a:pt x="239" y="121"/>
                  </a:cubicBezTo>
                  <a:cubicBezTo>
                    <a:pt x="249" y="123"/>
                    <a:pt x="249" y="123"/>
                    <a:pt x="249" y="123"/>
                  </a:cubicBezTo>
                  <a:cubicBezTo>
                    <a:pt x="258" y="130"/>
                    <a:pt x="258" y="130"/>
                    <a:pt x="258" y="130"/>
                  </a:cubicBezTo>
                  <a:cubicBezTo>
                    <a:pt x="263" y="122"/>
                    <a:pt x="263" y="122"/>
                    <a:pt x="263" y="122"/>
                  </a:cubicBezTo>
                  <a:cubicBezTo>
                    <a:pt x="263" y="122"/>
                    <a:pt x="277" y="127"/>
                    <a:pt x="283" y="125"/>
                  </a:cubicBezTo>
                  <a:cubicBezTo>
                    <a:pt x="289" y="122"/>
                    <a:pt x="291" y="117"/>
                    <a:pt x="291" y="117"/>
                  </a:cubicBezTo>
                  <a:cubicBezTo>
                    <a:pt x="302" y="117"/>
                    <a:pt x="302" y="117"/>
                    <a:pt x="302" y="117"/>
                  </a:cubicBezTo>
                  <a:cubicBezTo>
                    <a:pt x="302" y="117"/>
                    <a:pt x="306" y="103"/>
                    <a:pt x="311" y="101"/>
                  </a:cubicBezTo>
                  <a:cubicBezTo>
                    <a:pt x="316" y="100"/>
                    <a:pt x="323" y="96"/>
                    <a:pt x="324" y="96"/>
                  </a:cubicBezTo>
                  <a:cubicBezTo>
                    <a:pt x="324" y="96"/>
                    <a:pt x="334" y="101"/>
                    <a:pt x="334" y="101"/>
                  </a:cubicBezTo>
                  <a:cubicBezTo>
                    <a:pt x="342" y="97"/>
                    <a:pt x="342" y="97"/>
                    <a:pt x="342" y="97"/>
                  </a:cubicBezTo>
                  <a:cubicBezTo>
                    <a:pt x="370" y="97"/>
                    <a:pt x="370" y="97"/>
                    <a:pt x="370" y="97"/>
                  </a:cubicBezTo>
                  <a:cubicBezTo>
                    <a:pt x="377" y="86"/>
                    <a:pt x="377" y="76"/>
                    <a:pt x="377" y="76"/>
                  </a:cubicBezTo>
                  <a:lnTo>
                    <a:pt x="375" y="6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6" name="Freeform 342">
              <a:extLst>
                <a:ext uri="{FF2B5EF4-FFF2-40B4-BE49-F238E27FC236}">
                  <a16:creationId xmlns:a16="http://schemas.microsoft.com/office/drawing/2014/main" id="{92CC1CA2-4128-4970-88C7-1D2FF4DA9EB1}"/>
                </a:ext>
              </a:extLst>
            </p:cNvPr>
            <p:cNvSpPr>
              <a:spLocks noChangeAspect="1"/>
            </p:cNvSpPr>
            <p:nvPr/>
          </p:nvSpPr>
          <p:spPr bwMode="auto">
            <a:xfrm>
              <a:off x="14426" y="1902"/>
              <a:ext cx="375" cy="203"/>
            </a:xfrm>
            <a:custGeom>
              <a:avLst/>
              <a:gdLst/>
              <a:ahLst/>
              <a:cxnLst>
                <a:cxn ang="0">
                  <a:pos x="109" y="101"/>
                </a:cxn>
                <a:cxn ang="0">
                  <a:pos x="184" y="7"/>
                </a:cxn>
                <a:cxn ang="0">
                  <a:pos x="188" y="1"/>
                </a:cxn>
                <a:cxn ang="0">
                  <a:pos x="160" y="1"/>
                </a:cxn>
                <a:cxn ang="0">
                  <a:pos x="152" y="5"/>
                </a:cxn>
                <a:cxn ang="0">
                  <a:pos x="142" y="0"/>
                </a:cxn>
                <a:cxn ang="0">
                  <a:pos x="129" y="5"/>
                </a:cxn>
                <a:cxn ang="0">
                  <a:pos x="120" y="21"/>
                </a:cxn>
                <a:cxn ang="0">
                  <a:pos x="109" y="21"/>
                </a:cxn>
                <a:cxn ang="0">
                  <a:pos x="101" y="29"/>
                </a:cxn>
                <a:cxn ang="0">
                  <a:pos x="81" y="26"/>
                </a:cxn>
                <a:cxn ang="0">
                  <a:pos x="76" y="34"/>
                </a:cxn>
                <a:cxn ang="0">
                  <a:pos x="67" y="27"/>
                </a:cxn>
                <a:cxn ang="0">
                  <a:pos x="57" y="25"/>
                </a:cxn>
                <a:cxn ang="0">
                  <a:pos x="53" y="18"/>
                </a:cxn>
                <a:cxn ang="0">
                  <a:pos x="44" y="9"/>
                </a:cxn>
                <a:cxn ang="0">
                  <a:pos x="33" y="11"/>
                </a:cxn>
                <a:cxn ang="0">
                  <a:pos x="25" y="2"/>
                </a:cxn>
                <a:cxn ang="0">
                  <a:pos x="12" y="20"/>
                </a:cxn>
                <a:cxn ang="0">
                  <a:pos x="1" y="31"/>
                </a:cxn>
                <a:cxn ang="0">
                  <a:pos x="0" y="30"/>
                </a:cxn>
                <a:cxn ang="0">
                  <a:pos x="0" y="36"/>
                </a:cxn>
                <a:cxn ang="0">
                  <a:pos x="12" y="40"/>
                </a:cxn>
                <a:cxn ang="0">
                  <a:pos x="12" y="45"/>
                </a:cxn>
                <a:cxn ang="0">
                  <a:pos x="26" y="47"/>
                </a:cxn>
                <a:cxn ang="0">
                  <a:pos x="42" y="57"/>
                </a:cxn>
                <a:cxn ang="0">
                  <a:pos x="52" y="59"/>
                </a:cxn>
                <a:cxn ang="0">
                  <a:pos x="63" y="67"/>
                </a:cxn>
                <a:cxn ang="0">
                  <a:pos x="74" y="72"/>
                </a:cxn>
                <a:cxn ang="0">
                  <a:pos x="80" y="84"/>
                </a:cxn>
                <a:cxn ang="0">
                  <a:pos x="98" y="88"/>
                </a:cxn>
                <a:cxn ang="0">
                  <a:pos x="102" y="94"/>
                </a:cxn>
                <a:cxn ang="0">
                  <a:pos x="102" y="100"/>
                </a:cxn>
                <a:cxn ang="0">
                  <a:pos x="109" y="101"/>
                </a:cxn>
              </a:cxnLst>
              <a:rect l="0" t="0" r="r" b="b"/>
              <a:pathLst>
                <a:path w="188" h="101">
                  <a:moveTo>
                    <a:pt x="109" y="101"/>
                  </a:moveTo>
                  <a:cubicBezTo>
                    <a:pt x="109" y="101"/>
                    <a:pt x="174" y="21"/>
                    <a:pt x="184" y="7"/>
                  </a:cubicBezTo>
                  <a:cubicBezTo>
                    <a:pt x="186" y="5"/>
                    <a:pt x="187" y="3"/>
                    <a:pt x="188" y="1"/>
                  </a:cubicBezTo>
                  <a:cubicBezTo>
                    <a:pt x="160" y="1"/>
                    <a:pt x="160" y="1"/>
                    <a:pt x="160" y="1"/>
                  </a:cubicBezTo>
                  <a:cubicBezTo>
                    <a:pt x="152" y="5"/>
                    <a:pt x="152" y="5"/>
                    <a:pt x="152" y="5"/>
                  </a:cubicBezTo>
                  <a:cubicBezTo>
                    <a:pt x="152" y="5"/>
                    <a:pt x="142" y="0"/>
                    <a:pt x="142" y="0"/>
                  </a:cubicBezTo>
                  <a:cubicBezTo>
                    <a:pt x="141" y="0"/>
                    <a:pt x="134" y="4"/>
                    <a:pt x="129" y="5"/>
                  </a:cubicBezTo>
                  <a:cubicBezTo>
                    <a:pt x="124" y="7"/>
                    <a:pt x="120" y="21"/>
                    <a:pt x="120" y="21"/>
                  </a:cubicBezTo>
                  <a:cubicBezTo>
                    <a:pt x="109" y="21"/>
                    <a:pt x="109" y="21"/>
                    <a:pt x="109" y="21"/>
                  </a:cubicBezTo>
                  <a:cubicBezTo>
                    <a:pt x="109" y="21"/>
                    <a:pt x="107" y="26"/>
                    <a:pt x="101" y="29"/>
                  </a:cubicBezTo>
                  <a:cubicBezTo>
                    <a:pt x="95" y="31"/>
                    <a:pt x="81" y="26"/>
                    <a:pt x="81" y="26"/>
                  </a:cubicBezTo>
                  <a:cubicBezTo>
                    <a:pt x="76" y="34"/>
                    <a:pt x="76" y="34"/>
                    <a:pt x="76" y="34"/>
                  </a:cubicBezTo>
                  <a:cubicBezTo>
                    <a:pt x="67" y="27"/>
                    <a:pt x="67" y="27"/>
                    <a:pt x="67" y="27"/>
                  </a:cubicBezTo>
                  <a:cubicBezTo>
                    <a:pt x="57" y="25"/>
                    <a:pt x="57" y="25"/>
                    <a:pt x="57" y="25"/>
                  </a:cubicBezTo>
                  <a:cubicBezTo>
                    <a:pt x="53" y="18"/>
                    <a:pt x="53" y="18"/>
                    <a:pt x="53" y="18"/>
                  </a:cubicBezTo>
                  <a:cubicBezTo>
                    <a:pt x="44" y="9"/>
                    <a:pt x="44" y="9"/>
                    <a:pt x="44" y="9"/>
                  </a:cubicBezTo>
                  <a:cubicBezTo>
                    <a:pt x="44" y="9"/>
                    <a:pt x="34" y="11"/>
                    <a:pt x="33" y="11"/>
                  </a:cubicBezTo>
                  <a:cubicBezTo>
                    <a:pt x="32" y="11"/>
                    <a:pt x="25" y="2"/>
                    <a:pt x="25" y="2"/>
                  </a:cubicBezTo>
                  <a:cubicBezTo>
                    <a:pt x="25" y="2"/>
                    <a:pt x="18" y="16"/>
                    <a:pt x="12" y="20"/>
                  </a:cubicBezTo>
                  <a:cubicBezTo>
                    <a:pt x="6" y="24"/>
                    <a:pt x="1" y="31"/>
                    <a:pt x="1" y="31"/>
                  </a:cubicBezTo>
                  <a:cubicBezTo>
                    <a:pt x="0" y="30"/>
                    <a:pt x="0" y="30"/>
                    <a:pt x="0" y="30"/>
                  </a:cubicBezTo>
                  <a:cubicBezTo>
                    <a:pt x="0" y="36"/>
                    <a:pt x="0" y="36"/>
                    <a:pt x="0" y="36"/>
                  </a:cubicBezTo>
                  <a:cubicBezTo>
                    <a:pt x="0" y="36"/>
                    <a:pt x="12" y="36"/>
                    <a:pt x="12" y="40"/>
                  </a:cubicBezTo>
                  <a:cubicBezTo>
                    <a:pt x="12" y="44"/>
                    <a:pt x="12" y="45"/>
                    <a:pt x="12" y="45"/>
                  </a:cubicBezTo>
                  <a:cubicBezTo>
                    <a:pt x="12" y="45"/>
                    <a:pt x="21" y="45"/>
                    <a:pt x="26" y="47"/>
                  </a:cubicBezTo>
                  <a:cubicBezTo>
                    <a:pt x="31" y="50"/>
                    <a:pt x="42" y="57"/>
                    <a:pt x="42" y="57"/>
                  </a:cubicBezTo>
                  <a:cubicBezTo>
                    <a:pt x="52" y="59"/>
                    <a:pt x="52" y="59"/>
                    <a:pt x="52" y="59"/>
                  </a:cubicBezTo>
                  <a:cubicBezTo>
                    <a:pt x="52" y="59"/>
                    <a:pt x="57" y="66"/>
                    <a:pt x="63" y="67"/>
                  </a:cubicBezTo>
                  <a:cubicBezTo>
                    <a:pt x="68" y="69"/>
                    <a:pt x="74" y="72"/>
                    <a:pt x="74" y="72"/>
                  </a:cubicBezTo>
                  <a:cubicBezTo>
                    <a:pt x="74" y="72"/>
                    <a:pt x="72" y="79"/>
                    <a:pt x="80" y="84"/>
                  </a:cubicBezTo>
                  <a:cubicBezTo>
                    <a:pt x="88" y="88"/>
                    <a:pt x="98" y="88"/>
                    <a:pt x="98" y="88"/>
                  </a:cubicBezTo>
                  <a:cubicBezTo>
                    <a:pt x="98" y="88"/>
                    <a:pt x="103" y="94"/>
                    <a:pt x="102" y="94"/>
                  </a:cubicBezTo>
                  <a:cubicBezTo>
                    <a:pt x="102" y="94"/>
                    <a:pt x="102" y="97"/>
                    <a:pt x="102" y="100"/>
                  </a:cubicBezTo>
                  <a:cubicBezTo>
                    <a:pt x="106" y="99"/>
                    <a:pt x="109" y="101"/>
                    <a:pt x="109" y="101"/>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7" name="Freeform 344">
              <a:extLst>
                <a:ext uri="{FF2B5EF4-FFF2-40B4-BE49-F238E27FC236}">
                  <a16:creationId xmlns:a16="http://schemas.microsoft.com/office/drawing/2014/main" id="{692B9CC7-4CD3-42B6-84E6-AB62BA79EA70}"/>
                </a:ext>
              </a:extLst>
            </p:cNvPr>
            <p:cNvSpPr>
              <a:spLocks noChangeAspect="1"/>
            </p:cNvSpPr>
            <p:nvPr/>
          </p:nvSpPr>
          <p:spPr bwMode="auto">
            <a:xfrm>
              <a:off x="14426" y="1984"/>
              <a:ext cx="206" cy="251"/>
            </a:xfrm>
            <a:custGeom>
              <a:avLst/>
              <a:gdLst/>
              <a:ahLst/>
              <a:cxnLst>
                <a:cxn ang="0">
                  <a:pos x="102" y="59"/>
                </a:cxn>
                <a:cxn ang="0">
                  <a:pos x="102" y="53"/>
                </a:cxn>
                <a:cxn ang="0">
                  <a:pos x="98" y="47"/>
                </a:cxn>
                <a:cxn ang="0">
                  <a:pos x="80" y="43"/>
                </a:cxn>
                <a:cxn ang="0">
                  <a:pos x="74" y="31"/>
                </a:cxn>
                <a:cxn ang="0">
                  <a:pos x="63" y="26"/>
                </a:cxn>
                <a:cxn ang="0">
                  <a:pos x="52" y="18"/>
                </a:cxn>
                <a:cxn ang="0">
                  <a:pos x="42" y="16"/>
                </a:cxn>
                <a:cxn ang="0">
                  <a:pos x="26" y="6"/>
                </a:cxn>
                <a:cxn ang="0">
                  <a:pos x="12" y="4"/>
                </a:cxn>
                <a:cxn ang="0">
                  <a:pos x="12" y="0"/>
                </a:cxn>
                <a:cxn ang="0">
                  <a:pos x="8" y="5"/>
                </a:cxn>
                <a:cxn ang="0">
                  <a:pos x="12" y="9"/>
                </a:cxn>
                <a:cxn ang="0">
                  <a:pos x="7" y="13"/>
                </a:cxn>
                <a:cxn ang="0">
                  <a:pos x="12" y="19"/>
                </a:cxn>
                <a:cxn ang="0">
                  <a:pos x="13" y="27"/>
                </a:cxn>
                <a:cxn ang="0">
                  <a:pos x="21" y="31"/>
                </a:cxn>
                <a:cxn ang="0">
                  <a:pos x="31" y="40"/>
                </a:cxn>
                <a:cxn ang="0">
                  <a:pos x="28" y="51"/>
                </a:cxn>
                <a:cxn ang="0">
                  <a:pos x="19" y="56"/>
                </a:cxn>
                <a:cxn ang="0">
                  <a:pos x="24" y="62"/>
                </a:cxn>
                <a:cxn ang="0">
                  <a:pos x="23" y="70"/>
                </a:cxn>
                <a:cxn ang="0">
                  <a:pos x="13" y="76"/>
                </a:cxn>
                <a:cxn ang="0">
                  <a:pos x="7" y="70"/>
                </a:cxn>
                <a:cxn ang="0">
                  <a:pos x="0" y="72"/>
                </a:cxn>
                <a:cxn ang="0">
                  <a:pos x="1" y="88"/>
                </a:cxn>
                <a:cxn ang="0">
                  <a:pos x="4" y="95"/>
                </a:cxn>
                <a:cxn ang="0">
                  <a:pos x="10" y="102"/>
                </a:cxn>
                <a:cxn ang="0">
                  <a:pos x="10" y="114"/>
                </a:cxn>
                <a:cxn ang="0">
                  <a:pos x="21" y="116"/>
                </a:cxn>
                <a:cxn ang="0">
                  <a:pos x="26" y="124"/>
                </a:cxn>
                <a:cxn ang="0">
                  <a:pos x="49" y="125"/>
                </a:cxn>
                <a:cxn ang="0">
                  <a:pos x="89" y="66"/>
                </a:cxn>
                <a:cxn ang="0">
                  <a:pos x="102" y="59"/>
                </a:cxn>
              </a:cxnLst>
              <a:rect l="0" t="0" r="r" b="b"/>
              <a:pathLst>
                <a:path w="103" h="125">
                  <a:moveTo>
                    <a:pt x="102" y="59"/>
                  </a:moveTo>
                  <a:cubicBezTo>
                    <a:pt x="102" y="56"/>
                    <a:pt x="102" y="53"/>
                    <a:pt x="102" y="53"/>
                  </a:cubicBezTo>
                  <a:cubicBezTo>
                    <a:pt x="103" y="53"/>
                    <a:pt x="98" y="47"/>
                    <a:pt x="98" y="47"/>
                  </a:cubicBezTo>
                  <a:cubicBezTo>
                    <a:pt x="98" y="47"/>
                    <a:pt x="88" y="47"/>
                    <a:pt x="80" y="43"/>
                  </a:cubicBezTo>
                  <a:cubicBezTo>
                    <a:pt x="72" y="38"/>
                    <a:pt x="74" y="31"/>
                    <a:pt x="74" y="31"/>
                  </a:cubicBezTo>
                  <a:cubicBezTo>
                    <a:pt x="74" y="31"/>
                    <a:pt x="68" y="28"/>
                    <a:pt x="63" y="26"/>
                  </a:cubicBezTo>
                  <a:cubicBezTo>
                    <a:pt x="57" y="25"/>
                    <a:pt x="52" y="18"/>
                    <a:pt x="52" y="18"/>
                  </a:cubicBezTo>
                  <a:cubicBezTo>
                    <a:pt x="42" y="16"/>
                    <a:pt x="42" y="16"/>
                    <a:pt x="42" y="16"/>
                  </a:cubicBezTo>
                  <a:cubicBezTo>
                    <a:pt x="42" y="16"/>
                    <a:pt x="31" y="9"/>
                    <a:pt x="26" y="6"/>
                  </a:cubicBezTo>
                  <a:cubicBezTo>
                    <a:pt x="21" y="4"/>
                    <a:pt x="12" y="4"/>
                    <a:pt x="12" y="4"/>
                  </a:cubicBezTo>
                  <a:cubicBezTo>
                    <a:pt x="12" y="4"/>
                    <a:pt x="12" y="3"/>
                    <a:pt x="12" y="0"/>
                  </a:cubicBezTo>
                  <a:cubicBezTo>
                    <a:pt x="8" y="5"/>
                    <a:pt x="8" y="5"/>
                    <a:pt x="8" y="5"/>
                  </a:cubicBezTo>
                  <a:cubicBezTo>
                    <a:pt x="12" y="9"/>
                    <a:pt x="12" y="9"/>
                    <a:pt x="12" y="9"/>
                  </a:cubicBezTo>
                  <a:cubicBezTo>
                    <a:pt x="7" y="13"/>
                    <a:pt x="7" y="13"/>
                    <a:pt x="7" y="13"/>
                  </a:cubicBezTo>
                  <a:cubicBezTo>
                    <a:pt x="12" y="19"/>
                    <a:pt x="12" y="19"/>
                    <a:pt x="12" y="19"/>
                  </a:cubicBezTo>
                  <a:cubicBezTo>
                    <a:pt x="13" y="27"/>
                    <a:pt x="13" y="27"/>
                    <a:pt x="13" y="27"/>
                  </a:cubicBezTo>
                  <a:cubicBezTo>
                    <a:pt x="21" y="31"/>
                    <a:pt x="21" y="31"/>
                    <a:pt x="21" y="31"/>
                  </a:cubicBezTo>
                  <a:cubicBezTo>
                    <a:pt x="31" y="40"/>
                    <a:pt x="31" y="40"/>
                    <a:pt x="31" y="40"/>
                  </a:cubicBezTo>
                  <a:cubicBezTo>
                    <a:pt x="28" y="51"/>
                    <a:pt x="28" y="51"/>
                    <a:pt x="28" y="51"/>
                  </a:cubicBezTo>
                  <a:cubicBezTo>
                    <a:pt x="19" y="56"/>
                    <a:pt x="19" y="56"/>
                    <a:pt x="19" y="56"/>
                  </a:cubicBezTo>
                  <a:cubicBezTo>
                    <a:pt x="24" y="62"/>
                    <a:pt x="24" y="62"/>
                    <a:pt x="24" y="62"/>
                  </a:cubicBezTo>
                  <a:cubicBezTo>
                    <a:pt x="23" y="70"/>
                    <a:pt x="23" y="70"/>
                    <a:pt x="23" y="70"/>
                  </a:cubicBezTo>
                  <a:cubicBezTo>
                    <a:pt x="13" y="76"/>
                    <a:pt x="13" y="76"/>
                    <a:pt x="13" y="76"/>
                  </a:cubicBezTo>
                  <a:cubicBezTo>
                    <a:pt x="7" y="70"/>
                    <a:pt x="7" y="70"/>
                    <a:pt x="7" y="70"/>
                  </a:cubicBezTo>
                  <a:cubicBezTo>
                    <a:pt x="0" y="72"/>
                    <a:pt x="0" y="72"/>
                    <a:pt x="0" y="72"/>
                  </a:cubicBezTo>
                  <a:cubicBezTo>
                    <a:pt x="1" y="88"/>
                    <a:pt x="1" y="88"/>
                    <a:pt x="1" y="88"/>
                  </a:cubicBezTo>
                  <a:cubicBezTo>
                    <a:pt x="1" y="88"/>
                    <a:pt x="4" y="93"/>
                    <a:pt x="4" y="95"/>
                  </a:cubicBezTo>
                  <a:cubicBezTo>
                    <a:pt x="4" y="98"/>
                    <a:pt x="10" y="102"/>
                    <a:pt x="10" y="102"/>
                  </a:cubicBezTo>
                  <a:cubicBezTo>
                    <a:pt x="10" y="114"/>
                    <a:pt x="10" y="114"/>
                    <a:pt x="10" y="114"/>
                  </a:cubicBezTo>
                  <a:cubicBezTo>
                    <a:pt x="21" y="116"/>
                    <a:pt x="21" y="116"/>
                    <a:pt x="21" y="116"/>
                  </a:cubicBezTo>
                  <a:cubicBezTo>
                    <a:pt x="26" y="124"/>
                    <a:pt x="26" y="124"/>
                    <a:pt x="26" y="124"/>
                  </a:cubicBezTo>
                  <a:cubicBezTo>
                    <a:pt x="49" y="125"/>
                    <a:pt x="49" y="125"/>
                    <a:pt x="49" y="125"/>
                  </a:cubicBezTo>
                  <a:cubicBezTo>
                    <a:pt x="64" y="100"/>
                    <a:pt x="82" y="74"/>
                    <a:pt x="89" y="66"/>
                  </a:cubicBezTo>
                  <a:cubicBezTo>
                    <a:pt x="94" y="61"/>
                    <a:pt x="98" y="59"/>
                    <a:pt x="102" y="59"/>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08" name="Freeform 323">
              <a:extLst>
                <a:ext uri="{FF2B5EF4-FFF2-40B4-BE49-F238E27FC236}">
                  <a16:creationId xmlns:a16="http://schemas.microsoft.com/office/drawing/2014/main" id="{BAC0C039-649C-45FC-8B19-EC32FD5D6A02}"/>
                </a:ext>
              </a:extLst>
            </p:cNvPr>
            <p:cNvSpPr>
              <a:spLocks noChangeAspect="1"/>
            </p:cNvSpPr>
            <p:nvPr/>
          </p:nvSpPr>
          <p:spPr bwMode="auto">
            <a:xfrm>
              <a:off x="11921" y="523"/>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09" name="Freeform 324">
              <a:extLst>
                <a:ext uri="{FF2B5EF4-FFF2-40B4-BE49-F238E27FC236}">
                  <a16:creationId xmlns:a16="http://schemas.microsoft.com/office/drawing/2014/main" id="{6A5E577A-FD7A-4FEA-BDEE-68BB72C59677}"/>
                </a:ext>
              </a:extLst>
            </p:cNvPr>
            <p:cNvSpPr>
              <a:spLocks noChangeAspect="1"/>
            </p:cNvSpPr>
            <p:nvPr/>
          </p:nvSpPr>
          <p:spPr bwMode="auto">
            <a:xfrm>
              <a:off x="12909" y="1460"/>
              <a:ext cx="621" cy="1009"/>
            </a:xfrm>
            <a:custGeom>
              <a:avLst/>
              <a:gdLst/>
              <a:ahLst/>
              <a:cxnLst>
                <a:cxn ang="0">
                  <a:pos x="9" y="363"/>
                </a:cxn>
                <a:cxn ang="0">
                  <a:pos x="2" y="400"/>
                </a:cxn>
                <a:cxn ang="0">
                  <a:pos x="8" y="434"/>
                </a:cxn>
                <a:cxn ang="0">
                  <a:pos x="39" y="437"/>
                </a:cxn>
                <a:cxn ang="0">
                  <a:pos x="52" y="473"/>
                </a:cxn>
                <a:cxn ang="0">
                  <a:pos x="100" y="461"/>
                </a:cxn>
                <a:cxn ang="0">
                  <a:pos x="118" y="465"/>
                </a:cxn>
                <a:cxn ang="0">
                  <a:pos x="129" y="491"/>
                </a:cxn>
                <a:cxn ang="0">
                  <a:pos x="141" y="495"/>
                </a:cxn>
                <a:cxn ang="0">
                  <a:pos x="160" y="493"/>
                </a:cxn>
                <a:cxn ang="0">
                  <a:pos x="187" y="504"/>
                </a:cxn>
                <a:cxn ang="0">
                  <a:pos x="189" y="480"/>
                </a:cxn>
                <a:cxn ang="0">
                  <a:pos x="212" y="483"/>
                </a:cxn>
                <a:cxn ang="0">
                  <a:pos x="237" y="473"/>
                </a:cxn>
                <a:cxn ang="0">
                  <a:pos x="264" y="468"/>
                </a:cxn>
                <a:cxn ang="0">
                  <a:pos x="264" y="429"/>
                </a:cxn>
                <a:cxn ang="0">
                  <a:pos x="278" y="407"/>
                </a:cxn>
                <a:cxn ang="0">
                  <a:pos x="279" y="390"/>
                </a:cxn>
                <a:cxn ang="0">
                  <a:pos x="249" y="370"/>
                </a:cxn>
                <a:cxn ang="0">
                  <a:pos x="272" y="329"/>
                </a:cxn>
                <a:cxn ang="0">
                  <a:pos x="310" y="309"/>
                </a:cxn>
                <a:cxn ang="0">
                  <a:pos x="293" y="311"/>
                </a:cxn>
                <a:cxn ang="0">
                  <a:pos x="264" y="301"/>
                </a:cxn>
                <a:cxn ang="0">
                  <a:pos x="248" y="280"/>
                </a:cxn>
                <a:cxn ang="0">
                  <a:pos x="240" y="254"/>
                </a:cxn>
                <a:cxn ang="0">
                  <a:pos x="221" y="236"/>
                </a:cxn>
                <a:cxn ang="0">
                  <a:pos x="238" y="201"/>
                </a:cxn>
                <a:cxn ang="0">
                  <a:pos x="258" y="170"/>
                </a:cxn>
                <a:cxn ang="0">
                  <a:pos x="179" y="124"/>
                </a:cxn>
                <a:cxn ang="0">
                  <a:pos x="204" y="68"/>
                </a:cxn>
                <a:cxn ang="0">
                  <a:pos x="175" y="14"/>
                </a:cxn>
                <a:cxn ang="0">
                  <a:pos x="161" y="11"/>
                </a:cxn>
                <a:cxn ang="0">
                  <a:pos x="130" y="14"/>
                </a:cxn>
                <a:cxn ang="0">
                  <a:pos x="119" y="14"/>
                </a:cxn>
                <a:cxn ang="0">
                  <a:pos x="146" y="23"/>
                </a:cxn>
                <a:cxn ang="0">
                  <a:pos x="152" y="40"/>
                </a:cxn>
                <a:cxn ang="0">
                  <a:pos x="143" y="51"/>
                </a:cxn>
                <a:cxn ang="0">
                  <a:pos x="140" y="63"/>
                </a:cxn>
                <a:cxn ang="0">
                  <a:pos x="130" y="79"/>
                </a:cxn>
                <a:cxn ang="0">
                  <a:pos x="106" y="97"/>
                </a:cxn>
                <a:cxn ang="0">
                  <a:pos x="96" y="130"/>
                </a:cxn>
                <a:cxn ang="0">
                  <a:pos x="86" y="149"/>
                </a:cxn>
                <a:cxn ang="0">
                  <a:pos x="91" y="173"/>
                </a:cxn>
                <a:cxn ang="0">
                  <a:pos x="69" y="222"/>
                </a:cxn>
                <a:cxn ang="0">
                  <a:pos x="53" y="240"/>
                </a:cxn>
                <a:cxn ang="0">
                  <a:pos x="31" y="283"/>
                </a:cxn>
                <a:cxn ang="0">
                  <a:pos x="10" y="332"/>
                </a:cxn>
              </a:cxnLst>
              <a:rect l="0" t="0" r="r" b="b"/>
              <a:pathLst>
                <a:path w="310" h="504">
                  <a:moveTo>
                    <a:pt x="10" y="332"/>
                  </a:moveTo>
                  <a:cubicBezTo>
                    <a:pt x="7" y="343"/>
                    <a:pt x="9" y="363"/>
                    <a:pt x="9" y="363"/>
                  </a:cubicBezTo>
                  <a:cubicBezTo>
                    <a:pt x="0" y="375"/>
                    <a:pt x="0" y="375"/>
                    <a:pt x="0" y="375"/>
                  </a:cubicBezTo>
                  <a:cubicBezTo>
                    <a:pt x="2" y="400"/>
                    <a:pt x="2" y="400"/>
                    <a:pt x="2" y="400"/>
                  </a:cubicBezTo>
                  <a:cubicBezTo>
                    <a:pt x="3" y="430"/>
                    <a:pt x="3" y="430"/>
                    <a:pt x="3" y="430"/>
                  </a:cubicBezTo>
                  <a:cubicBezTo>
                    <a:pt x="8" y="434"/>
                    <a:pt x="8" y="434"/>
                    <a:pt x="8" y="434"/>
                  </a:cubicBezTo>
                  <a:cubicBezTo>
                    <a:pt x="11" y="463"/>
                    <a:pt x="11" y="463"/>
                    <a:pt x="11" y="463"/>
                  </a:cubicBezTo>
                  <a:cubicBezTo>
                    <a:pt x="39" y="437"/>
                    <a:pt x="39" y="437"/>
                    <a:pt x="39" y="437"/>
                  </a:cubicBezTo>
                  <a:cubicBezTo>
                    <a:pt x="27" y="468"/>
                    <a:pt x="27" y="468"/>
                    <a:pt x="27" y="468"/>
                  </a:cubicBezTo>
                  <a:cubicBezTo>
                    <a:pt x="52" y="473"/>
                    <a:pt x="52" y="473"/>
                    <a:pt x="52" y="473"/>
                  </a:cubicBezTo>
                  <a:cubicBezTo>
                    <a:pt x="85" y="492"/>
                    <a:pt x="85" y="492"/>
                    <a:pt x="85" y="492"/>
                  </a:cubicBezTo>
                  <a:cubicBezTo>
                    <a:pt x="100" y="461"/>
                    <a:pt x="100" y="461"/>
                    <a:pt x="100" y="461"/>
                  </a:cubicBezTo>
                  <a:cubicBezTo>
                    <a:pt x="108" y="472"/>
                    <a:pt x="108" y="472"/>
                    <a:pt x="108" y="472"/>
                  </a:cubicBezTo>
                  <a:cubicBezTo>
                    <a:pt x="118" y="465"/>
                    <a:pt x="118" y="465"/>
                    <a:pt x="118" y="465"/>
                  </a:cubicBezTo>
                  <a:cubicBezTo>
                    <a:pt x="133" y="481"/>
                    <a:pt x="133" y="481"/>
                    <a:pt x="133" y="481"/>
                  </a:cubicBezTo>
                  <a:cubicBezTo>
                    <a:pt x="129" y="491"/>
                    <a:pt x="129" y="491"/>
                    <a:pt x="129" y="491"/>
                  </a:cubicBezTo>
                  <a:cubicBezTo>
                    <a:pt x="140" y="488"/>
                    <a:pt x="140" y="488"/>
                    <a:pt x="140" y="488"/>
                  </a:cubicBezTo>
                  <a:cubicBezTo>
                    <a:pt x="141" y="495"/>
                    <a:pt x="141" y="495"/>
                    <a:pt x="141" y="495"/>
                  </a:cubicBezTo>
                  <a:cubicBezTo>
                    <a:pt x="152" y="486"/>
                    <a:pt x="152" y="486"/>
                    <a:pt x="152" y="486"/>
                  </a:cubicBezTo>
                  <a:cubicBezTo>
                    <a:pt x="160" y="493"/>
                    <a:pt x="160" y="493"/>
                    <a:pt x="160" y="493"/>
                  </a:cubicBezTo>
                  <a:cubicBezTo>
                    <a:pt x="172" y="492"/>
                    <a:pt x="172" y="492"/>
                    <a:pt x="172" y="492"/>
                  </a:cubicBezTo>
                  <a:cubicBezTo>
                    <a:pt x="187" y="504"/>
                    <a:pt x="187" y="504"/>
                    <a:pt x="187" y="504"/>
                  </a:cubicBezTo>
                  <a:cubicBezTo>
                    <a:pt x="193" y="497"/>
                    <a:pt x="193" y="497"/>
                    <a:pt x="193" y="497"/>
                  </a:cubicBezTo>
                  <a:cubicBezTo>
                    <a:pt x="189" y="480"/>
                    <a:pt x="189" y="480"/>
                    <a:pt x="189" y="480"/>
                  </a:cubicBezTo>
                  <a:cubicBezTo>
                    <a:pt x="205" y="489"/>
                    <a:pt x="205" y="489"/>
                    <a:pt x="205" y="489"/>
                  </a:cubicBezTo>
                  <a:cubicBezTo>
                    <a:pt x="212" y="483"/>
                    <a:pt x="212" y="483"/>
                    <a:pt x="212" y="483"/>
                  </a:cubicBezTo>
                  <a:cubicBezTo>
                    <a:pt x="224" y="485"/>
                    <a:pt x="224" y="485"/>
                    <a:pt x="224" y="485"/>
                  </a:cubicBezTo>
                  <a:cubicBezTo>
                    <a:pt x="237" y="473"/>
                    <a:pt x="237" y="473"/>
                    <a:pt x="237" y="473"/>
                  </a:cubicBezTo>
                  <a:cubicBezTo>
                    <a:pt x="266" y="468"/>
                    <a:pt x="266" y="468"/>
                    <a:pt x="266" y="468"/>
                  </a:cubicBezTo>
                  <a:cubicBezTo>
                    <a:pt x="265" y="468"/>
                    <a:pt x="265" y="468"/>
                    <a:pt x="264" y="468"/>
                  </a:cubicBezTo>
                  <a:cubicBezTo>
                    <a:pt x="263" y="468"/>
                    <a:pt x="274" y="453"/>
                    <a:pt x="276" y="444"/>
                  </a:cubicBezTo>
                  <a:cubicBezTo>
                    <a:pt x="279" y="436"/>
                    <a:pt x="264" y="429"/>
                    <a:pt x="264" y="429"/>
                  </a:cubicBezTo>
                  <a:cubicBezTo>
                    <a:pt x="266" y="413"/>
                    <a:pt x="266" y="413"/>
                    <a:pt x="266" y="413"/>
                  </a:cubicBezTo>
                  <a:cubicBezTo>
                    <a:pt x="278" y="407"/>
                    <a:pt x="278" y="407"/>
                    <a:pt x="278" y="407"/>
                  </a:cubicBezTo>
                  <a:cubicBezTo>
                    <a:pt x="268" y="401"/>
                    <a:pt x="268" y="401"/>
                    <a:pt x="268" y="401"/>
                  </a:cubicBezTo>
                  <a:cubicBezTo>
                    <a:pt x="279" y="390"/>
                    <a:pt x="279" y="390"/>
                    <a:pt x="279" y="390"/>
                  </a:cubicBezTo>
                  <a:cubicBezTo>
                    <a:pt x="279" y="390"/>
                    <a:pt x="269" y="387"/>
                    <a:pt x="259" y="386"/>
                  </a:cubicBezTo>
                  <a:cubicBezTo>
                    <a:pt x="250" y="386"/>
                    <a:pt x="249" y="370"/>
                    <a:pt x="249" y="370"/>
                  </a:cubicBezTo>
                  <a:cubicBezTo>
                    <a:pt x="269" y="348"/>
                    <a:pt x="269" y="348"/>
                    <a:pt x="269" y="348"/>
                  </a:cubicBezTo>
                  <a:cubicBezTo>
                    <a:pt x="272" y="329"/>
                    <a:pt x="272" y="329"/>
                    <a:pt x="272" y="329"/>
                  </a:cubicBezTo>
                  <a:cubicBezTo>
                    <a:pt x="272" y="329"/>
                    <a:pt x="275" y="329"/>
                    <a:pt x="281" y="329"/>
                  </a:cubicBezTo>
                  <a:cubicBezTo>
                    <a:pt x="287" y="329"/>
                    <a:pt x="310" y="309"/>
                    <a:pt x="310" y="309"/>
                  </a:cubicBezTo>
                  <a:cubicBezTo>
                    <a:pt x="307" y="301"/>
                    <a:pt x="307" y="301"/>
                    <a:pt x="307" y="301"/>
                  </a:cubicBezTo>
                  <a:cubicBezTo>
                    <a:pt x="293" y="311"/>
                    <a:pt x="293" y="311"/>
                    <a:pt x="293" y="311"/>
                  </a:cubicBezTo>
                  <a:cubicBezTo>
                    <a:pt x="287" y="306"/>
                    <a:pt x="287" y="306"/>
                    <a:pt x="287" y="306"/>
                  </a:cubicBezTo>
                  <a:cubicBezTo>
                    <a:pt x="287" y="306"/>
                    <a:pt x="283" y="310"/>
                    <a:pt x="264" y="301"/>
                  </a:cubicBezTo>
                  <a:cubicBezTo>
                    <a:pt x="244" y="292"/>
                    <a:pt x="258" y="283"/>
                    <a:pt x="258" y="283"/>
                  </a:cubicBezTo>
                  <a:cubicBezTo>
                    <a:pt x="248" y="280"/>
                    <a:pt x="248" y="280"/>
                    <a:pt x="248" y="280"/>
                  </a:cubicBezTo>
                  <a:cubicBezTo>
                    <a:pt x="257" y="267"/>
                    <a:pt x="257" y="267"/>
                    <a:pt x="257" y="267"/>
                  </a:cubicBezTo>
                  <a:cubicBezTo>
                    <a:pt x="240" y="254"/>
                    <a:pt x="240" y="254"/>
                    <a:pt x="240" y="254"/>
                  </a:cubicBezTo>
                  <a:cubicBezTo>
                    <a:pt x="238" y="243"/>
                    <a:pt x="238" y="243"/>
                    <a:pt x="238" y="243"/>
                  </a:cubicBezTo>
                  <a:cubicBezTo>
                    <a:pt x="221" y="236"/>
                    <a:pt x="221" y="236"/>
                    <a:pt x="221" y="236"/>
                  </a:cubicBezTo>
                  <a:cubicBezTo>
                    <a:pt x="233" y="225"/>
                    <a:pt x="233" y="225"/>
                    <a:pt x="233" y="225"/>
                  </a:cubicBezTo>
                  <a:cubicBezTo>
                    <a:pt x="233" y="225"/>
                    <a:pt x="232" y="211"/>
                    <a:pt x="238" y="201"/>
                  </a:cubicBezTo>
                  <a:cubicBezTo>
                    <a:pt x="244" y="192"/>
                    <a:pt x="249" y="195"/>
                    <a:pt x="249" y="195"/>
                  </a:cubicBezTo>
                  <a:cubicBezTo>
                    <a:pt x="249" y="195"/>
                    <a:pt x="263" y="184"/>
                    <a:pt x="258" y="170"/>
                  </a:cubicBezTo>
                  <a:cubicBezTo>
                    <a:pt x="253" y="156"/>
                    <a:pt x="226" y="176"/>
                    <a:pt x="226" y="176"/>
                  </a:cubicBezTo>
                  <a:cubicBezTo>
                    <a:pt x="179" y="124"/>
                    <a:pt x="179" y="124"/>
                    <a:pt x="179" y="124"/>
                  </a:cubicBezTo>
                  <a:cubicBezTo>
                    <a:pt x="179" y="124"/>
                    <a:pt x="183" y="122"/>
                    <a:pt x="189" y="120"/>
                  </a:cubicBezTo>
                  <a:cubicBezTo>
                    <a:pt x="194" y="118"/>
                    <a:pt x="204" y="68"/>
                    <a:pt x="204" y="68"/>
                  </a:cubicBezTo>
                  <a:cubicBezTo>
                    <a:pt x="204" y="68"/>
                    <a:pt x="196" y="22"/>
                    <a:pt x="196" y="20"/>
                  </a:cubicBezTo>
                  <a:cubicBezTo>
                    <a:pt x="196" y="19"/>
                    <a:pt x="175" y="14"/>
                    <a:pt x="175" y="14"/>
                  </a:cubicBezTo>
                  <a:cubicBezTo>
                    <a:pt x="173" y="5"/>
                    <a:pt x="173" y="5"/>
                    <a:pt x="173" y="5"/>
                  </a:cubicBezTo>
                  <a:cubicBezTo>
                    <a:pt x="173" y="5"/>
                    <a:pt x="167" y="9"/>
                    <a:pt x="161" y="11"/>
                  </a:cubicBezTo>
                  <a:cubicBezTo>
                    <a:pt x="155" y="14"/>
                    <a:pt x="144" y="0"/>
                    <a:pt x="144" y="0"/>
                  </a:cubicBezTo>
                  <a:cubicBezTo>
                    <a:pt x="130" y="14"/>
                    <a:pt x="130" y="14"/>
                    <a:pt x="130" y="14"/>
                  </a:cubicBezTo>
                  <a:cubicBezTo>
                    <a:pt x="123" y="10"/>
                    <a:pt x="123" y="10"/>
                    <a:pt x="123" y="10"/>
                  </a:cubicBezTo>
                  <a:cubicBezTo>
                    <a:pt x="120" y="12"/>
                    <a:pt x="119" y="14"/>
                    <a:pt x="119" y="14"/>
                  </a:cubicBezTo>
                  <a:cubicBezTo>
                    <a:pt x="146" y="18"/>
                    <a:pt x="146" y="18"/>
                    <a:pt x="146" y="18"/>
                  </a:cubicBezTo>
                  <a:cubicBezTo>
                    <a:pt x="146" y="23"/>
                    <a:pt x="146" y="23"/>
                    <a:pt x="146" y="23"/>
                  </a:cubicBezTo>
                  <a:cubicBezTo>
                    <a:pt x="159" y="33"/>
                    <a:pt x="159" y="33"/>
                    <a:pt x="159" y="33"/>
                  </a:cubicBezTo>
                  <a:cubicBezTo>
                    <a:pt x="159" y="33"/>
                    <a:pt x="152" y="37"/>
                    <a:pt x="152" y="40"/>
                  </a:cubicBezTo>
                  <a:cubicBezTo>
                    <a:pt x="151" y="44"/>
                    <a:pt x="155" y="50"/>
                    <a:pt x="155" y="50"/>
                  </a:cubicBezTo>
                  <a:cubicBezTo>
                    <a:pt x="143" y="51"/>
                    <a:pt x="143" y="51"/>
                    <a:pt x="143" y="51"/>
                  </a:cubicBezTo>
                  <a:cubicBezTo>
                    <a:pt x="151" y="62"/>
                    <a:pt x="151" y="62"/>
                    <a:pt x="151" y="62"/>
                  </a:cubicBezTo>
                  <a:cubicBezTo>
                    <a:pt x="140" y="63"/>
                    <a:pt x="140" y="63"/>
                    <a:pt x="140" y="63"/>
                  </a:cubicBezTo>
                  <a:cubicBezTo>
                    <a:pt x="140" y="74"/>
                    <a:pt x="140" y="74"/>
                    <a:pt x="140" y="74"/>
                  </a:cubicBezTo>
                  <a:cubicBezTo>
                    <a:pt x="140" y="74"/>
                    <a:pt x="143" y="77"/>
                    <a:pt x="130" y="79"/>
                  </a:cubicBezTo>
                  <a:cubicBezTo>
                    <a:pt x="117" y="81"/>
                    <a:pt x="130" y="87"/>
                    <a:pt x="123" y="93"/>
                  </a:cubicBezTo>
                  <a:cubicBezTo>
                    <a:pt x="116" y="99"/>
                    <a:pt x="106" y="97"/>
                    <a:pt x="106" y="97"/>
                  </a:cubicBezTo>
                  <a:cubicBezTo>
                    <a:pt x="93" y="103"/>
                    <a:pt x="93" y="103"/>
                    <a:pt x="93" y="103"/>
                  </a:cubicBezTo>
                  <a:cubicBezTo>
                    <a:pt x="96" y="130"/>
                    <a:pt x="96" y="130"/>
                    <a:pt x="96" y="130"/>
                  </a:cubicBezTo>
                  <a:cubicBezTo>
                    <a:pt x="86" y="135"/>
                    <a:pt x="86" y="135"/>
                    <a:pt x="86" y="135"/>
                  </a:cubicBezTo>
                  <a:cubicBezTo>
                    <a:pt x="86" y="149"/>
                    <a:pt x="86" y="149"/>
                    <a:pt x="86" y="149"/>
                  </a:cubicBezTo>
                  <a:cubicBezTo>
                    <a:pt x="99" y="162"/>
                    <a:pt x="99" y="162"/>
                    <a:pt x="99" y="162"/>
                  </a:cubicBezTo>
                  <a:cubicBezTo>
                    <a:pt x="91" y="173"/>
                    <a:pt x="91" y="173"/>
                    <a:pt x="91" y="173"/>
                  </a:cubicBezTo>
                  <a:cubicBezTo>
                    <a:pt x="91" y="173"/>
                    <a:pt x="91" y="185"/>
                    <a:pt x="91" y="191"/>
                  </a:cubicBezTo>
                  <a:cubicBezTo>
                    <a:pt x="91" y="197"/>
                    <a:pt x="69" y="222"/>
                    <a:pt x="69" y="222"/>
                  </a:cubicBezTo>
                  <a:cubicBezTo>
                    <a:pt x="66" y="222"/>
                    <a:pt x="66" y="222"/>
                    <a:pt x="66" y="222"/>
                  </a:cubicBezTo>
                  <a:cubicBezTo>
                    <a:pt x="53" y="240"/>
                    <a:pt x="53" y="240"/>
                    <a:pt x="53" y="240"/>
                  </a:cubicBezTo>
                  <a:cubicBezTo>
                    <a:pt x="53" y="240"/>
                    <a:pt x="40" y="255"/>
                    <a:pt x="38" y="270"/>
                  </a:cubicBezTo>
                  <a:cubicBezTo>
                    <a:pt x="37" y="276"/>
                    <a:pt x="34" y="280"/>
                    <a:pt x="31" y="283"/>
                  </a:cubicBezTo>
                  <a:cubicBezTo>
                    <a:pt x="32" y="283"/>
                    <a:pt x="32" y="283"/>
                    <a:pt x="32" y="283"/>
                  </a:cubicBezTo>
                  <a:cubicBezTo>
                    <a:pt x="32" y="283"/>
                    <a:pt x="14" y="321"/>
                    <a:pt x="10" y="332"/>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10" name="Freeform 329">
              <a:extLst>
                <a:ext uri="{FF2B5EF4-FFF2-40B4-BE49-F238E27FC236}">
                  <a16:creationId xmlns:a16="http://schemas.microsoft.com/office/drawing/2014/main" id="{29FF4510-FC70-44FA-BF76-AD5E167CA5B0}"/>
                </a:ext>
              </a:extLst>
            </p:cNvPr>
            <p:cNvSpPr>
              <a:spLocks noChangeAspect="1"/>
            </p:cNvSpPr>
            <p:nvPr/>
          </p:nvSpPr>
          <p:spPr bwMode="auto">
            <a:xfrm>
              <a:off x="12081" y="4108"/>
              <a:ext cx="962" cy="802"/>
            </a:xfrm>
            <a:custGeom>
              <a:avLst/>
              <a:gdLst/>
              <a:ahLst/>
              <a:cxnLst>
                <a:cxn ang="0">
                  <a:pos x="455" y="134"/>
                </a:cxn>
                <a:cxn ang="0">
                  <a:pos x="451" y="129"/>
                </a:cxn>
                <a:cxn ang="0">
                  <a:pos x="460" y="123"/>
                </a:cxn>
                <a:cxn ang="0">
                  <a:pos x="462" y="108"/>
                </a:cxn>
                <a:cxn ang="0">
                  <a:pos x="476" y="92"/>
                </a:cxn>
                <a:cxn ang="0">
                  <a:pos x="477" y="83"/>
                </a:cxn>
                <a:cxn ang="0">
                  <a:pos x="429" y="83"/>
                </a:cxn>
                <a:cxn ang="0">
                  <a:pos x="389" y="42"/>
                </a:cxn>
                <a:cxn ang="0">
                  <a:pos x="371" y="23"/>
                </a:cxn>
                <a:cxn ang="0">
                  <a:pos x="352" y="25"/>
                </a:cxn>
                <a:cxn ang="0">
                  <a:pos x="299" y="8"/>
                </a:cxn>
                <a:cxn ang="0">
                  <a:pos x="283" y="9"/>
                </a:cxn>
                <a:cxn ang="0">
                  <a:pos x="276" y="0"/>
                </a:cxn>
                <a:cxn ang="0">
                  <a:pos x="264" y="8"/>
                </a:cxn>
                <a:cxn ang="0">
                  <a:pos x="256" y="0"/>
                </a:cxn>
                <a:cxn ang="0">
                  <a:pos x="246" y="8"/>
                </a:cxn>
                <a:cxn ang="0">
                  <a:pos x="233" y="0"/>
                </a:cxn>
                <a:cxn ang="0">
                  <a:pos x="228" y="7"/>
                </a:cxn>
                <a:cxn ang="0">
                  <a:pos x="206" y="21"/>
                </a:cxn>
                <a:cxn ang="0">
                  <a:pos x="188" y="21"/>
                </a:cxn>
                <a:cxn ang="0">
                  <a:pos x="181" y="31"/>
                </a:cxn>
                <a:cxn ang="0">
                  <a:pos x="172" y="30"/>
                </a:cxn>
                <a:cxn ang="0">
                  <a:pos x="160" y="48"/>
                </a:cxn>
                <a:cxn ang="0">
                  <a:pos x="151" y="47"/>
                </a:cxn>
                <a:cxn ang="0">
                  <a:pos x="111" y="68"/>
                </a:cxn>
                <a:cxn ang="0">
                  <a:pos x="115" y="79"/>
                </a:cxn>
                <a:cxn ang="0">
                  <a:pos x="100" y="82"/>
                </a:cxn>
                <a:cxn ang="0">
                  <a:pos x="74" y="110"/>
                </a:cxn>
                <a:cxn ang="0">
                  <a:pos x="73" y="123"/>
                </a:cxn>
                <a:cxn ang="0">
                  <a:pos x="60" y="123"/>
                </a:cxn>
                <a:cxn ang="0">
                  <a:pos x="54" y="135"/>
                </a:cxn>
                <a:cxn ang="0">
                  <a:pos x="38" y="155"/>
                </a:cxn>
                <a:cxn ang="0">
                  <a:pos x="18" y="166"/>
                </a:cxn>
                <a:cxn ang="0">
                  <a:pos x="17" y="175"/>
                </a:cxn>
                <a:cxn ang="0">
                  <a:pos x="0" y="187"/>
                </a:cxn>
                <a:cxn ang="0">
                  <a:pos x="8" y="195"/>
                </a:cxn>
                <a:cxn ang="0">
                  <a:pos x="25" y="195"/>
                </a:cxn>
                <a:cxn ang="0">
                  <a:pos x="34" y="179"/>
                </a:cxn>
                <a:cxn ang="0">
                  <a:pos x="48" y="181"/>
                </a:cxn>
                <a:cxn ang="0">
                  <a:pos x="97" y="225"/>
                </a:cxn>
                <a:cxn ang="0">
                  <a:pos x="99" y="242"/>
                </a:cxn>
                <a:cxn ang="0">
                  <a:pos x="123" y="226"/>
                </a:cxn>
                <a:cxn ang="0">
                  <a:pos x="145" y="251"/>
                </a:cxn>
                <a:cxn ang="0">
                  <a:pos x="167" y="263"/>
                </a:cxn>
                <a:cxn ang="0">
                  <a:pos x="190" y="264"/>
                </a:cxn>
                <a:cxn ang="0">
                  <a:pos x="191" y="272"/>
                </a:cxn>
                <a:cxn ang="0">
                  <a:pos x="214" y="290"/>
                </a:cxn>
                <a:cxn ang="0">
                  <a:pos x="236" y="305"/>
                </a:cxn>
                <a:cxn ang="0">
                  <a:pos x="245" y="324"/>
                </a:cxn>
                <a:cxn ang="0">
                  <a:pos x="265" y="333"/>
                </a:cxn>
                <a:cxn ang="0">
                  <a:pos x="277" y="342"/>
                </a:cxn>
                <a:cxn ang="0">
                  <a:pos x="247" y="364"/>
                </a:cxn>
                <a:cxn ang="0">
                  <a:pos x="248" y="396"/>
                </a:cxn>
                <a:cxn ang="0">
                  <a:pos x="259" y="400"/>
                </a:cxn>
                <a:cxn ang="0">
                  <a:pos x="301" y="361"/>
                </a:cxn>
                <a:cxn ang="0">
                  <a:pos x="316" y="325"/>
                </a:cxn>
                <a:cxn ang="0">
                  <a:pos x="344" y="295"/>
                </a:cxn>
                <a:cxn ang="0">
                  <a:pos x="393" y="261"/>
                </a:cxn>
                <a:cxn ang="0">
                  <a:pos x="436" y="210"/>
                </a:cxn>
                <a:cxn ang="0">
                  <a:pos x="471" y="142"/>
                </a:cxn>
                <a:cxn ang="0">
                  <a:pos x="476" y="135"/>
                </a:cxn>
                <a:cxn ang="0">
                  <a:pos x="464" y="128"/>
                </a:cxn>
                <a:cxn ang="0">
                  <a:pos x="455" y="134"/>
                </a:cxn>
              </a:cxnLst>
              <a:rect l="0" t="0" r="r" b="b"/>
              <a:pathLst>
                <a:path w="481" h="400">
                  <a:moveTo>
                    <a:pt x="455" y="134"/>
                  </a:moveTo>
                  <a:cubicBezTo>
                    <a:pt x="451" y="129"/>
                    <a:pt x="451" y="129"/>
                    <a:pt x="451" y="129"/>
                  </a:cubicBezTo>
                  <a:cubicBezTo>
                    <a:pt x="460" y="123"/>
                    <a:pt x="460" y="123"/>
                    <a:pt x="460" y="123"/>
                  </a:cubicBezTo>
                  <a:cubicBezTo>
                    <a:pt x="462" y="108"/>
                    <a:pt x="462" y="108"/>
                    <a:pt x="462" y="108"/>
                  </a:cubicBezTo>
                  <a:cubicBezTo>
                    <a:pt x="462" y="108"/>
                    <a:pt x="471" y="94"/>
                    <a:pt x="476" y="92"/>
                  </a:cubicBezTo>
                  <a:cubicBezTo>
                    <a:pt x="481" y="90"/>
                    <a:pt x="477" y="84"/>
                    <a:pt x="477" y="83"/>
                  </a:cubicBezTo>
                  <a:cubicBezTo>
                    <a:pt x="478" y="83"/>
                    <a:pt x="429" y="83"/>
                    <a:pt x="429" y="83"/>
                  </a:cubicBezTo>
                  <a:cubicBezTo>
                    <a:pt x="389" y="42"/>
                    <a:pt x="389" y="42"/>
                    <a:pt x="389" y="42"/>
                  </a:cubicBezTo>
                  <a:cubicBezTo>
                    <a:pt x="389" y="42"/>
                    <a:pt x="380" y="31"/>
                    <a:pt x="371" y="23"/>
                  </a:cubicBezTo>
                  <a:cubicBezTo>
                    <a:pt x="363" y="14"/>
                    <a:pt x="352" y="25"/>
                    <a:pt x="352" y="25"/>
                  </a:cubicBezTo>
                  <a:cubicBezTo>
                    <a:pt x="299" y="8"/>
                    <a:pt x="299" y="8"/>
                    <a:pt x="299" y="8"/>
                  </a:cubicBezTo>
                  <a:cubicBezTo>
                    <a:pt x="299" y="8"/>
                    <a:pt x="284" y="9"/>
                    <a:pt x="283" y="9"/>
                  </a:cubicBezTo>
                  <a:cubicBezTo>
                    <a:pt x="283" y="9"/>
                    <a:pt x="276" y="0"/>
                    <a:pt x="276" y="0"/>
                  </a:cubicBezTo>
                  <a:cubicBezTo>
                    <a:pt x="264" y="8"/>
                    <a:pt x="264" y="8"/>
                    <a:pt x="264" y="8"/>
                  </a:cubicBezTo>
                  <a:cubicBezTo>
                    <a:pt x="256" y="0"/>
                    <a:pt x="256" y="0"/>
                    <a:pt x="256" y="0"/>
                  </a:cubicBezTo>
                  <a:cubicBezTo>
                    <a:pt x="256" y="0"/>
                    <a:pt x="250" y="8"/>
                    <a:pt x="246" y="8"/>
                  </a:cubicBezTo>
                  <a:cubicBezTo>
                    <a:pt x="243" y="8"/>
                    <a:pt x="237" y="4"/>
                    <a:pt x="233" y="0"/>
                  </a:cubicBezTo>
                  <a:cubicBezTo>
                    <a:pt x="232" y="4"/>
                    <a:pt x="230" y="6"/>
                    <a:pt x="228" y="7"/>
                  </a:cubicBezTo>
                  <a:cubicBezTo>
                    <a:pt x="223" y="9"/>
                    <a:pt x="206" y="21"/>
                    <a:pt x="206" y="21"/>
                  </a:cubicBezTo>
                  <a:cubicBezTo>
                    <a:pt x="188" y="21"/>
                    <a:pt x="188" y="21"/>
                    <a:pt x="188" y="21"/>
                  </a:cubicBezTo>
                  <a:cubicBezTo>
                    <a:pt x="181" y="31"/>
                    <a:pt x="181" y="31"/>
                    <a:pt x="181" y="31"/>
                  </a:cubicBezTo>
                  <a:cubicBezTo>
                    <a:pt x="181" y="31"/>
                    <a:pt x="174" y="30"/>
                    <a:pt x="172" y="30"/>
                  </a:cubicBezTo>
                  <a:cubicBezTo>
                    <a:pt x="170" y="31"/>
                    <a:pt x="160" y="47"/>
                    <a:pt x="160" y="48"/>
                  </a:cubicBezTo>
                  <a:cubicBezTo>
                    <a:pt x="160" y="49"/>
                    <a:pt x="159" y="48"/>
                    <a:pt x="151" y="47"/>
                  </a:cubicBezTo>
                  <a:cubicBezTo>
                    <a:pt x="143" y="47"/>
                    <a:pt x="111" y="68"/>
                    <a:pt x="111" y="68"/>
                  </a:cubicBezTo>
                  <a:cubicBezTo>
                    <a:pt x="115" y="79"/>
                    <a:pt x="115" y="79"/>
                    <a:pt x="115" y="79"/>
                  </a:cubicBezTo>
                  <a:cubicBezTo>
                    <a:pt x="115" y="79"/>
                    <a:pt x="101" y="82"/>
                    <a:pt x="100" y="82"/>
                  </a:cubicBezTo>
                  <a:cubicBezTo>
                    <a:pt x="99" y="81"/>
                    <a:pt x="74" y="110"/>
                    <a:pt x="74" y="110"/>
                  </a:cubicBezTo>
                  <a:cubicBezTo>
                    <a:pt x="73" y="123"/>
                    <a:pt x="73" y="123"/>
                    <a:pt x="73" y="123"/>
                  </a:cubicBezTo>
                  <a:cubicBezTo>
                    <a:pt x="60" y="123"/>
                    <a:pt x="60" y="123"/>
                    <a:pt x="60" y="123"/>
                  </a:cubicBezTo>
                  <a:cubicBezTo>
                    <a:pt x="54" y="135"/>
                    <a:pt x="54" y="135"/>
                    <a:pt x="54" y="135"/>
                  </a:cubicBezTo>
                  <a:cubicBezTo>
                    <a:pt x="54" y="135"/>
                    <a:pt x="50" y="142"/>
                    <a:pt x="38" y="155"/>
                  </a:cubicBezTo>
                  <a:cubicBezTo>
                    <a:pt x="26" y="168"/>
                    <a:pt x="18" y="166"/>
                    <a:pt x="18" y="166"/>
                  </a:cubicBezTo>
                  <a:cubicBezTo>
                    <a:pt x="17" y="166"/>
                    <a:pt x="18" y="169"/>
                    <a:pt x="17" y="175"/>
                  </a:cubicBezTo>
                  <a:cubicBezTo>
                    <a:pt x="16" y="181"/>
                    <a:pt x="0" y="187"/>
                    <a:pt x="0" y="187"/>
                  </a:cubicBezTo>
                  <a:cubicBezTo>
                    <a:pt x="8" y="195"/>
                    <a:pt x="8" y="195"/>
                    <a:pt x="8" y="195"/>
                  </a:cubicBezTo>
                  <a:cubicBezTo>
                    <a:pt x="25" y="195"/>
                    <a:pt x="25" y="195"/>
                    <a:pt x="25" y="195"/>
                  </a:cubicBezTo>
                  <a:cubicBezTo>
                    <a:pt x="25" y="195"/>
                    <a:pt x="29" y="183"/>
                    <a:pt x="34" y="179"/>
                  </a:cubicBezTo>
                  <a:cubicBezTo>
                    <a:pt x="39" y="176"/>
                    <a:pt x="48" y="181"/>
                    <a:pt x="48" y="181"/>
                  </a:cubicBezTo>
                  <a:cubicBezTo>
                    <a:pt x="97" y="225"/>
                    <a:pt x="97" y="225"/>
                    <a:pt x="97" y="225"/>
                  </a:cubicBezTo>
                  <a:cubicBezTo>
                    <a:pt x="99" y="242"/>
                    <a:pt x="99" y="242"/>
                    <a:pt x="99" y="242"/>
                  </a:cubicBezTo>
                  <a:cubicBezTo>
                    <a:pt x="123" y="226"/>
                    <a:pt x="123" y="226"/>
                    <a:pt x="123" y="226"/>
                  </a:cubicBezTo>
                  <a:cubicBezTo>
                    <a:pt x="123" y="226"/>
                    <a:pt x="144" y="246"/>
                    <a:pt x="145" y="251"/>
                  </a:cubicBezTo>
                  <a:cubicBezTo>
                    <a:pt x="146" y="256"/>
                    <a:pt x="167" y="263"/>
                    <a:pt x="167" y="263"/>
                  </a:cubicBezTo>
                  <a:cubicBezTo>
                    <a:pt x="190" y="264"/>
                    <a:pt x="190" y="264"/>
                    <a:pt x="190" y="264"/>
                  </a:cubicBezTo>
                  <a:cubicBezTo>
                    <a:pt x="190" y="264"/>
                    <a:pt x="191" y="269"/>
                    <a:pt x="191" y="272"/>
                  </a:cubicBezTo>
                  <a:cubicBezTo>
                    <a:pt x="191" y="275"/>
                    <a:pt x="201" y="284"/>
                    <a:pt x="214" y="290"/>
                  </a:cubicBezTo>
                  <a:cubicBezTo>
                    <a:pt x="228" y="296"/>
                    <a:pt x="235" y="301"/>
                    <a:pt x="236" y="305"/>
                  </a:cubicBezTo>
                  <a:cubicBezTo>
                    <a:pt x="237" y="310"/>
                    <a:pt x="240" y="317"/>
                    <a:pt x="245" y="324"/>
                  </a:cubicBezTo>
                  <a:cubicBezTo>
                    <a:pt x="250" y="331"/>
                    <a:pt x="265" y="333"/>
                    <a:pt x="265" y="333"/>
                  </a:cubicBezTo>
                  <a:cubicBezTo>
                    <a:pt x="277" y="342"/>
                    <a:pt x="277" y="342"/>
                    <a:pt x="277" y="342"/>
                  </a:cubicBezTo>
                  <a:cubicBezTo>
                    <a:pt x="247" y="364"/>
                    <a:pt x="247" y="364"/>
                    <a:pt x="247" y="364"/>
                  </a:cubicBezTo>
                  <a:cubicBezTo>
                    <a:pt x="248" y="396"/>
                    <a:pt x="248" y="396"/>
                    <a:pt x="248" y="396"/>
                  </a:cubicBezTo>
                  <a:cubicBezTo>
                    <a:pt x="259" y="400"/>
                    <a:pt x="259" y="400"/>
                    <a:pt x="259" y="400"/>
                  </a:cubicBezTo>
                  <a:cubicBezTo>
                    <a:pt x="259" y="400"/>
                    <a:pt x="286" y="377"/>
                    <a:pt x="301" y="361"/>
                  </a:cubicBezTo>
                  <a:cubicBezTo>
                    <a:pt x="317" y="346"/>
                    <a:pt x="315" y="328"/>
                    <a:pt x="316" y="325"/>
                  </a:cubicBezTo>
                  <a:cubicBezTo>
                    <a:pt x="316" y="322"/>
                    <a:pt x="334" y="302"/>
                    <a:pt x="344" y="295"/>
                  </a:cubicBezTo>
                  <a:cubicBezTo>
                    <a:pt x="354" y="288"/>
                    <a:pt x="376" y="276"/>
                    <a:pt x="393" y="261"/>
                  </a:cubicBezTo>
                  <a:cubicBezTo>
                    <a:pt x="411" y="246"/>
                    <a:pt x="420" y="235"/>
                    <a:pt x="436" y="210"/>
                  </a:cubicBezTo>
                  <a:cubicBezTo>
                    <a:pt x="452" y="184"/>
                    <a:pt x="458" y="162"/>
                    <a:pt x="471" y="142"/>
                  </a:cubicBezTo>
                  <a:cubicBezTo>
                    <a:pt x="472" y="140"/>
                    <a:pt x="474" y="137"/>
                    <a:pt x="476" y="135"/>
                  </a:cubicBezTo>
                  <a:cubicBezTo>
                    <a:pt x="464" y="128"/>
                    <a:pt x="464" y="128"/>
                    <a:pt x="464" y="128"/>
                  </a:cubicBezTo>
                  <a:lnTo>
                    <a:pt x="455" y="134"/>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11" name="Freeform 336">
              <a:extLst>
                <a:ext uri="{FF2B5EF4-FFF2-40B4-BE49-F238E27FC236}">
                  <a16:creationId xmlns:a16="http://schemas.microsoft.com/office/drawing/2014/main" id="{7B8E44B6-CBFF-488A-842A-C372FD253849}"/>
                </a:ext>
              </a:extLst>
            </p:cNvPr>
            <p:cNvSpPr>
              <a:spLocks noChangeAspect="1"/>
            </p:cNvSpPr>
            <p:nvPr/>
          </p:nvSpPr>
          <p:spPr bwMode="auto">
            <a:xfrm>
              <a:off x="13151" y="964"/>
              <a:ext cx="841" cy="1106"/>
            </a:xfrm>
            <a:custGeom>
              <a:avLst/>
              <a:gdLst/>
              <a:ahLst/>
              <a:cxnLst>
                <a:cxn ang="0">
                  <a:pos x="182" y="506"/>
                </a:cxn>
                <a:cxn ang="0">
                  <a:pos x="172" y="488"/>
                </a:cxn>
                <a:cxn ang="0">
                  <a:pos x="176" y="462"/>
                </a:cxn>
                <a:cxn ang="0">
                  <a:pos x="194" y="426"/>
                </a:cxn>
                <a:cxn ang="0">
                  <a:pos x="216" y="389"/>
                </a:cxn>
                <a:cxn ang="0">
                  <a:pos x="234" y="382"/>
                </a:cxn>
                <a:cxn ang="0">
                  <a:pos x="252" y="371"/>
                </a:cxn>
                <a:cxn ang="0">
                  <a:pos x="287" y="342"/>
                </a:cxn>
                <a:cxn ang="0">
                  <a:pos x="318" y="348"/>
                </a:cxn>
                <a:cxn ang="0">
                  <a:pos x="349" y="342"/>
                </a:cxn>
                <a:cxn ang="0">
                  <a:pos x="345" y="304"/>
                </a:cxn>
                <a:cxn ang="0">
                  <a:pos x="346" y="289"/>
                </a:cxn>
                <a:cxn ang="0">
                  <a:pos x="350" y="269"/>
                </a:cxn>
                <a:cxn ang="0">
                  <a:pos x="358" y="258"/>
                </a:cxn>
                <a:cxn ang="0">
                  <a:pos x="351" y="221"/>
                </a:cxn>
                <a:cxn ang="0">
                  <a:pos x="349" y="192"/>
                </a:cxn>
                <a:cxn ang="0">
                  <a:pos x="375" y="147"/>
                </a:cxn>
                <a:cxn ang="0">
                  <a:pos x="403" y="129"/>
                </a:cxn>
                <a:cxn ang="0">
                  <a:pos x="420" y="115"/>
                </a:cxn>
                <a:cxn ang="0">
                  <a:pos x="406" y="94"/>
                </a:cxn>
                <a:cxn ang="0">
                  <a:pos x="396" y="96"/>
                </a:cxn>
                <a:cxn ang="0">
                  <a:pos x="336" y="77"/>
                </a:cxn>
                <a:cxn ang="0">
                  <a:pos x="310" y="69"/>
                </a:cxn>
                <a:cxn ang="0">
                  <a:pos x="283" y="84"/>
                </a:cxn>
                <a:cxn ang="0">
                  <a:pos x="276" y="85"/>
                </a:cxn>
                <a:cxn ang="0">
                  <a:pos x="262" y="66"/>
                </a:cxn>
                <a:cxn ang="0">
                  <a:pos x="236" y="32"/>
                </a:cxn>
                <a:cxn ang="0">
                  <a:pos x="207" y="35"/>
                </a:cxn>
                <a:cxn ang="0">
                  <a:pos x="193" y="10"/>
                </a:cxn>
                <a:cxn ang="0">
                  <a:pos x="170" y="3"/>
                </a:cxn>
                <a:cxn ang="0">
                  <a:pos x="156" y="0"/>
                </a:cxn>
                <a:cxn ang="0">
                  <a:pos x="149" y="39"/>
                </a:cxn>
                <a:cxn ang="0">
                  <a:pos x="140" y="75"/>
                </a:cxn>
                <a:cxn ang="0">
                  <a:pos x="126" y="97"/>
                </a:cxn>
                <a:cxn ang="0">
                  <a:pos x="103" y="150"/>
                </a:cxn>
                <a:cxn ang="0">
                  <a:pos x="83" y="184"/>
                </a:cxn>
                <a:cxn ang="0">
                  <a:pos x="51" y="213"/>
                </a:cxn>
                <a:cxn ang="0">
                  <a:pos x="9" y="260"/>
                </a:cxn>
                <a:cxn ang="0">
                  <a:pos x="40" y="257"/>
                </a:cxn>
                <a:cxn ang="0">
                  <a:pos x="54" y="260"/>
                </a:cxn>
                <a:cxn ang="0">
                  <a:pos x="83" y="314"/>
                </a:cxn>
                <a:cxn ang="0">
                  <a:pos x="58" y="370"/>
                </a:cxn>
                <a:cxn ang="0">
                  <a:pos x="137" y="416"/>
                </a:cxn>
                <a:cxn ang="0">
                  <a:pos x="117" y="447"/>
                </a:cxn>
                <a:cxn ang="0">
                  <a:pos x="100" y="482"/>
                </a:cxn>
                <a:cxn ang="0">
                  <a:pos x="119" y="500"/>
                </a:cxn>
                <a:cxn ang="0">
                  <a:pos x="127" y="526"/>
                </a:cxn>
                <a:cxn ang="0">
                  <a:pos x="143" y="547"/>
                </a:cxn>
                <a:cxn ang="0">
                  <a:pos x="175" y="538"/>
                </a:cxn>
              </a:cxnLst>
              <a:rect l="0" t="0" r="r" b="b"/>
              <a:pathLst>
                <a:path w="420" h="553">
                  <a:moveTo>
                    <a:pt x="175" y="509"/>
                  </a:moveTo>
                  <a:cubicBezTo>
                    <a:pt x="182" y="506"/>
                    <a:pt x="182" y="506"/>
                    <a:pt x="182" y="506"/>
                  </a:cubicBezTo>
                  <a:cubicBezTo>
                    <a:pt x="182" y="506"/>
                    <a:pt x="174" y="502"/>
                    <a:pt x="173" y="501"/>
                  </a:cubicBezTo>
                  <a:cubicBezTo>
                    <a:pt x="173" y="500"/>
                    <a:pt x="172" y="488"/>
                    <a:pt x="172" y="488"/>
                  </a:cubicBezTo>
                  <a:cubicBezTo>
                    <a:pt x="172" y="488"/>
                    <a:pt x="166" y="476"/>
                    <a:pt x="167" y="471"/>
                  </a:cubicBezTo>
                  <a:cubicBezTo>
                    <a:pt x="168" y="467"/>
                    <a:pt x="176" y="462"/>
                    <a:pt x="176" y="462"/>
                  </a:cubicBezTo>
                  <a:cubicBezTo>
                    <a:pt x="176" y="462"/>
                    <a:pt x="178" y="444"/>
                    <a:pt x="180" y="441"/>
                  </a:cubicBezTo>
                  <a:cubicBezTo>
                    <a:pt x="183" y="439"/>
                    <a:pt x="194" y="426"/>
                    <a:pt x="194" y="426"/>
                  </a:cubicBezTo>
                  <a:cubicBezTo>
                    <a:pt x="194" y="426"/>
                    <a:pt x="189" y="410"/>
                    <a:pt x="199" y="402"/>
                  </a:cubicBezTo>
                  <a:cubicBezTo>
                    <a:pt x="209" y="393"/>
                    <a:pt x="216" y="389"/>
                    <a:pt x="216" y="389"/>
                  </a:cubicBezTo>
                  <a:cubicBezTo>
                    <a:pt x="229" y="389"/>
                    <a:pt x="229" y="389"/>
                    <a:pt x="229" y="389"/>
                  </a:cubicBezTo>
                  <a:cubicBezTo>
                    <a:pt x="234" y="382"/>
                    <a:pt x="234" y="382"/>
                    <a:pt x="234" y="382"/>
                  </a:cubicBezTo>
                  <a:cubicBezTo>
                    <a:pt x="245" y="382"/>
                    <a:pt x="245" y="382"/>
                    <a:pt x="245" y="382"/>
                  </a:cubicBezTo>
                  <a:cubicBezTo>
                    <a:pt x="245" y="382"/>
                    <a:pt x="251" y="373"/>
                    <a:pt x="252" y="371"/>
                  </a:cubicBezTo>
                  <a:cubicBezTo>
                    <a:pt x="253" y="369"/>
                    <a:pt x="266" y="372"/>
                    <a:pt x="274" y="360"/>
                  </a:cubicBezTo>
                  <a:cubicBezTo>
                    <a:pt x="282" y="349"/>
                    <a:pt x="287" y="342"/>
                    <a:pt x="287" y="342"/>
                  </a:cubicBezTo>
                  <a:cubicBezTo>
                    <a:pt x="287" y="342"/>
                    <a:pt x="307" y="339"/>
                    <a:pt x="310" y="341"/>
                  </a:cubicBezTo>
                  <a:cubicBezTo>
                    <a:pt x="313" y="344"/>
                    <a:pt x="318" y="348"/>
                    <a:pt x="318" y="348"/>
                  </a:cubicBezTo>
                  <a:cubicBezTo>
                    <a:pt x="318" y="348"/>
                    <a:pt x="326" y="344"/>
                    <a:pt x="330" y="344"/>
                  </a:cubicBezTo>
                  <a:cubicBezTo>
                    <a:pt x="334" y="344"/>
                    <a:pt x="348" y="346"/>
                    <a:pt x="349" y="342"/>
                  </a:cubicBezTo>
                  <a:cubicBezTo>
                    <a:pt x="350" y="339"/>
                    <a:pt x="358" y="315"/>
                    <a:pt x="358" y="315"/>
                  </a:cubicBezTo>
                  <a:cubicBezTo>
                    <a:pt x="345" y="304"/>
                    <a:pt x="345" y="304"/>
                    <a:pt x="345" y="304"/>
                  </a:cubicBezTo>
                  <a:cubicBezTo>
                    <a:pt x="340" y="294"/>
                    <a:pt x="340" y="294"/>
                    <a:pt x="340" y="294"/>
                  </a:cubicBezTo>
                  <a:cubicBezTo>
                    <a:pt x="346" y="289"/>
                    <a:pt x="346" y="289"/>
                    <a:pt x="346" y="289"/>
                  </a:cubicBezTo>
                  <a:cubicBezTo>
                    <a:pt x="346" y="289"/>
                    <a:pt x="337" y="281"/>
                    <a:pt x="341" y="277"/>
                  </a:cubicBezTo>
                  <a:cubicBezTo>
                    <a:pt x="345" y="273"/>
                    <a:pt x="350" y="269"/>
                    <a:pt x="350" y="269"/>
                  </a:cubicBezTo>
                  <a:cubicBezTo>
                    <a:pt x="350" y="262"/>
                    <a:pt x="350" y="262"/>
                    <a:pt x="350" y="262"/>
                  </a:cubicBezTo>
                  <a:cubicBezTo>
                    <a:pt x="358" y="258"/>
                    <a:pt x="358" y="258"/>
                    <a:pt x="358" y="258"/>
                  </a:cubicBezTo>
                  <a:cubicBezTo>
                    <a:pt x="355" y="240"/>
                    <a:pt x="355" y="240"/>
                    <a:pt x="355" y="240"/>
                  </a:cubicBezTo>
                  <a:cubicBezTo>
                    <a:pt x="355" y="240"/>
                    <a:pt x="350" y="229"/>
                    <a:pt x="351" y="221"/>
                  </a:cubicBezTo>
                  <a:cubicBezTo>
                    <a:pt x="351" y="214"/>
                    <a:pt x="358" y="205"/>
                    <a:pt x="358" y="205"/>
                  </a:cubicBezTo>
                  <a:cubicBezTo>
                    <a:pt x="358" y="205"/>
                    <a:pt x="349" y="196"/>
                    <a:pt x="349" y="192"/>
                  </a:cubicBezTo>
                  <a:cubicBezTo>
                    <a:pt x="348" y="188"/>
                    <a:pt x="366" y="174"/>
                    <a:pt x="366" y="172"/>
                  </a:cubicBezTo>
                  <a:cubicBezTo>
                    <a:pt x="367" y="170"/>
                    <a:pt x="370" y="149"/>
                    <a:pt x="375" y="147"/>
                  </a:cubicBezTo>
                  <a:cubicBezTo>
                    <a:pt x="379" y="145"/>
                    <a:pt x="396" y="148"/>
                    <a:pt x="399" y="143"/>
                  </a:cubicBezTo>
                  <a:cubicBezTo>
                    <a:pt x="402" y="137"/>
                    <a:pt x="403" y="129"/>
                    <a:pt x="403" y="129"/>
                  </a:cubicBezTo>
                  <a:cubicBezTo>
                    <a:pt x="414" y="128"/>
                    <a:pt x="414" y="128"/>
                    <a:pt x="414" y="128"/>
                  </a:cubicBezTo>
                  <a:cubicBezTo>
                    <a:pt x="420" y="115"/>
                    <a:pt x="420" y="115"/>
                    <a:pt x="420" y="115"/>
                  </a:cubicBezTo>
                  <a:cubicBezTo>
                    <a:pt x="416" y="98"/>
                    <a:pt x="416" y="98"/>
                    <a:pt x="416" y="98"/>
                  </a:cubicBezTo>
                  <a:cubicBezTo>
                    <a:pt x="406" y="94"/>
                    <a:pt x="406" y="94"/>
                    <a:pt x="406" y="94"/>
                  </a:cubicBezTo>
                  <a:cubicBezTo>
                    <a:pt x="403" y="101"/>
                    <a:pt x="403" y="101"/>
                    <a:pt x="403" y="101"/>
                  </a:cubicBezTo>
                  <a:cubicBezTo>
                    <a:pt x="396" y="96"/>
                    <a:pt x="396" y="96"/>
                    <a:pt x="396" y="96"/>
                  </a:cubicBezTo>
                  <a:cubicBezTo>
                    <a:pt x="382" y="100"/>
                    <a:pt x="382" y="100"/>
                    <a:pt x="382" y="100"/>
                  </a:cubicBezTo>
                  <a:cubicBezTo>
                    <a:pt x="336" y="77"/>
                    <a:pt x="336" y="77"/>
                    <a:pt x="336" y="77"/>
                  </a:cubicBezTo>
                  <a:cubicBezTo>
                    <a:pt x="318" y="81"/>
                    <a:pt x="318" y="81"/>
                    <a:pt x="318" y="81"/>
                  </a:cubicBezTo>
                  <a:cubicBezTo>
                    <a:pt x="318" y="81"/>
                    <a:pt x="321" y="69"/>
                    <a:pt x="310" y="69"/>
                  </a:cubicBezTo>
                  <a:cubicBezTo>
                    <a:pt x="299" y="69"/>
                    <a:pt x="288" y="94"/>
                    <a:pt x="288" y="95"/>
                  </a:cubicBezTo>
                  <a:cubicBezTo>
                    <a:pt x="288" y="96"/>
                    <a:pt x="283" y="84"/>
                    <a:pt x="283" y="84"/>
                  </a:cubicBezTo>
                  <a:cubicBezTo>
                    <a:pt x="282" y="76"/>
                    <a:pt x="282" y="76"/>
                    <a:pt x="282" y="76"/>
                  </a:cubicBezTo>
                  <a:cubicBezTo>
                    <a:pt x="282" y="76"/>
                    <a:pt x="278" y="83"/>
                    <a:pt x="276" y="85"/>
                  </a:cubicBezTo>
                  <a:cubicBezTo>
                    <a:pt x="275" y="86"/>
                    <a:pt x="265" y="86"/>
                    <a:pt x="265" y="86"/>
                  </a:cubicBezTo>
                  <a:cubicBezTo>
                    <a:pt x="265" y="86"/>
                    <a:pt x="264" y="73"/>
                    <a:pt x="262" y="66"/>
                  </a:cubicBezTo>
                  <a:cubicBezTo>
                    <a:pt x="261" y="58"/>
                    <a:pt x="253" y="40"/>
                    <a:pt x="246" y="33"/>
                  </a:cubicBezTo>
                  <a:cubicBezTo>
                    <a:pt x="239" y="27"/>
                    <a:pt x="236" y="32"/>
                    <a:pt x="236" y="32"/>
                  </a:cubicBezTo>
                  <a:cubicBezTo>
                    <a:pt x="229" y="15"/>
                    <a:pt x="229" y="15"/>
                    <a:pt x="229" y="15"/>
                  </a:cubicBezTo>
                  <a:cubicBezTo>
                    <a:pt x="207" y="35"/>
                    <a:pt x="207" y="35"/>
                    <a:pt x="207" y="35"/>
                  </a:cubicBezTo>
                  <a:cubicBezTo>
                    <a:pt x="207" y="35"/>
                    <a:pt x="207" y="26"/>
                    <a:pt x="207" y="21"/>
                  </a:cubicBezTo>
                  <a:cubicBezTo>
                    <a:pt x="207" y="17"/>
                    <a:pt x="193" y="10"/>
                    <a:pt x="193" y="10"/>
                  </a:cubicBezTo>
                  <a:cubicBezTo>
                    <a:pt x="183" y="17"/>
                    <a:pt x="183" y="17"/>
                    <a:pt x="183" y="17"/>
                  </a:cubicBezTo>
                  <a:cubicBezTo>
                    <a:pt x="170" y="3"/>
                    <a:pt x="170" y="3"/>
                    <a:pt x="170" y="3"/>
                  </a:cubicBezTo>
                  <a:cubicBezTo>
                    <a:pt x="161" y="7"/>
                    <a:pt x="161" y="7"/>
                    <a:pt x="161" y="7"/>
                  </a:cubicBezTo>
                  <a:cubicBezTo>
                    <a:pt x="156" y="0"/>
                    <a:pt x="156" y="0"/>
                    <a:pt x="156" y="0"/>
                  </a:cubicBezTo>
                  <a:cubicBezTo>
                    <a:pt x="158" y="32"/>
                    <a:pt x="158" y="32"/>
                    <a:pt x="158" y="32"/>
                  </a:cubicBezTo>
                  <a:cubicBezTo>
                    <a:pt x="149" y="39"/>
                    <a:pt x="149" y="39"/>
                    <a:pt x="149" y="39"/>
                  </a:cubicBezTo>
                  <a:cubicBezTo>
                    <a:pt x="156" y="49"/>
                    <a:pt x="156" y="49"/>
                    <a:pt x="156" y="49"/>
                  </a:cubicBezTo>
                  <a:cubicBezTo>
                    <a:pt x="140" y="75"/>
                    <a:pt x="140" y="75"/>
                    <a:pt x="140" y="75"/>
                  </a:cubicBezTo>
                  <a:cubicBezTo>
                    <a:pt x="140" y="95"/>
                    <a:pt x="140" y="95"/>
                    <a:pt x="140" y="95"/>
                  </a:cubicBezTo>
                  <a:cubicBezTo>
                    <a:pt x="126" y="97"/>
                    <a:pt x="126" y="97"/>
                    <a:pt x="126" y="97"/>
                  </a:cubicBezTo>
                  <a:cubicBezTo>
                    <a:pt x="129" y="116"/>
                    <a:pt x="129" y="116"/>
                    <a:pt x="129" y="116"/>
                  </a:cubicBezTo>
                  <a:cubicBezTo>
                    <a:pt x="103" y="150"/>
                    <a:pt x="103" y="150"/>
                    <a:pt x="103" y="150"/>
                  </a:cubicBezTo>
                  <a:cubicBezTo>
                    <a:pt x="106" y="166"/>
                    <a:pt x="106" y="166"/>
                    <a:pt x="106" y="166"/>
                  </a:cubicBezTo>
                  <a:cubicBezTo>
                    <a:pt x="106" y="166"/>
                    <a:pt x="90" y="173"/>
                    <a:pt x="83" y="184"/>
                  </a:cubicBezTo>
                  <a:cubicBezTo>
                    <a:pt x="77" y="195"/>
                    <a:pt x="71" y="213"/>
                    <a:pt x="71" y="213"/>
                  </a:cubicBezTo>
                  <a:cubicBezTo>
                    <a:pt x="51" y="213"/>
                    <a:pt x="51" y="213"/>
                    <a:pt x="51" y="213"/>
                  </a:cubicBezTo>
                  <a:cubicBezTo>
                    <a:pt x="0" y="255"/>
                    <a:pt x="0" y="255"/>
                    <a:pt x="0" y="255"/>
                  </a:cubicBezTo>
                  <a:cubicBezTo>
                    <a:pt x="9" y="260"/>
                    <a:pt x="9" y="260"/>
                    <a:pt x="9" y="260"/>
                  </a:cubicBezTo>
                  <a:cubicBezTo>
                    <a:pt x="23" y="246"/>
                    <a:pt x="23" y="246"/>
                    <a:pt x="23" y="246"/>
                  </a:cubicBezTo>
                  <a:cubicBezTo>
                    <a:pt x="23" y="246"/>
                    <a:pt x="34" y="260"/>
                    <a:pt x="40" y="257"/>
                  </a:cubicBezTo>
                  <a:cubicBezTo>
                    <a:pt x="46" y="255"/>
                    <a:pt x="52" y="251"/>
                    <a:pt x="52" y="251"/>
                  </a:cubicBezTo>
                  <a:cubicBezTo>
                    <a:pt x="54" y="260"/>
                    <a:pt x="54" y="260"/>
                    <a:pt x="54" y="260"/>
                  </a:cubicBezTo>
                  <a:cubicBezTo>
                    <a:pt x="54" y="260"/>
                    <a:pt x="75" y="265"/>
                    <a:pt x="75" y="266"/>
                  </a:cubicBezTo>
                  <a:cubicBezTo>
                    <a:pt x="75" y="268"/>
                    <a:pt x="83" y="314"/>
                    <a:pt x="83" y="314"/>
                  </a:cubicBezTo>
                  <a:cubicBezTo>
                    <a:pt x="83" y="314"/>
                    <a:pt x="73" y="364"/>
                    <a:pt x="68" y="366"/>
                  </a:cubicBezTo>
                  <a:cubicBezTo>
                    <a:pt x="62" y="368"/>
                    <a:pt x="58" y="370"/>
                    <a:pt x="58" y="370"/>
                  </a:cubicBezTo>
                  <a:cubicBezTo>
                    <a:pt x="105" y="422"/>
                    <a:pt x="105" y="422"/>
                    <a:pt x="105" y="422"/>
                  </a:cubicBezTo>
                  <a:cubicBezTo>
                    <a:pt x="105" y="422"/>
                    <a:pt x="132" y="402"/>
                    <a:pt x="137" y="416"/>
                  </a:cubicBezTo>
                  <a:cubicBezTo>
                    <a:pt x="142" y="430"/>
                    <a:pt x="128" y="441"/>
                    <a:pt x="128" y="441"/>
                  </a:cubicBezTo>
                  <a:cubicBezTo>
                    <a:pt x="128" y="441"/>
                    <a:pt x="123" y="438"/>
                    <a:pt x="117" y="447"/>
                  </a:cubicBezTo>
                  <a:cubicBezTo>
                    <a:pt x="111" y="457"/>
                    <a:pt x="112" y="471"/>
                    <a:pt x="112" y="471"/>
                  </a:cubicBezTo>
                  <a:cubicBezTo>
                    <a:pt x="100" y="482"/>
                    <a:pt x="100" y="482"/>
                    <a:pt x="100" y="482"/>
                  </a:cubicBezTo>
                  <a:cubicBezTo>
                    <a:pt x="117" y="489"/>
                    <a:pt x="117" y="489"/>
                    <a:pt x="117" y="489"/>
                  </a:cubicBezTo>
                  <a:cubicBezTo>
                    <a:pt x="119" y="500"/>
                    <a:pt x="119" y="500"/>
                    <a:pt x="119" y="500"/>
                  </a:cubicBezTo>
                  <a:cubicBezTo>
                    <a:pt x="136" y="513"/>
                    <a:pt x="136" y="513"/>
                    <a:pt x="136" y="513"/>
                  </a:cubicBezTo>
                  <a:cubicBezTo>
                    <a:pt x="127" y="526"/>
                    <a:pt x="127" y="526"/>
                    <a:pt x="127" y="526"/>
                  </a:cubicBezTo>
                  <a:cubicBezTo>
                    <a:pt x="137" y="529"/>
                    <a:pt x="137" y="529"/>
                    <a:pt x="137" y="529"/>
                  </a:cubicBezTo>
                  <a:cubicBezTo>
                    <a:pt x="137" y="529"/>
                    <a:pt x="123" y="538"/>
                    <a:pt x="143" y="547"/>
                  </a:cubicBezTo>
                  <a:cubicBezTo>
                    <a:pt x="156" y="553"/>
                    <a:pt x="162" y="553"/>
                    <a:pt x="164" y="552"/>
                  </a:cubicBezTo>
                  <a:cubicBezTo>
                    <a:pt x="175" y="538"/>
                    <a:pt x="175" y="538"/>
                    <a:pt x="175" y="538"/>
                  </a:cubicBezTo>
                  <a:lnTo>
                    <a:pt x="175" y="509"/>
                  </a:ln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12" name="Freeform 343">
              <a:extLst>
                <a:ext uri="{FF2B5EF4-FFF2-40B4-BE49-F238E27FC236}">
                  <a16:creationId xmlns:a16="http://schemas.microsoft.com/office/drawing/2014/main" id="{DA64C76C-95D9-4057-8093-8BF1721DF43A}"/>
                </a:ext>
              </a:extLst>
            </p:cNvPr>
            <p:cNvSpPr>
              <a:spLocks noChangeAspect="1"/>
            </p:cNvSpPr>
            <p:nvPr/>
          </p:nvSpPr>
          <p:spPr bwMode="auto">
            <a:xfrm>
              <a:off x="13407" y="1865"/>
              <a:ext cx="1118" cy="1185"/>
            </a:xfrm>
            <a:custGeom>
              <a:avLst/>
              <a:gdLst>
                <a:gd name="T0" fmla="*/ 1040 w 558"/>
                <a:gd name="T1" fmla="*/ 324 h 592"/>
                <a:gd name="T2" fmla="*/ 1020 w 558"/>
                <a:gd name="T3" fmla="*/ 264 h 592"/>
                <a:gd name="T4" fmla="*/ 1066 w 558"/>
                <a:gd name="T5" fmla="*/ 260 h 592"/>
                <a:gd name="T6" fmla="*/ 1076 w 558"/>
                <a:gd name="T7" fmla="*/ 222 h 592"/>
                <a:gd name="T8" fmla="*/ 1046 w 558"/>
                <a:gd name="T9" fmla="*/ 174 h 592"/>
                <a:gd name="T10" fmla="*/ 1044 w 558"/>
                <a:gd name="T11" fmla="*/ 138 h 592"/>
                <a:gd name="T12" fmla="*/ 1044 w 558"/>
                <a:gd name="T13" fmla="*/ 118 h 592"/>
                <a:gd name="T14" fmla="*/ 1006 w 558"/>
                <a:gd name="T15" fmla="*/ 80 h 592"/>
                <a:gd name="T16" fmla="*/ 990 w 558"/>
                <a:gd name="T17" fmla="*/ 66 h 592"/>
                <a:gd name="T18" fmla="*/ 910 w 558"/>
                <a:gd name="T19" fmla="*/ 24 h 592"/>
                <a:gd name="T20" fmla="*/ 837 w 558"/>
                <a:gd name="T21" fmla="*/ 34 h 592"/>
                <a:gd name="T22" fmla="*/ 791 w 558"/>
                <a:gd name="T23" fmla="*/ 68 h 592"/>
                <a:gd name="T24" fmla="*/ 725 w 558"/>
                <a:gd name="T25" fmla="*/ 120 h 592"/>
                <a:gd name="T26" fmla="*/ 639 w 558"/>
                <a:gd name="T27" fmla="*/ 66 h 592"/>
                <a:gd name="T28" fmla="*/ 461 w 558"/>
                <a:gd name="T29" fmla="*/ 126 h 592"/>
                <a:gd name="T30" fmla="*/ 381 w 558"/>
                <a:gd name="T31" fmla="*/ 88 h 592"/>
                <a:gd name="T32" fmla="*/ 343 w 558"/>
                <a:gd name="T33" fmla="*/ 224 h 592"/>
                <a:gd name="T34" fmla="*/ 276 w 558"/>
                <a:gd name="T35" fmla="*/ 246 h 592"/>
                <a:gd name="T36" fmla="*/ 210 w 558"/>
                <a:gd name="T37" fmla="*/ 290 h 592"/>
                <a:gd name="T38" fmla="*/ 130 w 558"/>
                <a:gd name="T39" fmla="*/ 198 h 592"/>
                <a:gd name="T40" fmla="*/ 64 w 558"/>
                <a:gd name="T41" fmla="*/ 252 h 592"/>
                <a:gd name="T42" fmla="*/ 0 w 558"/>
                <a:gd name="T43" fmla="*/ 334 h 592"/>
                <a:gd name="T44" fmla="*/ 38 w 558"/>
                <a:gd name="T45" fmla="*/ 396 h 592"/>
                <a:gd name="T46" fmla="*/ 30 w 558"/>
                <a:gd name="T47" fmla="*/ 452 h 592"/>
                <a:gd name="T48" fmla="*/ 62 w 558"/>
                <a:gd name="T49" fmla="*/ 536 h 592"/>
                <a:gd name="T50" fmla="*/ 52 w 558"/>
                <a:gd name="T51" fmla="*/ 635 h 592"/>
                <a:gd name="T52" fmla="*/ 74 w 558"/>
                <a:gd name="T53" fmla="*/ 723 h 592"/>
                <a:gd name="T54" fmla="*/ 64 w 558"/>
                <a:gd name="T55" fmla="*/ 803 h 592"/>
                <a:gd name="T56" fmla="*/ 198 w 558"/>
                <a:gd name="T57" fmla="*/ 745 h 592"/>
                <a:gd name="T58" fmla="*/ 329 w 558"/>
                <a:gd name="T59" fmla="*/ 733 h 592"/>
                <a:gd name="T60" fmla="*/ 513 w 558"/>
                <a:gd name="T61" fmla="*/ 801 h 592"/>
                <a:gd name="T62" fmla="*/ 643 w 558"/>
                <a:gd name="T63" fmla="*/ 847 h 592"/>
                <a:gd name="T64" fmla="*/ 699 w 558"/>
                <a:gd name="T65" fmla="*/ 861 h 592"/>
                <a:gd name="T66" fmla="*/ 771 w 558"/>
                <a:gd name="T67" fmla="*/ 975 h 592"/>
                <a:gd name="T68" fmla="*/ 741 w 558"/>
                <a:gd name="T69" fmla="*/ 1019 h 592"/>
                <a:gd name="T70" fmla="*/ 775 w 558"/>
                <a:gd name="T71" fmla="*/ 1143 h 592"/>
                <a:gd name="T72" fmla="*/ 844 w 558"/>
                <a:gd name="T73" fmla="*/ 1183 h 592"/>
                <a:gd name="T74" fmla="*/ 866 w 558"/>
                <a:gd name="T75" fmla="*/ 1149 h 592"/>
                <a:gd name="T76" fmla="*/ 922 w 558"/>
                <a:gd name="T77" fmla="*/ 939 h 592"/>
                <a:gd name="T78" fmla="*/ 926 w 558"/>
                <a:gd name="T79" fmla="*/ 765 h 592"/>
                <a:gd name="T80" fmla="*/ 936 w 558"/>
                <a:gd name="T81" fmla="*/ 653 h 592"/>
                <a:gd name="T82" fmla="*/ 932 w 558"/>
                <a:gd name="T83" fmla="*/ 566 h 592"/>
                <a:gd name="T84" fmla="*/ 1080 w 558"/>
                <a:gd name="T85" fmla="*/ 434 h 592"/>
                <a:gd name="T86" fmla="*/ 1062 w 558"/>
                <a:gd name="T87" fmla="*/ 352 h 5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8"/>
                <a:gd name="T133" fmla="*/ 0 h 592"/>
                <a:gd name="T134" fmla="*/ 558 w 558"/>
                <a:gd name="T135" fmla="*/ 592 h 5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8" h="592">
                  <a:moveTo>
                    <a:pt x="530" y="176"/>
                  </a:moveTo>
                  <a:cubicBezTo>
                    <a:pt x="519" y="174"/>
                    <a:pt x="519" y="174"/>
                    <a:pt x="519" y="174"/>
                  </a:cubicBezTo>
                  <a:cubicBezTo>
                    <a:pt x="519" y="162"/>
                    <a:pt x="519" y="162"/>
                    <a:pt x="519" y="162"/>
                  </a:cubicBezTo>
                  <a:cubicBezTo>
                    <a:pt x="519" y="162"/>
                    <a:pt x="513" y="158"/>
                    <a:pt x="513" y="155"/>
                  </a:cubicBezTo>
                  <a:cubicBezTo>
                    <a:pt x="513" y="153"/>
                    <a:pt x="510" y="148"/>
                    <a:pt x="510" y="148"/>
                  </a:cubicBezTo>
                  <a:cubicBezTo>
                    <a:pt x="509" y="132"/>
                    <a:pt x="509" y="132"/>
                    <a:pt x="509" y="132"/>
                  </a:cubicBezTo>
                  <a:cubicBezTo>
                    <a:pt x="516" y="130"/>
                    <a:pt x="516" y="130"/>
                    <a:pt x="516" y="130"/>
                  </a:cubicBezTo>
                  <a:cubicBezTo>
                    <a:pt x="522" y="136"/>
                    <a:pt x="522" y="136"/>
                    <a:pt x="522" y="136"/>
                  </a:cubicBezTo>
                  <a:cubicBezTo>
                    <a:pt x="532" y="130"/>
                    <a:pt x="532" y="130"/>
                    <a:pt x="532" y="130"/>
                  </a:cubicBezTo>
                  <a:cubicBezTo>
                    <a:pt x="533" y="122"/>
                    <a:pt x="533" y="122"/>
                    <a:pt x="533" y="122"/>
                  </a:cubicBezTo>
                  <a:cubicBezTo>
                    <a:pt x="528" y="116"/>
                    <a:pt x="528" y="116"/>
                    <a:pt x="528" y="116"/>
                  </a:cubicBezTo>
                  <a:cubicBezTo>
                    <a:pt x="537" y="111"/>
                    <a:pt x="537" y="111"/>
                    <a:pt x="537" y="111"/>
                  </a:cubicBezTo>
                  <a:cubicBezTo>
                    <a:pt x="540" y="100"/>
                    <a:pt x="540" y="100"/>
                    <a:pt x="540" y="100"/>
                  </a:cubicBezTo>
                  <a:cubicBezTo>
                    <a:pt x="530" y="91"/>
                    <a:pt x="530" y="91"/>
                    <a:pt x="530" y="91"/>
                  </a:cubicBezTo>
                  <a:cubicBezTo>
                    <a:pt x="522" y="87"/>
                    <a:pt x="522" y="87"/>
                    <a:pt x="522" y="87"/>
                  </a:cubicBezTo>
                  <a:cubicBezTo>
                    <a:pt x="521" y="79"/>
                    <a:pt x="521" y="79"/>
                    <a:pt x="521" y="79"/>
                  </a:cubicBezTo>
                  <a:cubicBezTo>
                    <a:pt x="516" y="73"/>
                    <a:pt x="516" y="73"/>
                    <a:pt x="516" y="73"/>
                  </a:cubicBezTo>
                  <a:cubicBezTo>
                    <a:pt x="521" y="69"/>
                    <a:pt x="521" y="69"/>
                    <a:pt x="521" y="69"/>
                  </a:cubicBezTo>
                  <a:cubicBezTo>
                    <a:pt x="517" y="65"/>
                    <a:pt x="517" y="65"/>
                    <a:pt x="517" y="65"/>
                  </a:cubicBezTo>
                  <a:cubicBezTo>
                    <a:pt x="521" y="60"/>
                    <a:pt x="521" y="60"/>
                    <a:pt x="521" y="60"/>
                  </a:cubicBezTo>
                  <a:cubicBezTo>
                    <a:pt x="521" y="60"/>
                    <a:pt x="521" y="59"/>
                    <a:pt x="521" y="59"/>
                  </a:cubicBezTo>
                  <a:cubicBezTo>
                    <a:pt x="521" y="55"/>
                    <a:pt x="509" y="55"/>
                    <a:pt x="509" y="55"/>
                  </a:cubicBezTo>
                  <a:cubicBezTo>
                    <a:pt x="509" y="49"/>
                    <a:pt x="509" y="49"/>
                    <a:pt x="509" y="49"/>
                  </a:cubicBezTo>
                  <a:cubicBezTo>
                    <a:pt x="502" y="40"/>
                    <a:pt x="502" y="40"/>
                    <a:pt x="502" y="40"/>
                  </a:cubicBezTo>
                  <a:cubicBezTo>
                    <a:pt x="505" y="34"/>
                    <a:pt x="505" y="34"/>
                    <a:pt x="505" y="34"/>
                  </a:cubicBezTo>
                  <a:cubicBezTo>
                    <a:pt x="503" y="30"/>
                    <a:pt x="503" y="30"/>
                    <a:pt x="503" y="30"/>
                  </a:cubicBezTo>
                  <a:cubicBezTo>
                    <a:pt x="494" y="33"/>
                    <a:pt x="494" y="33"/>
                    <a:pt x="494" y="33"/>
                  </a:cubicBezTo>
                  <a:cubicBezTo>
                    <a:pt x="494" y="33"/>
                    <a:pt x="492" y="20"/>
                    <a:pt x="492" y="19"/>
                  </a:cubicBezTo>
                  <a:cubicBezTo>
                    <a:pt x="492" y="17"/>
                    <a:pt x="481" y="27"/>
                    <a:pt x="481" y="27"/>
                  </a:cubicBezTo>
                  <a:cubicBezTo>
                    <a:pt x="481" y="27"/>
                    <a:pt x="460" y="14"/>
                    <a:pt x="454" y="12"/>
                  </a:cubicBezTo>
                  <a:cubicBezTo>
                    <a:pt x="449" y="10"/>
                    <a:pt x="439" y="0"/>
                    <a:pt x="439" y="0"/>
                  </a:cubicBezTo>
                  <a:cubicBezTo>
                    <a:pt x="439" y="0"/>
                    <a:pt x="419" y="8"/>
                    <a:pt x="419" y="8"/>
                  </a:cubicBezTo>
                  <a:cubicBezTo>
                    <a:pt x="419" y="9"/>
                    <a:pt x="418" y="17"/>
                    <a:pt x="418" y="17"/>
                  </a:cubicBezTo>
                  <a:cubicBezTo>
                    <a:pt x="408" y="19"/>
                    <a:pt x="408" y="19"/>
                    <a:pt x="408" y="19"/>
                  </a:cubicBezTo>
                  <a:cubicBezTo>
                    <a:pt x="408" y="19"/>
                    <a:pt x="409" y="26"/>
                    <a:pt x="409" y="27"/>
                  </a:cubicBezTo>
                  <a:cubicBezTo>
                    <a:pt x="409" y="28"/>
                    <a:pt x="402" y="32"/>
                    <a:pt x="395" y="34"/>
                  </a:cubicBezTo>
                  <a:cubicBezTo>
                    <a:pt x="387" y="37"/>
                    <a:pt x="387" y="34"/>
                    <a:pt x="387" y="34"/>
                  </a:cubicBezTo>
                  <a:cubicBezTo>
                    <a:pt x="387" y="34"/>
                    <a:pt x="385" y="37"/>
                    <a:pt x="383" y="41"/>
                  </a:cubicBezTo>
                  <a:cubicBezTo>
                    <a:pt x="382" y="46"/>
                    <a:pt x="368" y="58"/>
                    <a:pt x="362" y="60"/>
                  </a:cubicBezTo>
                  <a:cubicBezTo>
                    <a:pt x="355" y="63"/>
                    <a:pt x="351" y="49"/>
                    <a:pt x="347" y="38"/>
                  </a:cubicBezTo>
                  <a:cubicBezTo>
                    <a:pt x="345" y="31"/>
                    <a:pt x="336" y="29"/>
                    <a:pt x="327" y="28"/>
                  </a:cubicBezTo>
                  <a:cubicBezTo>
                    <a:pt x="324" y="30"/>
                    <a:pt x="321" y="32"/>
                    <a:pt x="319" y="33"/>
                  </a:cubicBezTo>
                  <a:cubicBezTo>
                    <a:pt x="312" y="38"/>
                    <a:pt x="292" y="43"/>
                    <a:pt x="292" y="43"/>
                  </a:cubicBezTo>
                  <a:cubicBezTo>
                    <a:pt x="267" y="45"/>
                    <a:pt x="267" y="45"/>
                    <a:pt x="267" y="45"/>
                  </a:cubicBezTo>
                  <a:cubicBezTo>
                    <a:pt x="267" y="45"/>
                    <a:pt x="239" y="62"/>
                    <a:pt x="230" y="63"/>
                  </a:cubicBezTo>
                  <a:cubicBezTo>
                    <a:pt x="221" y="64"/>
                    <a:pt x="219" y="53"/>
                    <a:pt x="219" y="53"/>
                  </a:cubicBezTo>
                  <a:cubicBezTo>
                    <a:pt x="209" y="56"/>
                    <a:pt x="209" y="56"/>
                    <a:pt x="209" y="56"/>
                  </a:cubicBezTo>
                  <a:cubicBezTo>
                    <a:pt x="190" y="44"/>
                    <a:pt x="190" y="44"/>
                    <a:pt x="190" y="44"/>
                  </a:cubicBezTo>
                  <a:cubicBezTo>
                    <a:pt x="190" y="44"/>
                    <a:pt x="173" y="59"/>
                    <a:pt x="169" y="65"/>
                  </a:cubicBezTo>
                  <a:cubicBezTo>
                    <a:pt x="165" y="71"/>
                    <a:pt x="176" y="76"/>
                    <a:pt x="178" y="84"/>
                  </a:cubicBezTo>
                  <a:cubicBezTo>
                    <a:pt x="180" y="92"/>
                    <a:pt x="171" y="110"/>
                    <a:pt x="171" y="112"/>
                  </a:cubicBezTo>
                  <a:cubicBezTo>
                    <a:pt x="171" y="114"/>
                    <a:pt x="160" y="114"/>
                    <a:pt x="160" y="114"/>
                  </a:cubicBezTo>
                  <a:cubicBezTo>
                    <a:pt x="160" y="114"/>
                    <a:pt x="151" y="127"/>
                    <a:pt x="151" y="128"/>
                  </a:cubicBezTo>
                  <a:cubicBezTo>
                    <a:pt x="150" y="130"/>
                    <a:pt x="138" y="123"/>
                    <a:pt x="138" y="123"/>
                  </a:cubicBezTo>
                  <a:cubicBezTo>
                    <a:pt x="136" y="130"/>
                    <a:pt x="136" y="130"/>
                    <a:pt x="136" y="130"/>
                  </a:cubicBezTo>
                  <a:cubicBezTo>
                    <a:pt x="124" y="127"/>
                    <a:pt x="124" y="127"/>
                    <a:pt x="124" y="127"/>
                  </a:cubicBezTo>
                  <a:cubicBezTo>
                    <a:pt x="124" y="127"/>
                    <a:pt x="118" y="142"/>
                    <a:pt x="105" y="145"/>
                  </a:cubicBezTo>
                  <a:cubicBezTo>
                    <a:pt x="92" y="148"/>
                    <a:pt x="92" y="138"/>
                    <a:pt x="82" y="137"/>
                  </a:cubicBezTo>
                  <a:cubicBezTo>
                    <a:pt x="72" y="136"/>
                    <a:pt x="73" y="120"/>
                    <a:pt x="73" y="113"/>
                  </a:cubicBezTo>
                  <a:cubicBezTo>
                    <a:pt x="73" y="107"/>
                    <a:pt x="65" y="99"/>
                    <a:pt x="65" y="99"/>
                  </a:cubicBezTo>
                  <a:cubicBezTo>
                    <a:pt x="59" y="102"/>
                    <a:pt x="59" y="102"/>
                    <a:pt x="59" y="102"/>
                  </a:cubicBezTo>
                  <a:cubicBezTo>
                    <a:pt x="61" y="106"/>
                    <a:pt x="61" y="106"/>
                    <a:pt x="61" y="106"/>
                  </a:cubicBezTo>
                  <a:cubicBezTo>
                    <a:pt x="61" y="106"/>
                    <a:pt x="38" y="126"/>
                    <a:pt x="32" y="126"/>
                  </a:cubicBezTo>
                  <a:cubicBezTo>
                    <a:pt x="26" y="126"/>
                    <a:pt x="23" y="126"/>
                    <a:pt x="23" y="126"/>
                  </a:cubicBezTo>
                  <a:cubicBezTo>
                    <a:pt x="20" y="145"/>
                    <a:pt x="20" y="145"/>
                    <a:pt x="20" y="145"/>
                  </a:cubicBezTo>
                  <a:cubicBezTo>
                    <a:pt x="0" y="167"/>
                    <a:pt x="0" y="167"/>
                    <a:pt x="0" y="167"/>
                  </a:cubicBezTo>
                  <a:cubicBezTo>
                    <a:pt x="0" y="167"/>
                    <a:pt x="1" y="183"/>
                    <a:pt x="10" y="183"/>
                  </a:cubicBezTo>
                  <a:cubicBezTo>
                    <a:pt x="20" y="184"/>
                    <a:pt x="30" y="187"/>
                    <a:pt x="30" y="187"/>
                  </a:cubicBezTo>
                  <a:cubicBezTo>
                    <a:pt x="19" y="198"/>
                    <a:pt x="19" y="198"/>
                    <a:pt x="19" y="198"/>
                  </a:cubicBezTo>
                  <a:cubicBezTo>
                    <a:pt x="29" y="204"/>
                    <a:pt x="29" y="204"/>
                    <a:pt x="29" y="204"/>
                  </a:cubicBezTo>
                  <a:cubicBezTo>
                    <a:pt x="17" y="210"/>
                    <a:pt x="17" y="210"/>
                    <a:pt x="17" y="210"/>
                  </a:cubicBezTo>
                  <a:cubicBezTo>
                    <a:pt x="15" y="226"/>
                    <a:pt x="15" y="226"/>
                    <a:pt x="15" y="226"/>
                  </a:cubicBezTo>
                  <a:cubicBezTo>
                    <a:pt x="15" y="226"/>
                    <a:pt x="30" y="233"/>
                    <a:pt x="27" y="241"/>
                  </a:cubicBezTo>
                  <a:cubicBezTo>
                    <a:pt x="25" y="250"/>
                    <a:pt x="14" y="265"/>
                    <a:pt x="15" y="265"/>
                  </a:cubicBezTo>
                  <a:cubicBezTo>
                    <a:pt x="17" y="265"/>
                    <a:pt x="31" y="268"/>
                    <a:pt x="31" y="268"/>
                  </a:cubicBezTo>
                  <a:cubicBezTo>
                    <a:pt x="19" y="276"/>
                    <a:pt x="19" y="276"/>
                    <a:pt x="19" y="276"/>
                  </a:cubicBezTo>
                  <a:cubicBezTo>
                    <a:pt x="37" y="291"/>
                    <a:pt x="37" y="291"/>
                    <a:pt x="37" y="291"/>
                  </a:cubicBezTo>
                  <a:cubicBezTo>
                    <a:pt x="37" y="291"/>
                    <a:pt x="29" y="307"/>
                    <a:pt x="26" y="317"/>
                  </a:cubicBezTo>
                  <a:cubicBezTo>
                    <a:pt x="23" y="327"/>
                    <a:pt x="21" y="330"/>
                    <a:pt x="21" y="330"/>
                  </a:cubicBezTo>
                  <a:cubicBezTo>
                    <a:pt x="46" y="355"/>
                    <a:pt x="46" y="355"/>
                    <a:pt x="46" y="355"/>
                  </a:cubicBezTo>
                  <a:cubicBezTo>
                    <a:pt x="37" y="361"/>
                    <a:pt x="37" y="361"/>
                    <a:pt x="37" y="361"/>
                  </a:cubicBezTo>
                  <a:cubicBezTo>
                    <a:pt x="36" y="387"/>
                    <a:pt x="36" y="387"/>
                    <a:pt x="36" y="387"/>
                  </a:cubicBezTo>
                  <a:cubicBezTo>
                    <a:pt x="44" y="393"/>
                    <a:pt x="44" y="393"/>
                    <a:pt x="44" y="393"/>
                  </a:cubicBezTo>
                  <a:cubicBezTo>
                    <a:pt x="44" y="393"/>
                    <a:pt x="32" y="400"/>
                    <a:pt x="32" y="401"/>
                  </a:cubicBezTo>
                  <a:cubicBezTo>
                    <a:pt x="32" y="402"/>
                    <a:pt x="35" y="409"/>
                    <a:pt x="35" y="409"/>
                  </a:cubicBezTo>
                  <a:cubicBezTo>
                    <a:pt x="35" y="409"/>
                    <a:pt x="55" y="390"/>
                    <a:pt x="61" y="390"/>
                  </a:cubicBezTo>
                  <a:cubicBezTo>
                    <a:pt x="67" y="389"/>
                    <a:pt x="93" y="378"/>
                    <a:pt x="99" y="372"/>
                  </a:cubicBezTo>
                  <a:cubicBezTo>
                    <a:pt x="104" y="366"/>
                    <a:pt x="128" y="351"/>
                    <a:pt x="128" y="351"/>
                  </a:cubicBezTo>
                  <a:cubicBezTo>
                    <a:pt x="128" y="351"/>
                    <a:pt x="168" y="338"/>
                    <a:pt x="169" y="350"/>
                  </a:cubicBezTo>
                  <a:cubicBezTo>
                    <a:pt x="169" y="363"/>
                    <a:pt x="164" y="366"/>
                    <a:pt x="164" y="366"/>
                  </a:cubicBezTo>
                  <a:cubicBezTo>
                    <a:pt x="192" y="379"/>
                    <a:pt x="192" y="379"/>
                    <a:pt x="192" y="379"/>
                  </a:cubicBezTo>
                  <a:cubicBezTo>
                    <a:pt x="192" y="379"/>
                    <a:pt x="200" y="370"/>
                    <a:pt x="211" y="372"/>
                  </a:cubicBezTo>
                  <a:cubicBezTo>
                    <a:pt x="222" y="374"/>
                    <a:pt x="256" y="400"/>
                    <a:pt x="256" y="400"/>
                  </a:cubicBezTo>
                  <a:cubicBezTo>
                    <a:pt x="256" y="400"/>
                    <a:pt x="281" y="406"/>
                    <a:pt x="282" y="404"/>
                  </a:cubicBezTo>
                  <a:cubicBezTo>
                    <a:pt x="283" y="403"/>
                    <a:pt x="287" y="397"/>
                    <a:pt x="287" y="397"/>
                  </a:cubicBezTo>
                  <a:cubicBezTo>
                    <a:pt x="321" y="423"/>
                    <a:pt x="321" y="423"/>
                    <a:pt x="321" y="423"/>
                  </a:cubicBezTo>
                  <a:cubicBezTo>
                    <a:pt x="321" y="436"/>
                    <a:pt x="321" y="436"/>
                    <a:pt x="321" y="436"/>
                  </a:cubicBezTo>
                  <a:cubicBezTo>
                    <a:pt x="338" y="436"/>
                    <a:pt x="338" y="436"/>
                    <a:pt x="338" y="436"/>
                  </a:cubicBezTo>
                  <a:cubicBezTo>
                    <a:pt x="338" y="436"/>
                    <a:pt x="341" y="427"/>
                    <a:pt x="349" y="430"/>
                  </a:cubicBezTo>
                  <a:cubicBezTo>
                    <a:pt x="357" y="432"/>
                    <a:pt x="410" y="452"/>
                    <a:pt x="407" y="461"/>
                  </a:cubicBezTo>
                  <a:cubicBezTo>
                    <a:pt x="405" y="470"/>
                    <a:pt x="392" y="487"/>
                    <a:pt x="392" y="487"/>
                  </a:cubicBezTo>
                  <a:cubicBezTo>
                    <a:pt x="385" y="487"/>
                    <a:pt x="385" y="487"/>
                    <a:pt x="385" y="487"/>
                  </a:cubicBezTo>
                  <a:cubicBezTo>
                    <a:pt x="380" y="498"/>
                    <a:pt x="380" y="498"/>
                    <a:pt x="380" y="498"/>
                  </a:cubicBezTo>
                  <a:cubicBezTo>
                    <a:pt x="388" y="508"/>
                    <a:pt x="388" y="508"/>
                    <a:pt x="388" y="508"/>
                  </a:cubicBezTo>
                  <a:cubicBezTo>
                    <a:pt x="370" y="509"/>
                    <a:pt x="370" y="509"/>
                    <a:pt x="370" y="509"/>
                  </a:cubicBezTo>
                  <a:cubicBezTo>
                    <a:pt x="364" y="535"/>
                    <a:pt x="364" y="535"/>
                    <a:pt x="364" y="535"/>
                  </a:cubicBezTo>
                  <a:cubicBezTo>
                    <a:pt x="392" y="562"/>
                    <a:pt x="392" y="562"/>
                    <a:pt x="392" y="562"/>
                  </a:cubicBezTo>
                  <a:cubicBezTo>
                    <a:pt x="387" y="571"/>
                    <a:pt x="387" y="571"/>
                    <a:pt x="387" y="571"/>
                  </a:cubicBezTo>
                  <a:cubicBezTo>
                    <a:pt x="417" y="589"/>
                    <a:pt x="417" y="589"/>
                    <a:pt x="417" y="589"/>
                  </a:cubicBezTo>
                  <a:cubicBezTo>
                    <a:pt x="417" y="589"/>
                    <a:pt x="417" y="589"/>
                    <a:pt x="417" y="589"/>
                  </a:cubicBezTo>
                  <a:cubicBezTo>
                    <a:pt x="421" y="591"/>
                    <a:pt x="421" y="591"/>
                    <a:pt x="421" y="591"/>
                  </a:cubicBezTo>
                  <a:cubicBezTo>
                    <a:pt x="421" y="592"/>
                    <a:pt x="421" y="592"/>
                    <a:pt x="421" y="592"/>
                  </a:cubicBezTo>
                  <a:cubicBezTo>
                    <a:pt x="421" y="592"/>
                    <a:pt x="422" y="592"/>
                    <a:pt x="423" y="592"/>
                  </a:cubicBezTo>
                  <a:cubicBezTo>
                    <a:pt x="424" y="589"/>
                    <a:pt x="427" y="581"/>
                    <a:pt x="432" y="574"/>
                  </a:cubicBezTo>
                  <a:cubicBezTo>
                    <a:pt x="438" y="566"/>
                    <a:pt x="453" y="555"/>
                    <a:pt x="453" y="555"/>
                  </a:cubicBezTo>
                  <a:cubicBezTo>
                    <a:pt x="453" y="555"/>
                    <a:pt x="445" y="530"/>
                    <a:pt x="446" y="530"/>
                  </a:cubicBezTo>
                  <a:cubicBezTo>
                    <a:pt x="447" y="530"/>
                    <a:pt x="460" y="475"/>
                    <a:pt x="460" y="469"/>
                  </a:cubicBezTo>
                  <a:cubicBezTo>
                    <a:pt x="461" y="463"/>
                    <a:pt x="471" y="440"/>
                    <a:pt x="471" y="440"/>
                  </a:cubicBezTo>
                  <a:cubicBezTo>
                    <a:pt x="464" y="432"/>
                    <a:pt x="464" y="432"/>
                    <a:pt x="464" y="432"/>
                  </a:cubicBezTo>
                  <a:cubicBezTo>
                    <a:pt x="464" y="432"/>
                    <a:pt x="461" y="382"/>
                    <a:pt x="462" y="382"/>
                  </a:cubicBezTo>
                  <a:cubicBezTo>
                    <a:pt x="463" y="381"/>
                    <a:pt x="456" y="377"/>
                    <a:pt x="456" y="372"/>
                  </a:cubicBezTo>
                  <a:cubicBezTo>
                    <a:pt x="456" y="366"/>
                    <a:pt x="460" y="364"/>
                    <a:pt x="460" y="364"/>
                  </a:cubicBezTo>
                  <a:cubicBezTo>
                    <a:pt x="467" y="326"/>
                    <a:pt x="467" y="326"/>
                    <a:pt x="467" y="326"/>
                  </a:cubicBezTo>
                  <a:cubicBezTo>
                    <a:pt x="461" y="316"/>
                    <a:pt x="461" y="316"/>
                    <a:pt x="461" y="316"/>
                  </a:cubicBezTo>
                  <a:cubicBezTo>
                    <a:pt x="469" y="309"/>
                    <a:pt x="469" y="309"/>
                    <a:pt x="469" y="309"/>
                  </a:cubicBezTo>
                  <a:cubicBezTo>
                    <a:pt x="465" y="283"/>
                    <a:pt x="465" y="283"/>
                    <a:pt x="465" y="283"/>
                  </a:cubicBezTo>
                  <a:cubicBezTo>
                    <a:pt x="485" y="266"/>
                    <a:pt x="485" y="266"/>
                    <a:pt x="485" y="266"/>
                  </a:cubicBezTo>
                  <a:cubicBezTo>
                    <a:pt x="496" y="271"/>
                    <a:pt x="496" y="271"/>
                    <a:pt x="496" y="271"/>
                  </a:cubicBezTo>
                  <a:cubicBezTo>
                    <a:pt x="496" y="271"/>
                    <a:pt x="526" y="242"/>
                    <a:pt x="539" y="217"/>
                  </a:cubicBezTo>
                  <a:cubicBezTo>
                    <a:pt x="544" y="209"/>
                    <a:pt x="551" y="197"/>
                    <a:pt x="558" y="185"/>
                  </a:cubicBezTo>
                  <a:cubicBezTo>
                    <a:pt x="535" y="184"/>
                    <a:pt x="535" y="184"/>
                    <a:pt x="535" y="184"/>
                  </a:cubicBezTo>
                  <a:lnTo>
                    <a:pt x="530" y="17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13" name="Freeform 325">
              <a:extLst>
                <a:ext uri="{FF2B5EF4-FFF2-40B4-BE49-F238E27FC236}">
                  <a16:creationId xmlns:a16="http://schemas.microsoft.com/office/drawing/2014/main" id="{80201670-D658-478D-A782-D6229ACBB9C8}"/>
                </a:ext>
              </a:extLst>
            </p:cNvPr>
            <p:cNvSpPr>
              <a:spLocks noChangeAspect="1"/>
            </p:cNvSpPr>
            <p:nvPr/>
          </p:nvSpPr>
          <p:spPr bwMode="auto">
            <a:xfrm>
              <a:off x="11527" y="1760"/>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14" name="Freeform 323">
              <a:extLst>
                <a:ext uri="{FF2B5EF4-FFF2-40B4-BE49-F238E27FC236}">
                  <a16:creationId xmlns:a16="http://schemas.microsoft.com/office/drawing/2014/main" id="{43E9EA0B-7374-4C77-9018-C90047251775}"/>
                </a:ext>
              </a:extLst>
            </p:cNvPr>
            <p:cNvSpPr>
              <a:spLocks noChangeAspect="1"/>
            </p:cNvSpPr>
            <p:nvPr/>
          </p:nvSpPr>
          <p:spPr bwMode="auto">
            <a:xfrm>
              <a:off x="11848" y="564"/>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grpSp>
      <p:grpSp>
        <p:nvGrpSpPr>
          <p:cNvPr id="115" name="Group 345">
            <a:extLst>
              <a:ext uri="{FF2B5EF4-FFF2-40B4-BE49-F238E27FC236}">
                <a16:creationId xmlns:a16="http://schemas.microsoft.com/office/drawing/2014/main" id="{EDDE6EB5-CC5C-418D-B95F-4694589EEDFF}"/>
              </a:ext>
            </a:extLst>
          </p:cNvPr>
          <p:cNvGrpSpPr>
            <a:grpSpLocks noChangeAspect="1"/>
          </p:cNvGrpSpPr>
          <p:nvPr/>
        </p:nvGrpSpPr>
        <p:grpSpPr bwMode="auto">
          <a:xfrm>
            <a:off x="7238320" y="1656140"/>
            <a:ext cx="1392425" cy="1597569"/>
            <a:chOff x="10105" y="200"/>
            <a:chExt cx="4730" cy="4710"/>
          </a:xfrm>
          <a:solidFill>
            <a:schemeClr val="bg1">
              <a:lumMod val="75000"/>
            </a:schemeClr>
          </a:solidFill>
        </p:grpSpPr>
        <p:sp>
          <p:nvSpPr>
            <p:cNvPr id="116" name="Freeform 318">
              <a:extLst>
                <a:ext uri="{FF2B5EF4-FFF2-40B4-BE49-F238E27FC236}">
                  <a16:creationId xmlns:a16="http://schemas.microsoft.com/office/drawing/2014/main" id="{6BF81289-F177-46FD-962C-66FABF9614F7}"/>
                </a:ext>
              </a:extLst>
            </p:cNvPr>
            <p:cNvSpPr>
              <a:spLocks noChangeAspect="1"/>
            </p:cNvSpPr>
            <p:nvPr/>
          </p:nvSpPr>
          <p:spPr bwMode="auto">
            <a:xfrm>
              <a:off x="10105" y="1698"/>
              <a:ext cx="878" cy="494"/>
            </a:xfrm>
            <a:custGeom>
              <a:avLst/>
              <a:gdLst/>
              <a:ahLst/>
              <a:cxnLst>
                <a:cxn ang="0">
                  <a:pos x="364" y="133"/>
                </a:cxn>
                <a:cxn ang="0">
                  <a:pos x="353" y="134"/>
                </a:cxn>
                <a:cxn ang="0">
                  <a:pos x="296" y="101"/>
                </a:cxn>
                <a:cxn ang="0">
                  <a:pos x="216" y="58"/>
                </a:cxn>
                <a:cxn ang="0">
                  <a:pos x="87" y="31"/>
                </a:cxn>
                <a:cxn ang="0">
                  <a:pos x="13" y="0"/>
                </a:cxn>
                <a:cxn ang="0">
                  <a:pos x="15" y="9"/>
                </a:cxn>
                <a:cxn ang="0">
                  <a:pos x="2" y="14"/>
                </a:cxn>
                <a:cxn ang="0">
                  <a:pos x="0" y="25"/>
                </a:cxn>
                <a:cxn ang="0">
                  <a:pos x="18" y="39"/>
                </a:cxn>
                <a:cxn ang="0">
                  <a:pos x="10" y="47"/>
                </a:cxn>
                <a:cxn ang="0">
                  <a:pos x="21" y="55"/>
                </a:cxn>
                <a:cxn ang="0">
                  <a:pos x="23" y="66"/>
                </a:cxn>
                <a:cxn ang="0">
                  <a:pos x="39" y="81"/>
                </a:cxn>
                <a:cxn ang="0">
                  <a:pos x="40" y="92"/>
                </a:cxn>
                <a:cxn ang="0">
                  <a:pos x="51" y="97"/>
                </a:cxn>
                <a:cxn ang="0">
                  <a:pos x="65" y="117"/>
                </a:cxn>
                <a:cxn ang="0">
                  <a:pos x="48" y="137"/>
                </a:cxn>
                <a:cxn ang="0">
                  <a:pos x="99" y="145"/>
                </a:cxn>
                <a:cxn ang="0">
                  <a:pos x="108" y="173"/>
                </a:cxn>
                <a:cxn ang="0">
                  <a:pos x="163" y="173"/>
                </a:cxn>
                <a:cxn ang="0">
                  <a:pos x="206" y="140"/>
                </a:cxn>
                <a:cxn ang="0">
                  <a:pos x="206" y="151"/>
                </a:cxn>
                <a:cxn ang="0">
                  <a:pos x="208" y="158"/>
                </a:cxn>
                <a:cxn ang="0">
                  <a:pos x="202" y="165"/>
                </a:cxn>
                <a:cxn ang="0">
                  <a:pos x="200" y="233"/>
                </a:cxn>
                <a:cxn ang="0">
                  <a:pos x="207" y="228"/>
                </a:cxn>
                <a:cxn ang="0">
                  <a:pos x="218" y="238"/>
                </a:cxn>
                <a:cxn ang="0">
                  <a:pos x="242" y="229"/>
                </a:cxn>
                <a:cxn ang="0">
                  <a:pos x="276" y="229"/>
                </a:cxn>
                <a:cxn ang="0">
                  <a:pos x="313" y="233"/>
                </a:cxn>
                <a:cxn ang="0">
                  <a:pos x="320" y="247"/>
                </a:cxn>
                <a:cxn ang="0">
                  <a:pos x="345" y="232"/>
                </a:cxn>
                <a:cxn ang="0">
                  <a:pos x="355" y="214"/>
                </a:cxn>
                <a:cxn ang="0">
                  <a:pos x="373" y="216"/>
                </a:cxn>
                <a:cxn ang="0">
                  <a:pos x="398" y="196"/>
                </a:cxn>
                <a:cxn ang="0">
                  <a:pos x="419" y="192"/>
                </a:cxn>
                <a:cxn ang="0">
                  <a:pos x="439" y="170"/>
                </a:cxn>
                <a:cxn ang="0">
                  <a:pos x="439" y="170"/>
                </a:cxn>
                <a:cxn ang="0">
                  <a:pos x="433" y="163"/>
                </a:cxn>
                <a:cxn ang="0">
                  <a:pos x="364" y="133"/>
                </a:cxn>
              </a:cxnLst>
              <a:rect l="0" t="0" r="r" b="b"/>
              <a:pathLst>
                <a:path w="439" h="247">
                  <a:moveTo>
                    <a:pt x="364" y="133"/>
                  </a:moveTo>
                  <a:cubicBezTo>
                    <a:pt x="364" y="133"/>
                    <a:pt x="355" y="134"/>
                    <a:pt x="353" y="134"/>
                  </a:cubicBezTo>
                  <a:cubicBezTo>
                    <a:pt x="352" y="134"/>
                    <a:pt x="312" y="108"/>
                    <a:pt x="296" y="101"/>
                  </a:cubicBezTo>
                  <a:cubicBezTo>
                    <a:pt x="280" y="94"/>
                    <a:pt x="216" y="58"/>
                    <a:pt x="216" y="58"/>
                  </a:cubicBezTo>
                  <a:cubicBezTo>
                    <a:pt x="216" y="58"/>
                    <a:pt x="104" y="34"/>
                    <a:pt x="87" y="31"/>
                  </a:cubicBezTo>
                  <a:cubicBezTo>
                    <a:pt x="74" y="29"/>
                    <a:pt x="32" y="9"/>
                    <a:pt x="13" y="0"/>
                  </a:cubicBezTo>
                  <a:cubicBezTo>
                    <a:pt x="14" y="4"/>
                    <a:pt x="15" y="8"/>
                    <a:pt x="15" y="9"/>
                  </a:cubicBezTo>
                  <a:cubicBezTo>
                    <a:pt x="2" y="14"/>
                    <a:pt x="2" y="14"/>
                    <a:pt x="2" y="14"/>
                  </a:cubicBezTo>
                  <a:cubicBezTo>
                    <a:pt x="2" y="14"/>
                    <a:pt x="0" y="19"/>
                    <a:pt x="0" y="25"/>
                  </a:cubicBezTo>
                  <a:cubicBezTo>
                    <a:pt x="0" y="32"/>
                    <a:pt x="18" y="39"/>
                    <a:pt x="18" y="39"/>
                  </a:cubicBezTo>
                  <a:cubicBezTo>
                    <a:pt x="18" y="39"/>
                    <a:pt x="11" y="46"/>
                    <a:pt x="10" y="47"/>
                  </a:cubicBezTo>
                  <a:cubicBezTo>
                    <a:pt x="10" y="48"/>
                    <a:pt x="21" y="55"/>
                    <a:pt x="21" y="55"/>
                  </a:cubicBezTo>
                  <a:cubicBezTo>
                    <a:pt x="21" y="55"/>
                    <a:pt x="20" y="57"/>
                    <a:pt x="23" y="66"/>
                  </a:cubicBezTo>
                  <a:cubicBezTo>
                    <a:pt x="25" y="76"/>
                    <a:pt x="39" y="81"/>
                    <a:pt x="39" y="81"/>
                  </a:cubicBezTo>
                  <a:cubicBezTo>
                    <a:pt x="40" y="92"/>
                    <a:pt x="40" y="92"/>
                    <a:pt x="40" y="92"/>
                  </a:cubicBezTo>
                  <a:cubicBezTo>
                    <a:pt x="51" y="97"/>
                    <a:pt x="51" y="97"/>
                    <a:pt x="51" y="97"/>
                  </a:cubicBezTo>
                  <a:cubicBezTo>
                    <a:pt x="65" y="117"/>
                    <a:pt x="65" y="117"/>
                    <a:pt x="65" y="117"/>
                  </a:cubicBezTo>
                  <a:cubicBezTo>
                    <a:pt x="48" y="137"/>
                    <a:pt x="48" y="137"/>
                    <a:pt x="48" y="137"/>
                  </a:cubicBezTo>
                  <a:cubicBezTo>
                    <a:pt x="48" y="137"/>
                    <a:pt x="86" y="141"/>
                    <a:pt x="99" y="145"/>
                  </a:cubicBezTo>
                  <a:cubicBezTo>
                    <a:pt x="112" y="149"/>
                    <a:pt x="108" y="173"/>
                    <a:pt x="108" y="173"/>
                  </a:cubicBezTo>
                  <a:cubicBezTo>
                    <a:pt x="163" y="173"/>
                    <a:pt x="163" y="173"/>
                    <a:pt x="163" y="173"/>
                  </a:cubicBezTo>
                  <a:cubicBezTo>
                    <a:pt x="206" y="140"/>
                    <a:pt x="206" y="140"/>
                    <a:pt x="206" y="140"/>
                  </a:cubicBezTo>
                  <a:cubicBezTo>
                    <a:pt x="206" y="151"/>
                    <a:pt x="206" y="151"/>
                    <a:pt x="206" y="151"/>
                  </a:cubicBezTo>
                  <a:cubicBezTo>
                    <a:pt x="208" y="158"/>
                    <a:pt x="208" y="158"/>
                    <a:pt x="208" y="158"/>
                  </a:cubicBezTo>
                  <a:cubicBezTo>
                    <a:pt x="202" y="165"/>
                    <a:pt x="202" y="165"/>
                    <a:pt x="202" y="165"/>
                  </a:cubicBezTo>
                  <a:cubicBezTo>
                    <a:pt x="200" y="233"/>
                    <a:pt x="200" y="233"/>
                    <a:pt x="200" y="233"/>
                  </a:cubicBezTo>
                  <a:cubicBezTo>
                    <a:pt x="207" y="228"/>
                    <a:pt x="207" y="228"/>
                    <a:pt x="207" y="228"/>
                  </a:cubicBezTo>
                  <a:cubicBezTo>
                    <a:pt x="218" y="238"/>
                    <a:pt x="218" y="238"/>
                    <a:pt x="218" y="238"/>
                  </a:cubicBezTo>
                  <a:cubicBezTo>
                    <a:pt x="242" y="229"/>
                    <a:pt x="242" y="229"/>
                    <a:pt x="242" y="229"/>
                  </a:cubicBezTo>
                  <a:cubicBezTo>
                    <a:pt x="242" y="229"/>
                    <a:pt x="270" y="229"/>
                    <a:pt x="276" y="229"/>
                  </a:cubicBezTo>
                  <a:cubicBezTo>
                    <a:pt x="281" y="229"/>
                    <a:pt x="312" y="233"/>
                    <a:pt x="313" y="233"/>
                  </a:cubicBezTo>
                  <a:cubicBezTo>
                    <a:pt x="314" y="232"/>
                    <a:pt x="320" y="247"/>
                    <a:pt x="320" y="247"/>
                  </a:cubicBezTo>
                  <a:cubicBezTo>
                    <a:pt x="320" y="247"/>
                    <a:pt x="327" y="238"/>
                    <a:pt x="345" y="232"/>
                  </a:cubicBezTo>
                  <a:cubicBezTo>
                    <a:pt x="364" y="225"/>
                    <a:pt x="355" y="214"/>
                    <a:pt x="355" y="214"/>
                  </a:cubicBezTo>
                  <a:cubicBezTo>
                    <a:pt x="355" y="214"/>
                    <a:pt x="372" y="215"/>
                    <a:pt x="373" y="216"/>
                  </a:cubicBezTo>
                  <a:cubicBezTo>
                    <a:pt x="374" y="215"/>
                    <a:pt x="390" y="201"/>
                    <a:pt x="398" y="196"/>
                  </a:cubicBezTo>
                  <a:cubicBezTo>
                    <a:pt x="407" y="190"/>
                    <a:pt x="419" y="192"/>
                    <a:pt x="419" y="192"/>
                  </a:cubicBezTo>
                  <a:cubicBezTo>
                    <a:pt x="419" y="192"/>
                    <a:pt x="435" y="173"/>
                    <a:pt x="439" y="170"/>
                  </a:cubicBezTo>
                  <a:cubicBezTo>
                    <a:pt x="439" y="170"/>
                    <a:pt x="439" y="170"/>
                    <a:pt x="439" y="170"/>
                  </a:cubicBezTo>
                  <a:cubicBezTo>
                    <a:pt x="433" y="163"/>
                    <a:pt x="433" y="163"/>
                    <a:pt x="433" y="163"/>
                  </a:cubicBezTo>
                  <a:lnTo>
                    <a:pt x="364" y="133"/>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17" name="Freeform 319">
              <a:extLst>
                <a:ext uri="{FF2B5EF4-FFF2-40B4-BE49-F238E27FC236}">
                  <a16:creationId xmlns:a16="http://schemas.microsoft.com/office/drawing/2014/main" id="{A725CD0C-8AF2-4BE2-94D6-7393ADEA860F}"/>
                </a:ext>
              </a:extLst>
            </p:cNvPr>
            <p:cNvSpPr>
              <a:spLocks noChangeAspect="1"/>
            </p:cNvSpPr>
            <p:nvPr/>
          </p:nvSpPr>
          <p:spPr bwMode="auto">
            <a:xfrm>
              <a:off x="10967" y="1795"/>
              <a:ext cx="858" cy="692"/>
            </a:xfrm>
            <a:custGeom>
              <a:avLst/>
              <a:gdLst/>
              <a:ahLst/>
              <a:cxnLst>
                <a:cxn ang="0">
                  <a:pos x="279" y="40"/>
                </a:cxn>
                <a:cxn ang="0">
                  <a:pos x="272" y="28"/>
                </a:cxn>
                <a:cxn ang="0">
                  <a:pos x="251" y="20"/>
                </a:cxn>
                <a:cxn ang="0">
                  <a:pos x="191" y="0"/>
                </a:cxn>
                <a:cxn ang="0">
                  <a:pos x="187" y="22"/>
                </a:cxn>
                <a:cxn ang="0">
                  <a:pos x="174" y="43"/>
                </a:cxn>
                <a:cxn ang="0">
                  <a:pos x="162" y="64"/>
                </a:cxn>
                <a:cxn ang="0">
                  <a:pos x="132" y="68"/>
                </a:cxn>
                <a:cxn ang="0">
                  <a:pos x="115" y="72"/>
                </a:cxn>
                <a:cxn ang="0">
                  <a:pos x="102" y="90"/>
                </a:cxn>
                <a:cxn ang="0">
                  <a:pos x="84" y="81"/>
                </a:cxn>
                <a:cxn ang="0">
                  <a:pos x="75" y="91"/>
                </a:cxn>
                <a:cxn ang="0">
                  <a:pos x="50" y="86"/>
                </a:cxn>
                <a:cxn ang="0">
                  <a:pos x="24" y="97"/>
                </a:cxn>
                <a:cxn ang="0">
                  <a:pos x="0" y="113"/>
                </a:cxn>
                <a:cxn ang="0">
                  <a:pos x="9" y="121"/>
                </a:cxn>
                <a:cxn ang="0">
                  <a:pos x="74" y="115"/>
                </a:cxn>
                <a:cxn ang="0">
                  <a:pos x="98" y="114"/>
                </a:cxn>
                <a:cxn ang="0">
                  <a:pos x="96" y="136"/>
                </a:cxn>
                <a:cxn ang="0">
                  <a:pos x="98" y="183"/>
                </a:cxn>
                <a:cxn ang="0">
                  <a:pos x="96" y="227"/>
                </a:cxn>
                <a:cxn ang="0">
                  <a:pos x="104" y="241"/>
                </a:cxn>
                <a:cxn ang="0">
                  <a:pos x="138" y="258"/>
                </a:cxn>
                <a:cxn ang="0">
                  <a:pos x="164" y="274"/>
                </a:cxn>
                <a:cxn ang="0">
                  <a:pos x="207" y="287"/>
                </a:cxn>
                <a:cxn ang="0">
                  <a:pos x="258" y="309"/>
                </a:cxn>
                <a:cxn ang="0">
                  <a:pos x="299" y="336"/>
                </a:cxn>
                <a:cxn ang="0">
                  <a:pos x="369" y="346"/>
                </a:cxn>
                <a:cxn ang="0">
                  <a:pos x="392" y="309"/>
                </a:cxn>
                <a:cxn ang="0">
                  <a:pos x="406" y="281"/>
                </a:cxn>
                <a:cxn ang="0">
                  <a:pos x="417" y="250"/>
                </a:cxn>
                <a:cxn ang="0">
                  <a:pos x="406" y="236"/>
                </a:cxn>
                <a:cxn ang="0">
                  <a:pos x="422" y="206"/>
                </a:cxn>
                <a:cxn ang="0">
                  <a:pos x="394" y="190"/>
                </a:cxn>
                <a:cxn ang="0">
                  <a:pos x="319" y="180"/>
                </a:cxn>
                <a:cxn ang="0">
                  <a:pos x="316" y="133"/>
                </a:cxn>
                <a:cxn ang="0">
                  <a:pos x="318" y="108"/>
                </a:cxn>
                <a:cxn ang="0">
                  <a:pos x="319" y="91"/>
                </a:cxn>
                <a:cxn ang="0">
                  <a:pos x="321" y="78"/>
                </a:cxn>
                <a:cxn ang="0">
                  <a:pos x="318" y="54"/>
                </a:cxn>
                <a:cxn ang="0">
                  <a:pos x="290" y="52"/>
                </a:cxn>
              </a:cxnLst>
              <a:rect l="0" t="0" r="r" b="b"/>
              <a:pathLst>
                <a:path w="429" h="346">
                  <a:moveTo>
                    <a:pt x="290" y="52"/>
                  </a:moveTo>
                  <a:cubicBezTo>
                    <a:pt x="284" y="50"/>
                    <a:pt x="279" y="40"/>
                    <a:pt x="279" y="40"/>
                  </a:cubicBezTo>
                  <a:cubicBezTo>
                    <a:pt x="273" y="42"/>
                    <a:pt x="273" y="42"/>
                    <a:pt x="273" y="42"/>
                  </a:cubicBezTo>
                  <a:cubicBezTo>
                    <a:pt x="272" y="28"/>
                    <a:pt x="272" y="28"/>
                    <a:pt x="272" y="28"/>
                  </a:cubicBezTo>
                  <a:cubicBezTo>
                    <a:pt x="261" y="28"/>
                    <a:pt x="261" y="28"/>
                    <a:pt x="261" y="28"/>
                  </a:cubicBezTo>
                  <a:cubicBezTo>
                    <a:pt x="261" y="28"/>
                    <a:pt x="257" y="21"/>
                    <a:pt x="251" y="20"/>
                  </a:cubicBezTo>
                  <a:cubicBezTo>
                    <a:pt x="245" y="20"/>
                    <a:pt x="240" y="2"/>
                    <a:pt x="240" y="2"/>
                  </a:cubicBezTo>
                  <a:cubicBezTo>
                    <a:pt x="191" y="0"/>
                    <a:pt x="191" y="0"/>
                    <a:pt x="191" y="0"/>
                  </a:cubicBezTo>
                  <a:cubicBezTo>
                    <a:pt x="192" y="9"/>
                    <a:pt x="192" y="9"/>
                    <a:pt x="192" y="9"/>
                  </a:cubicBezTo>
                  <a:cubicBezTo>
                    <a:pt x="192" y="9"/>
                    <a:pt x="187" y="20"/>
                    <a:pt x="187" y="22"/>
                  </a:cubicBezTo>
                  <a:cubicBezTo>
                    <a:pt x="186" y="23"/>
                    <a:pt x="172" y="22"/>
                    <a:pt x="172" y="24"/>
                  </a:cubicBezTo>
                  <a:cubicBezTo>
                    <a:pt x="172" y="27"/>
                    <a:pt x="172" y="36"/>
                    <a:pt x="174" y="43"/>
                  </a:cubicBezTo>
                  <a:cubicBezTo>
                    <a:pt x="175" y="50"/>
                    <a:pt x="162" y="49"/>
                    <a:pt x="162" y="49"/>
                  </a:cubicBezTo>
                  <a:cubicBezTo>
                    <a:pt x="162" y="64"/>
                    <a:pt x="162" y="64"/>
                    <a:pt x="162" y="64"/>
                  </a:cubicBezTo>
                  <a:cubicBezTo>
                    <a:pt x="153" y="60"/>
                    <a:pt x="153" y="60"/>
                    <a:pt x="153" y="60"/>
                  </a:cubicBezTo>
                  <a:cubicBezTo>
                    <a:pt x="132" y="68"/>
                    <a:pt x="132" y="68"/>
                    <a:pt x="132" y="68"/>
                  </a:cubicBezTo>
                  <a:cubicBezTo>
                    <a:pt x="126" y="60"/>
                    <a:pt x="126" y="60"/>
                    <a:pt x="126" y="60"/>
                  </a:cubicBezTo>
                  <a:cubicBezTo>
                    <a:pt x="115" y="72"/>
                    <a:pt x="115" y="72"/>
                    <a:pt x="115" y="72"/>
                  </a:cubicBezTo>
                  <a:cubicBezTo>
                    <a:pt x="116" y="79"/>
                    <a:pt x="116" y="79"/>
                    <a:pt x="116" y="79"/>
                  </a:cubicBezTo>
                  <a:cubicBezTo>
                    <a:pt x="102" y="90"/>
                    <a:pt x="102" y="90"/>
                    <a:pt x="102" y="90"/>
                  </a:cubicBezTo>
                  <a:cubicBezTo>
                    <a:pt x="98" y="79"/>
                    <a:pt x="98" y="79"/>
                    <a:pt x="98" y="79"/>
                  </a:cubicBezTo>
                  <a:cubicBezTo>
                    <a:pt x="84" y="81"/>
                    <a:pt x="84" y="81"/>
                    <a:pt x="84" y="81"/>
                  </a:cubicBezTo>
                  <a:cubicBezTo>
                    <a:pt x="85" y="95"/>
                    <a:pt x="85" y="95"/>
                    <a:pt x="85" y="95"/>
                  </a:cubicBezTo>
                  <a:cubicBezTo>
                    <a:pt x="85" y="95"/>
                    <a:pt x="84" y="92"/>
                    <a:pt x="75" y="91"/>
                  </a:cubicBezTo>
                  <a:cubicBezTo>
                    <a:pt x="66" y="89"/>
                    <a:pt x="62" y="98"/>
                    <a:pt x="60" y="99"/>
                  </a:cubicBezTo>
                  <a:cubicBezTo>
                    <a:pt x="59" y="100"/>
                    <a:pt x="50" y="86"/>
                    <a:pt x="50" y="86"/>
                  </a:cubicBezTo>
                  <a:cubicBezTo>
                    <a:pt x="24" y="88"/>
                    <a:pt x="24" y="88"/>
                    <a:pt x="24" y="88"/>
                  </a:cubicBezTo>
                  <a:cubicBezTo>
                    <a:pt x="24" y="97"/>
                    <a:pt x="24" y="97"/>
                    <a:pt x="24" y="97"/>
                  </a:cubicBezTo>
                  <a:cubicBezTo>
                    <a:pt x="24" y="97"/>
                    <a:pt x="12" y="106"/>
                    <a:pt x="6" y="109"/>
                  </a:cubicBezTo>
                  <a:cubicBezTo>
                    <a:pt x="4" y="110"/>
                    <a:pt x="2" y="111"/>
                    <a:pt x="0" y="113"/>
                  </a:cubicBezTo>
                  <a:cubicBezTo>
                    <a:pt x="3" y="114"/>
                    <a:pt x="3" y="114"/>
                    <a:pt x="3" y="114"/>
                  </a:cubicBezTo>
                  <a:cubicBezTo>
                    <a:pt x="9" y="121"/>
                    <a:pt x="9" y="121"/>
                    <a:pt x="9" y="121"/>
                  </a:cubicBezTo>
                  <a:cubicBezTo>
                    <a:pt x="14" y="118"/>
                    <a:pt x="41" y="115"/>
                    <a:pt x="41" y="115"/>
                  </a:cubicBezTo>
                  <a:cubicBezTo>
                    <a:pt x="41" y="115"/>
                    <a:pt x="65" y="112"/>
                    <a:pt x="74" y="115"/>
                  </a:cubicBezTo>
                  <a:cubicBezTo>
                    <a:pt x="83" y="117"/>
                    <a:pt x="84" y="104"/>
                    <a:pt x="84" y="104"/>
                  </a:cubicBezTo>
                  <a:cubicBezTo>
                    <a:pt x="98" y="114"/>
                    <a:pt x="98" y="114"/>
                    <a:pt x="98" y="114"/>
                  </a:cubicBezTo>
                  <a:cubicBezTo>
                    <a:pt x="88" y="126"/>
                    <a:pt x="88" y="126"/>
                    <a:pt x="88" y="126"/>
                  </a:cubicBezTo>
                  <a:cubicBezTo>
                    <a:pt x="88" y="126"/>
                    <a:pt x="96" y="131"/>
                    <a:pt x="96" y="136"/>
                  </a:cubicBezTo>
                  <a:cubicBezTo>
                    <a:pt x="96" y="141"/>
                    <a:pt x="87" y="142"/>
                    <a:pt x="86" y="153"/>
                  </a:cubicBezTo>
                  <a:cubicBezTo>
                    <a:pt x="84" y="164"/>
                    <a:pt x="98" y="183"/>
                    <a:pt x="98" y="183"/>
                  </a:cubicBezTo>
                  <a:cubicBezTo>
                    <a:pt x="98" y="183"/>
                    <a:pt x="89" y="192"/>
                    <a:pt x="87" y="199"/>
                  </a:cubicBezTo>
                  <a:cubicBezTo>
                    <a:pt x="84" y="207"/>
                    <a:pt x="96" y="227"/>
                    <a:pt x="96" y="227"/>
                  </a:cubicBezTo>
                  <a:cubicBezTo>
                    <a:pt x="103" y="228"/>
                    <a:pt x="103" y="228"/>
                    <a:pt x="103" y="228"/>
                  </a:cubicBezTo>
                  <a:cubicBezTo>
                    <a:pt x="104" y="241"/>
                    <a:pt x="104" y="241"/>
                    <a:pt x="104" y="241"/>
                  </a:cubicBezTo>
                  <a:cubicBezTo>
                    <a:pt x="125" y="257"/>
                    <a:pt x="125" y="257"/>
                    <a:pt x="125" y="257"/>
                  </a:cubicBezTo>
                  <a:cubicBezTo>
                    <a:pt x="138" y="258"/>
                    <a:pt x="138" y="258"/>
                    <a:pt x="138" y="258"/>
                  </a:cubicBezTo>
                  <a:cubicBezTo>
                    <a:pt x="140" y="266"/>
                    <a:pt x="140" y="266"/>
                    <a:pt x="140" y="266"/>
                  </a:cubicBezTo>
                  <a:cubicBezTo>
                    <a:pt x="140" y="266"/>
                    <a:pt x="157" y="274"/>
                    <a:pt x="164" y="274"/>
                  </a:cubicBezTo>
                  <a:cubicBezTo>
                    <a:pt x="170" y="275"/>
                    <a:pt x="177" y="271"/>
                    <a:pt x="189" y="271"/>
                  </a:cubicBezTo>
                  <a:cubicBezTo>
                    <a:pt x="201" y="271"/>
                    <a:pt x="207" y="287"/>
                    <a:pt x="207" y="287"/>
                  </a:cubicBezTo>
                  <a:cubicBezTo>
                    <a:pt x="227" y="287"/>
                    <a:pt x="227" y="287"/>
                    <a:pt x="227" y="287"/>
                  </a:cubicBezTo>
                  <a:cubicBezTo>
                    <a:pt x="227" y="287"/>
                    <a:pt x="248" y="307"/>
                    <a:pt x="258" y="309"/>
                  </a:cubicBezTo>
                  <a:cubicBezTo>
                    <a:pt x="267" y="311"/>
                    <a:pt x="282" y="313"/>
                    <a:pt x="283" y="313"/>
                  </a:cubicBezTo>
                  <a:cubicBezTo>
                    <a:pt x="284" y="313"/>
                    <a:pt x="299" y="336"/>
                    <a:pt x="299" y="336"/>
                  </a:cubicBezTo>
                  <a:cubicBezTo>
                    <a:pt x="356" y="337"/>
                    <a:pt x="356" y="337"/>
                    <a:pt x="356" y="337"/>
                  </a:cubicBezTo>
                  <a:cubicBezTo>
                    <a:pt x="356" y="337"/>
                    <a:pt x="362" y="341"/>
                    <a:pt x="369" y="346"/>
                  </a:cubicBezTo>
                  <a:cubicBezTo>
                    <a:pt x="378" y="340"/>
                    <a:pt x="389" y="333"/>
                    <a:pt x="389" y="332"/>
                  </a:cubicBezTo>
                  <a:cubicBezTo>
                    <a:pt x="389" y="331"/>
                    <a:pt x="392" y="309"/>
                    <a:pt x="392" y="309"/>
                  </a:cubicBezTo>
                  <a:cubicBezTo>
                    <a:pt x="406" y="299"/>
                    <a:pt x="406" y="299"/>
                    <a:pt x="406" y="299"/>
                  </a:cubicBezTo>
                  <a:cubicBezTo>
                    <a:pt x="406" y="281"/>
                    <a:pt x="406" y="281"/>
                    <a:pt x="406" y="281"/>
                  </a:cubicBezTo>
                  <a:cubicBezTo>
                    <a:pt x="429" y="266"/>
                    <a:pt x="429" y="266"/>
                    <a:pt x="429" y="266"/>
                  </a:cubicBezTo>
                  <a:cubicBezTo>
                    <a:pt x="417" y="250"/>
                    <a:pt x="417" y="250"/>
                    <a:pt x="417" y="250"/>
                  </a:cubicBezTo>
                  <a:cubicBezTo>
                    <a:pt x="417" y="239"/>
                    <a:pt x="417" y="239"/>
                    <a:pt x="417" y="239"/>
                  </a:cubicBezTo>
                  <a:cubicBezTo>
                    <a:pt x="406" y="236"/>
                    <a:pt x="406" y="236"/>
                    <a:pt x="406" y="236"/>
                  </a:cubicBezTo>
                  <a:cubicBezTo>
                    <a:pt x="404" y="218"/>
                    <a:pt x="404" y="218"/>
                    <a:pt x="404" y="218"/>
                  </a:cubicBezTo>
                  <a:cubicBezTo>
                    <a:pt x="422" y="206"/>
                    <a:pt x="422" y="206"/>
                    <a:pt x="422" y="206"/>
                  </a:cubicBezTo>
                  <a:cubicBezTo>
                    <a:pt x="409" y="187"/>
                    <a:pt x="409" y="187"/>
                    <a:pt x="409" y="187"/>
                  </a:cubicBezTo>
                  <a:cubicBezTo>
                    <a:pt x="394" y="190"/>
                    <a:pt x="394" y="190"/>
                    <a:pt x="394" y="190"/>
                  </a:cubicBezTo>
                  <a:cubicBezTo>
                    <a:pt x="384" y="183"/>
                    <a:pt x="384" y="183"/>
                    <a:pt x="384" y="183"/>
                  </a:cubicBezTo>
                  <a:cubicBezTo>
                    <a:pt x="319" y="180"/>
                    <a:pt x="319" y="180"/>
                    <a:pt x="319" y="180"/>
                  </a:cubicBezTo>
                  <a:cubicBezTo>
                    <a:pt x="319" y="180"/>
                    <a:pt x="326" y="158"/>
                    <a:pt x="325" y="155"/>
                  </a:cubicBezTo>
                  <a:cubicBezTo>
                    <a:pt x="324" y="151"/>
                    <a:pt x="316" y="140"/>
                    <a:pt x="316" y="133"/>
                  </a:cubicBezTo>
                  <a:cubicBezTo>
                    <a:pt x="316" y="127"/>
                    <a:pt x="326" y="118"/>
                    <a:pt x="326" y="118"/>
                  </a:cubicBezTo>
                  <a:cubicBezTo>
                    <a:pt x="318" y="108"/>
                    <a:pt x="318" y="108"/>
                    <a:pt x="318" y="108"/>
                  </a:cubicBezTo>
                  <a:cubicBezTo>
                    <a:pt x="325" y="99"/>
                    <a:pt x="325" y="99"/>
                    <a:pt x="325" y="99"/>
                  </a:cubicBezTo>
                  <a:cubicBezTo>
                    <a:pt x="319" y="91"/>
                    <a:pt x="319" y="91"/>
                    <a:pt x="319" y="91"/>
                  </a:cubicBezTo>
                  <a:cubicBezTo>
                    <a:pt x="317" y="83"/>
                    <a:pt x="317" y="83"/>
                    <a:pt x="317" y="83"/>
                  </a:cubicBezTo>
                  <a:cubicBezTo>
                    <a:pt x="321" y="78"/>
                    <a:pt x="321" y="78"/>
                    <a:pt x="321" y="78"/>
                  </a:cubicBezTo>
                  <a:cubicBezTo>
                    <a:pt x="317" y="54"/>
                    <a:pt x="317" y="54"/>
                    <a:pt x="317" y="54"/>
                  </a:cubicBezTo>
                  <a:cubicBezTo>
                    <a:pt x="318" y="54"/>
                    <a:pt x="318" y="54"/>
                    <a:pt x="318" y="54"/>
                  </a:cubicBezTo>
                  <a:cubicBezTo>
                    <a:pt x="312" y="50"/>
                    <a:pt x="308" y="47"/>
                    <a:pt x="308" y="47"/>
                  </a:cubicBezTo>
                  <a:cubicBezTo>
                    <a:pt x="308" y="47"/>
                    <a:pt x="297" y="55"/>
                    <a:pt x="290" y="52"/>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18" name="Freeform 320">
              <a:extLst>
                <a:ext uri="{FF2B5EF4-FFF2-40B4-BE49-F238E27FC236}">
                  <a16:creationId xmlns:a16="http://schemas.microsoft.com/office/drawing/2014/main" id="{8EA812EA-3AAF-437F-903A-59E19F98065E}"/>
                </a:ext>
              </a:extLst>
            </p:cNvPr>
            <p:cNvSpPr>
              <a:spLocks noChangeAspect="1"/>
            </p:cNvSpPr>
            <p:nvPr/>
          </p:nvSpPr>
          <p:spPr bwMode="auto">
            <a:xfrm>
              <a:off x="10129" y="564"/>
              <a:ext cx="2141" cy="1459"/>
            </a:xfrm>
            <a:custGeom>
              <a:avLst/>
              <a:gdLst/>
              <a:ahLst/>
              <a:cxnLst>
                <a:cxn ang="0">
                  <a:pos x="953" y="493"/>
                </a:cxn>
                <a:cxn ang="0">
                  <a:pos x="1049" y="274"/>
                </a:cxn>
                <a:cxn ang="0">
                  <a:pos x="1060" y="257"/>
                </a:cxn>
                <a:cxn ang="0">
                  <a:pos x="1030" y="258"/>
                </a:cxn>
                <a:cxn ang="0">
                  <a:pos x="992" y="241"/>
                </a:cxn>
                <a:cxn ang="0">
                  <a:pos x="962" y="225"/>
                </a:cxn>
                <a:cxn ang="0">
                  <a:pos x="942" y="210"/>
                </a:cxn>
                <a:cxn ang="0">
                  <a:pos x="918" y="189"/>
                </a:cxn>
                <a:cxn ang="0">
                  <a:pos x="901" y="159"/>
                </a:cxn>
                <a:cxn ang="0">
                  <a:pos x="814" y="141"/>
                </a:cxn>
                <a:cxn ang="0">
                  <a:pos x="807" y="171"/>
                </a:cxn>
                <a:cxn ang="0">
                  <a:pos x="793" y="190"/>
                </a:cxn>
                <a:cxn ang="0">
                  <a:pos x="733" y="190"/>
                </a:cxn>
                <a:cxn ang="0">
                  <a:pos x="745" y="230"/>
                </a:cxn>
                <a:cxn ang="0">
                  <a:pos x="701" y="199"/>
                </a:cxn>
                <a:cxn ang="0">
                  <a:pos x="689" y="168"/>
                </a:cxn>
                <a:cxn ang="0">
                  <a:pos x="678" y="99"/>
                </a:cxn>
                <a:cxn ang="0">
                  <a:pos x="673" y="53"/>
                </a:cxn>
                <a:cxn ang="0">
                  <a:pos x="647" y="12"/>
                </a:cxn>
                <a:cxn ang="0">
                  <a:pos x="611" y="16"/>
                </a:cxn>
                <a:cxn ang="0">
                  <a:pos x="571" y="52"/>
                </a:cxn>
                <a:cxn ang="0">
                  <a:pos x="532" y="66"/>
                </a:cxn>
                <a:cxn ang="0">
                  <a:pos x="500" y="81"/>
                </a:cxn>
                <a:cxn ang="0">
                  <a:pos x="420" y="65"/>
                </a:cxn>
                <a:cxn ang="0">
                  <a:pos x="387" y="14"/>
                </a:cxn>
                <a:cxn ang="0">
                  <a:pos x="362" y="11"/>
                </a:cxn>
                <a:cxn ang="0">
                  <a:pos x="339" y="33"/>
                </a:cxn>
                <a:cxn ang="0">
                  <a:pos x="238" y="30"/>
                </a:cxn>
                <a:cxn ang="0">
                  <a:pos x="279" y="94"/>
                </a:cxn>
                <a:cxn ang="0">
                  <a:pos x="243" y="100"/>
                </a:cxn>
                <a:cxn ang="0">
                  <a:pos x="224" y="147"/>
                </a:cxn>
                <a:cxn ang="0">
                  <a:pos x="260" y="193"/>
                </a:cxn>
                <a:cxn ang="0">
                  <a:pos x="213" y="397"/>
                </a:cxn>
                <a:cxn ang="0">
                  <a:pos x="155" y="397"/>
                </a:cxn>
                <a:cxn ang="0">
                  <a:pos x="102" y="420"/>
                </a:cxn>
                <a:cxn ang="0">
                  <a:pos x="56" y="445"/>
                </a:cxn>
                <a:cxn ang="0">
                  <a:pos x="29" y="501"/>
                </a:cxn>
                <a:cxn ang="0">
                  <a:pos x="22" y="536"/>
                </a:cxn>
                <a:cxn ang="0">
                  <a:pos x="75" y="597"/>
                </a:cxn>
                <a:cxn ang="0">
                  <a:pos x="341" y="700"/>
                </a:cxn>
                <a:cxn ang="0">
                  <a:pos x="424" y="724"/>
                </a:cxn>
                <a:cxn ang="0">
                  <a:pos x="468" y="701"/>
                </a:cxn>
                <a:cxn ang="0">
                  <a:pos x="503" y="710"/>
                </a:cxn>
                <a:cxn ang="0">
                  <a:pos x="520" y="705"/>
                </a:cxn>
                <a:cxn ang="0">
                  <a:pos x="544" y="675"/>
                </a:cxn>
                <a:cxn ang="0">
                  <a:pos x="580" y="679"/>
                </a:cxn>
                <a:cxn ang="0">
                  <a:pos x="590" y="639"/>
                </a:cxn>
                <a:cxn ang="0">
                  <a:pos x="609" y="615"/>
                </a:cxn>
                <a:cxn ang="0">
                  <a:pos x="679" y="643"/>
                </a:cxn>
                <a:cxn ang="0">
                  <a:pos x="697" y="655"/>
                </a:cxn>
                <a:cxn ang="0">
                  <a:pos x="736" y="669"/>
                </a:cxn>
                <a:cxn ang="0">
                  <a:pos x="926" y="651"/>
                </a:cxn>
                <a:cxn ang="0">
                  <a:pos x="942" y="600"/>
                </a:cxn>
                <a:cxn ang="0">
                  <a:pos x="943" y="575"/>
                </a:cxn>
              </a:cxnLst>
              <a:rect l="0" t="0" r="r" b="b"/>
              <a:pathLst>
                <a:path w="1069" h="728">
                  <a:moveTo>
                    <a:pt x="922" y="540"/>
                  </a:moveTo>
                  <a:cubicBezTo>
                    <a:pt x="922" y="528"/>
                    <a:pt x="930" y="530"/>
                    <a:pt x="937" y="526"/>
                  </a:cubicBezTo>
                  <a:cubicBezTo>
                    <a:pt x="943" y="522"/>
                    <a:pt x="948" y="501"/>
                    <a:pt x="953" y="493"/>
                  </a:cubicBezTo>
                  <a:cubicBezTo>
                    <a:pt x="958" y="485"/>
                    <a:pt x="999" y="386"/>
                    <a:pt x="1005" y="373"/>
                  </a:cubicBezTo>
                  <a:cubicBezTo>
                    <a:pt x="1011" y="361"/>
                    <a:pt x="1044" y="288"/>
                    <a:pt x="1044" y="288"/>
                  </a:cubicBezTo>
                  <a:cubicBezTo>
                    <a:pt x="1049" y="274"/>
                    <a:pt x="1049" y="274"/>
                    <a:pt x="1049" y="274"/>
                  </a:cubicBezTo>
                  <a:cubicBezTo>
                    <a:pt x="1055" y="274"/>
                    <a:pt x="1055" y="274"/>
                    <a:pt x="1055" y="274"/>
                  </a:cubicBezTo>
                  <a:cubicBezTo>
                    <a:pt x="1069" y="257"/>
                    <a:pt x="1069" y="257"/>
                    <a:pt x="1069" y="257"/>
                  </a:cubicBezTo>
                  <a:cubicBezTo>
                    <a:pt x="1060" y="257"/>
                    <a:pt x="1060" y="257"/>
                    <a:pt x="1060" y="257"/>
                  </a:cubicBezTo>
                  <a:cubicBezTo>
                    <a:pt x="1056" y="264"/>
                    <a:pt x="1056" y="264"/>
                    <a:pt x="1056" y="264"/>
                  </a:cubicBezTo>
                  <a:cubicBezTo>
                    <a:pt x="1056" y="264"/>
                    <a:pt x="1041" y="270"/>
                    <a:pt x="1029" y="270"/>
                  </a:cubicBezTo>
                  <a:cubicBezTo>
                    <a:pt x="1018" y="270"/>
                    <a:pt x="1030" y="258"/>
                    <a:pt x="1030" y="258"/>
                  </a:cubicBezTo>
                  <a:cubicBezTo>
                    <a:pt x="1012" y="253"/>
                    <a:pt x="1012" y="253"/>
                    <a:pt x="1012" y="253"/>
                  </a:cubicBezTo>
                  <a:cubicBezTo>
                    <a:pt x="1002" y="236"/>
                    <a:pt x="1002" y="236"/>
                    <a:pt x="1002" y="236"/>
                  </a:cubicBezTo>
                  <a:cubicBezTo>
                    <a:pt x="992" y="241"/>
                    <a:pt x="992" y="241"/>
                    <a:pt x="992" y="241"/>
                  </a:cubicBezTo>
                  <a:cubicBezTo>
                    <a:pt x="982" y="235"/>
                    <a:pt x="982" y="235"/>
                    <a:pt x="982" y="235"/>
                  </a:cubicBezTo>
                  <a:cubicBezTo>
                    <a:pt x="977" y="228"/>
                    <a:pt x="977" y="228"/>
                    <a:pt x="977" y="228"/>
                  </a:cubicBezTo>
                  <a:cubicBezTo>
                    <a:pt x="962" y="225"/>
                    <a:pt x="962" y="225"/>
                    <a:pt x="962" y="225"/>
                  </a:cubicBezTo>
                  <a:cubicBezTo>
                    <a:pt x="949" y="218"/>
                    <a:pt x="949" y="218"/>
                    <a:pt x="949" y="218"/>
                  </a:cubicBezTo>
                  <a:cubicBezTo>
                    <a:pt x="949" y="218"/>
                    <a:pt x="953" y="215"/>
                    <a:pt x="954" y="206"/>
                  </a:cubicBezTo>
                  <a:cubicBezTo>
                    <a:pt x="955" y="197"/>
                    <a:pt x="942" y="210"/>
                    <a:pt x="942" y="210"/>
                  </a:cubicBezTo>
                  <a:cubicBezTo>
                    <a:pt x="926" y="202"/>
                    <a:pt x="926" y="202"/>
                    <a:pt x="926" y="202"/>
                  </a:cubicBezTo>
                  <a:cubicBezTo>
                    <a:pt x="927" y="186"/>
                    <a:pt x="927" y="186"/>
                    <a:pt x="927" y="186"/>
                  </a:cubicBezTo>
                  <a:cubicBezTo>
                    <a:pt x="918" y="189"/>
                    <a:pt x="918" y="189"/>
                    <a:pt x="918" y="189"/>
                  </a:cubicBezTo>
                  <a:cubicBezTo>
                    <a:pt x="908" y="177"/>
                    <a:pt x="908" y="177"/>
                    <a:pt x="908" y="177"/>
                  </a:cubicBezTo>
                  <a:cubicBezTo>
                    <a:pt x="907" y="159"/>
                    <a:pt x="907" y="159"/>
                    <a:pt x="907" y="159"/>
                  </a:cubicBezTo>
                  <a:cubicBezTo>
                    <a:pt x="901" y="159"/>
                    <a:pt x="901" y="159"/>
                    <a:pt x="901" y="159"/>
                  </a:cubicBezTo>
                  <a:cubicBezTo>
                    <a:pt x="897" y="121"/>
                    <a:pt x="897" y="121"/>
                    <a:pt x="897" y="121"/>
                  </a:cubicBezTo>
                  <a:cubicBezTo>
                    <a:pt x="826" y="122"/>
                    <a:pt x="826" y="122"/>
                    <a:pt x="826" y="122"/>
                  </a:cubicBezTo>
                  <a:cubicBezTo>
                    <a:pt x="826" y="122"/>
                    <a:pt x="818" y="139"/>
                    <a:pt x="814" y="141"/>
                  </a:cubicBezTo>
                  <a:cubicBezTo>
                    <a:pt x="811" y="144"/>
                    <a:pt x="814" y="155"/>
                    <a:pt x="814" y="155"/>
                  </a:cubicBezTo>
                  <a:cubicBezTo>
                    <a:pt x="814" y="155"/>
                    <a:pt x="807" y="158"/>
                    <a:pt x="807" y="160"/>
                  </a:cubicBezTo>
                  <a:cubicBezTo>
                    <a:pt x="806" y="161"/>
                    <a:pt x="807" y="171"/>
                    <a:pt x="807" y="171"/>
                  </a:cubicBezTo>
                  <a:cubicBezTo>
                    <a:pt x="807" y="171"/>
                    <a:pt x="816" y="173"/>
                    <a:pt x="816" y="179"/>
                  </a:cubicBezTo>
                  <a:cubicBezTo>
                    <a:pt x="817" y="185"/>
                    <a:pt x="800" y="182"/>
                    <a:pt x="800" y="182"/>
                  </a:cubicBezTo>
                  <a:cubicBezTo>
                    <a:pt x="793" y="190"/>
                    <a:pt x="793" y="190"/>
                    <a:pt x="793" y="190"/>
                  </a:cubicBezTo>
                  <a:cubicBezTo>
                    <a:pt x="758" y="164"/>
                    <a:pt x="758" y="164"/>
                    <a:pt x="758" y="164"/>
                  </a:cubicBezTo>
                  <a:cubicBezTo>
                    <a:pt x="741" y="178"/>
                    <a:pt x="741" y="178"/>
                    <a:pt x="741" y="178"/>
                  </a:cubicBezTo>
                  <a:cubicBezTo>
                    <a:pt x="733" y="190"/>
                    <a:pt x="733" y="190"/>
                    <a:pt x="733" y="190"/>
                  </a:cubicBezTo>
                  <a:cubicBezTo>
                    <a:pt x="735" y="201"/>
                    <a:pt x="735" y="201"/>
                    <a:pt x="735" y="201"/>
                  </a:cubicBezTo>
                  <a:cubicBezTo>
                    <a:pt x="735" y="201"/>
                    <a:pt x="734" y="212"/>
                    <a:pt x="734" y="217"/>
                  </a:cubicBezTo>
                  <a:cubicBezTo>
                    <a:pt x="734" y="221"/>
                    <a:pt x="745" y="230"/>
                    <a:pt x="745" y="230"/>
                  </a:cubicBezTo>
                  <a:cubicBezTo>
                    <a:pt x="737" y="230"/>
                    <a:pt x="737" y="230"/>
                    <a:pt x="737" y="230"/>
                  </a:cubicBezTo>
                  <a:cubicBezTo>
                    <a:pt x="718" y="222"/>
                    <a:pt x="718" y="222"/>
                    <a:pt x="718" y="222"/>
                  </a:cubicBezTo>
                  <a:cubicBezTo>
                    <a:pt x="718" y="222"/>
                    <a:pt x="710" y="212"/>
                    <a:pt x="701" y="199"/>
                  </a:cubicBezTo>
                  <a:cubicBezTo>
                    <a:pt x="692" y="186"/>
                    <a:pt x="679" y="178"/>
                    <a:pt x="679" y="178"/>
                  </a:cubicBezTo>
                  <a:cubicBezTo>
                    <a:pt x="679" y="178"/>
                    <a:pt x="690" y="179"/>
                    <a:pt x="693" y="178"/>
                  </a:cubicBezTo>
                  <a:cubicBezTo>
                    <a:pt x="696" y="176"/>
                    <a:pt x="689" y="168"/>
                    <a:pt x="689" y="168"/>
                  </a:cubicBezTo>
                  <a:cubicBezTo>
                    <a:pt x="698" y="155"/>
                    <a:pt x="698" y="155"/>
                    <a:pt x="698" y="155"/>
                  </a:cubicBezTo>
                  <a:cubicBezTo>
                    <a:pt x="689" y="137"/>
                    <a:pt x="689" y="137"/>
                    <a:pt x="689" y="137"/>
                  </a:cubicBezTo>
                  <a:cubicBezTo>
                    <a:pt x="689" y="137"/>
                    <a:pt x="679" y="115"/>
                    <a:pt x="678" y="99"/>
                  </a:cubicBezTo>
                  <a:cubicBezTo>
                    <a:pt x="676" y="83"/>
                    <a:pt x="684" y="86"/>
                    <a:pt x="684" y="86"/>
                  </a:cubicBezTo>
                  <a:cubicBezTo>
                    <a:pt x="680" y="71"/>
                    <a:pt x="680" y="71"/>
                    <a:pt x="680" y="71"/>
                  </a:cubicBezTo>
                  <a:cubicBezTo>
                    <a:pt x="673" y="53"/>
                    <a:pt x="673" y="53"/>
                    <a:pt x="673" y="53"/>
                  </a:cubicBezTo>
                  <a:cubicBezTo>
                    <a:pt x="662" y="40"/>
                    <a:pt x="662" y="40"/>
                    <a:pt x="662" y="40"/>
                  </a:cubicBezTo>
                  <a:cubicBezTo>
                    <a:pt x="670" y="17"/>
                    <a:pt x="670" y="17"/>
                    <a:pt x="670" y="17"/>
                  </a:cubicBezTo>
                  <a:cubicBezTo>
                    <a:pt x="647" y="12"/>
                    <a:pt x="647" y="12"/>
                    <a:pt x="647" y="12"/>
                  </a:cubicBezTo>
                  <a:cubicBezTo>
                    <a:pt x="626" y="3"/>
                    <a:pt x="626" y="3"/>
                    <a:pt x="626" y="3"/>
                  </a:cubicBezTo>
                  <a:cubicBezTo>
                    <a:pt x="612" y="8"/>
                    <a:pt x="612" y="8"/>
                    <a:pt x="612" y="8"/>
                  </a:cubicBezTo>
                  <a:cubicBezTo>
                    <a:pt x="612" y="8"/>
                    <a:pt x="612" y="15"/>
                    <a:pt x="611" y="16"/>
                  </a:cubicBezTo>
                  <a:cubicBezTo>
                    <a:pt x="611" y="18"/>
                    <a:pt x="588" y="15"/>
                    <a:pt x="588" y="15"/>
                  </a:cubicBezTo>
                  <a:cubicBezTo>
                    <a:pt x="588" y="15"/>
                    <a:pt x="588" y="36"/>
                    <a:pt x="588" y="37"/>
                  </a:cubicBezTo>
                  <a:cubicBezTo>
                    <a:pt x="588" y="38"/>
                    <a:pt x="571" y="52"/>
                    <a:pt x="571" y="52"/>
                  </a:cubicBezTo>
                  <a:cubicBezTo>
                    <a:pt x="566" y="43"/>
                    <a:pt x="566" y="43"/>
                    <a:pt x="566" y="43"/>
                  </a:cubicBezTo>
                  <a:cubicBezTo>
                    <a:pt x="566" y="43"/>
                    <a:pt x="549" y="62"/>
                    <a:pt x="546" y="65"/>
                  </a:cubicBezTo>
                  <a:cubicBezTo>
                    <a:pt x="543" y="67"/>
                    <a:pt x="533" y="65"/>
                    <a:pt x="532" y="66"/>
                  </a:cubicBezTo>
                  <a:cubicBezTo>
                    <a:pt x="532" y="68"/>
                    <a:pt x="520" y="67"/>
                    <a:pt x="520" y="67"/>
                  </a:cubicBezTo>
                  <a:cubicBezTo>
                    <a:pt x="520" y="67"/>
                    <a:pt x="504" y="95"/>
                    <a:pt x="495" y="95"/>
                  </a:cubicBezTo>
                  <a:cubicBezTo>
                    <a:pt x="486" y="95"/>
                    <a:pt x="500" y="81"/>
                    <a:pt x="500" y="81"/>
                  </a:cubicBezTo>
                  <a:cubicBezTo>
                    <a:pt x="492" y="71"/>
                    <a:pt x="492" y="71"/>
                    <a:pt x="492" y="71"/>
                  </a:cubicBezTo>
                  <a:cubicBezTo>
                    <a:pt x="492" y="71"/>
                    <a:pt x="469" y="89"/>
                    <a:pt x="456" y="89"/>
                  </a:cubicBezTo>
                  <a:cubicBezTo>
                    <a:pt x="443" y="90"/>
                    <a:pt x="420" y="65"/>
                    <a:pt x="420" y="65"/>
                  </a:cubicBezTo>
                  <a:cubicBezTo>
                    <a:pt x="400" y="63"/>
                    <a:pt x="400" y="63"/>
                    <a:pt x="400" y="63"/>
                  </a:cubicBezTo>
                  <a:cubicBezTo>
                    <a:pt x="400" y="63"/>
                    <a:pt x="408" y="49"/>
                    <a:pt x="408" y="43"/>
                  </a:cubicBezTo>
                  <a:cubicBezTo>
                    <a:pt x="409" y="37"/>
                    <a:pt x="387" y="14"/>
                    <a:pt x="387" y="14"/>
                  </a:cubicBezTo>
                  <a:cubicBezTo>
                    <a:pt x="382" y="0"/>
                    <a:pt x="382" y="0"/>
                    <a:pt x="382" y="0"/>
                  </a:cubicBezTo>
                  <a:cubicBezTo>
                    <a:pt x="382" y="0"/>
                    <a:pt x="370" y="14"/>
                    <a:pt x="370" y="15"/>
                  </a:cubicBezTo>
                  <a:cubicBezTo>
                    <a:pt x="370" y="15"/>
                    <a:pt x="362" y="11"/>
                    <a:pt x="362" y="11"/>
                  </a:cubicBezTo>
                  <a:cubicBezTo>
                    <a:pt x="352" y="26"/>
                    <a:pt x="352" y="26"/>
                    <a:pt x="352" y="26"/>
                  </a:cubicBezTo>
                  <a:cubicBezTo>
                    <a:pt x="352" y="26"/>
                    <a:pt x="336" y="15"/>
                    <a:pt x="334" y="18"/>
                  </a:cubicBezTo>
                  <a:cubicBezTo>
                    <a:pt x="331" y="20"/>
                    <a:pt x="339" y="33"/>
                    <a:pt x="339" y="33"/>
                  </a:cubicBezTo>
                  <a:cubicBezTo>
                    <a:pt x="272" y="31"/>
                    <a:pt x="272" y="31"/>
                    <a:pt x="272" y="31"/>
                  </a:cubicBezTo>
                  <a:cubicBezTo>
                    <a:pt x="272" y="31"/>
                    <a:pt x="265" y="29"/>
                    <a:pt x="258" y="27"/>
                  </a:cubicBezTo>
                  <a:cubicBezTo>
                    <a:pt x="251" y="25"/>
                    <a:pt x="238" y="30"/>
                    <a:pt x="238" y="30"/>
                  </a:cubicBezTo>
                  <a:cubicBezTo>
                    <a:pt x="240" y="67"/>
                    <a:pt x="240" y="67"/>
                    <a:pt x="240" y="67"/>
                  </a:cubicBezTo>
                  <a:cubicBezTo>
                    <a:pt x="240" y="67"/>
                    <a:pt x="264" y="67"/>
                    <a:pt x="273" y="71"/>
                  </a:cubicBezTo>
                  <a:cubicBezTo>
                    <a:pt x="282" y="74"/>
                    <a:pt x="279" y="94"/>
                    <a:pt x="279" y="94"/>
                  </a:cubicBezTo>
                  <a:cubicBezTo>
                    <a:pt x="272" y="102"/>
                    <a:pt x="272" y="102"/>
                    <a:pt x="272" y="102"/>
                  </a:cubicBezTo>
                  <a:cubicBezTo>
                    <a:pt x="257" y="91"/>
                    <a:pt x="257" y="91"/>
                    <a:pt x="257" y="91"/>
                  </a:cubicBezTo>
                  <a:cubicBezTo>
                    <a:pt x="257" y="91"/>
                    <a:pt x="243" y="99"/>
                    <a:pt x="243" y="100"/>
                  </a:cubicBezTo>
                  <a:cubicBezTo>
                    <a:pt x="243" y="100"/>
                    <a:pt x="230" y="102"/>
                    <a:pt x="230" y="102"/>
                  </a:cubicBezTo>
                  <a:cubicBezTo>
                    <a:pt x="230" y="102"/>
                    <a:pt x="226" y="109"/>
                    <a:pt x="222" y="117"/>
                  </a:cubicBezTo>
                  <a:cubicBezTo>
                    <a:pt x="217" y="125"/>
                    <a:pt x="224" y="144"/>
                    <a:pt x="224" y="147"/>
                  </a:cubicBezTo>
                  <a:cubicBezTo>
                    <a:pt x="224" y="149"/>
                    <a:pt x="249" y="166"/>
                    <a:pt x="251" y="166"/>
                  </a:cubicBezTo>
                  <a:cubicBezTo>
                    <a:pt x="254" y="167"/>
                    <a:pt x="252" y="178"/>
                    <a:pt x="252" y="180"/>
                  </a:cubicBezTo>
                  <a:cubicBezTo>
                    <a:pt x="252" y="181"/>
                    <a:pt x="257" y="192"/>
                    <a:pt x="260" y="193"/>
                  </a:cubicBezTo>
                  <a:cubicBezTo>
                    <a:pt x="262" y="194"/>
                    <a:pt x="259" y="237"/>
                    <a:pt x="259" y="237"/>
                  </a:cubicBezTo>
                  <a:cubicBezTo>
                    <a:pt x="226" y="399"/>
                    <a:pt x="226" y="399"/>
                    <a:pt x="226" y="399"/>
                  </a:cubicBezTo>
                  <a:cubicBezTo>
                    <a:pt x="213" y="397"/>
                    <a:pt x="213" y="397"/>
                    <a:pt x="213" y="397"/>
                  </a:cubicBezTo>
                  <a:cubicBezTo>
                    <a:pt x="213" y="397"/>
                    <a:pt x="208" y="387"/>
                    <a:pt x="193" y="387"/>
                  </a:cubicBezTo>
                  <a:cubicBezTo>
                    <a:pt x="177" y="388"/>
                    <a:pt x="163" y="403"/>
                    <a:pt x="163" y="403"/>
                  </a:cubicBezTo>
                  <a:cubicBezTo>
                    <a:pt x="163" y="403"/>
                    <a:pt x="157" y="399"/>
                    <a:pt x="155" y="397"/>
                  </a:cubicBezTo>
                  <a:cubicBezTo>
                    <a:pt x="152" y="396"/>
                    <a:pt x="132" y="408"/>
                    <a:pt x="132" y="408"/>
                  </a:cubicBezTo>
                  <a:cubicBezTo>
                    <a:pt x="132" y="408"/>
                    <a:pt x="120" y="407"/>
                    <a:pt x="112" y="410"/>
                  </a:cubicBezTo>
                  <a:cubicBezTo>
                    <a:pt x="104" y="413"/>
                    <a:pt x="102" y="420"/>
                    <a:pt x="102" y="420"/>
                  </a:cubicBezTo>
                  <a:cubicBezTo>
                    <a:pt x="102" y="420"/>
                    <a:pt x="102" y="420"/>
                    <a:pt x="93" y="420"/>
                  </a:cubicBezTo>
                  <a:cubicBezTo>
                    <a:pt x="84" y="420"/>
                    <a:pt x="83" y="430"/>
                    <a:pt x="82" y="430"/>
                  </a:cubicBezTo>
                  <a:cubicBezTo>
                    <a:pt x="82" y="431"/>
                    <a:pt x="56" y="445"/>
                    <a:pt x="56" y="445"/>
                  </a:cubicBezTo>
                  <a:cubicBezTo>
                    <a:pt x="56" y="445"/>
                    <a:pt x="59" y="452"/>
                    <a:pt x="52" y="459"/>
                  </a:cubicBezTo>
                  <a:cubicBezTo>
                    <a:pt x="45" y="467"/>
                    <a:pt x="44" y="483"/>
                    <a:pt x="44" y="483"/>
                  </a:cubicBezTo>
                  <a:cubicBezTo>
                    <a:pt x="44" y="483"/>
                    <a:pt x="29" y="500"/>
                    <a:pt x="29" y="501"/>
                  </a:cubicBezTo>
                  <a:cubicBezTo>
                    <a:pt x="29" y="501"/>
                    <a:pt x="34" y="511"/>
                    <a:pt x="34" y="511"/>
                  </a:cubicBezTo>
                  <a:cubicBezTo>
                    <a:pt x="34" y="511"/>
                    <a:pt x="40" y="518"/>
                    <a:pt x="39" y="528"/>
                  </a:cubicBezTo>
                  <a:cubicBezTo>
                    <a:pt x="37" y="537"/>
                    <a:pt x="22" y="535"/>
                    <a:pt x="22" y="536"/>
                  </a:cubicBezTo>
                  <a:cubicBezTo>
                    <a:pt x="22" y="537"/>
                    <a:pt x="4" y="550"/>
                    <a:pt x="1" y="555"/>
                  </a:cubicBezTo>
                  <a:cubicBezTo>
                    <a:pt x="0" y="558"/>
                    <a:pt x="0" y="562"/>
                    <a:pt x="1" y="566"/>
                  </a:cubicBezTo>
                  <a:cubicBezTo>
                    <a:pt x="20" y="575"/>
                    <a:pt x="62" y="595"/>
                    <a:pt x="75" y="597"/>
                  </a:cubicBezTo>
                  <a:cubicBezTo>
                    <a:pt x="92" y="600"/>
                    <a:pt x="204" y="624"/>
                    <a:pt x="204" y="624"/>
                  </a:cubicBezTo>
                  <a:cubicBezTo>
                    <a:pt x="204" y="624"/>
                    <a:pt x="268" y="660"/>
                    <a:pt x="284" y="667"/>
                  </a:cubicBezTo>
                  <a:cubicBezTo>
                    <a:pt x="300" y="674"/>
                    <a:pt x="340" y="700"/>
                    <a:pt x="341" y="700"/>
                  </a:cubicBezTo>
                  <a:cubicBezTo>
                    <a:pt x="343" y="700"/>
                    <a:pt x="352" y="699"/>
                    <a:pt x="352" y="699"/>
                  </a:cubicBezTo>
                  <a:cubicBezTo>
                    <a:pt x="418" y="728"/>
                    <a:pt x="418" y="728"/>
                    <a:pt x="418" y="728"/>
                  </a:cubicBezTo>
                  <a:cubicBezTo>
                    <a:pt x="420" y="726"/>
                    <a:pt x="422" y="725"/>
                    <a:pt x="424" y="724"/>
                  </a:cubicBezTo>
                  <a:cubicBezTo>
                    <a:pt x="430" y="721"/>
                    <a:pt x="442" y="712"/>
                    <a:pt x="442" y="712"/>
                  </a:cubicBezTo>
                  <a:cubicBezTo>
                    <a:pt x="442" y="703"/>
                    <a:pt x="442" y="703"/>
                    <a:pt x="442" y="703"/>
                  </a:cubicBezTo>
                  <a:cubicBezTo>
                    <a:pt x="468" y="701"/>
                    <a:pt x="468" y="701"/>
                    <a:pt x="468" y="701"/>
                  </a:cubicBezTo>
                  <a:cubicBezTo>
                    <a:pt x="468" y="701"/>
                    <a:pt x="477" y="715"/>
                    <a:pt x="478" y="714"/>
                  </a:cubicBezTo>
                  <a:cubicBezTo>
                    <a:pt x="480" y="713"/>
                    <a:pt x="484" y="704"/>
                    <a:pt x="493" y="706"/>
                  </a:cubicBezTo>
                  <a:cubicBezTo>
                    <a:pt x="502" y="707"/>
                    <a:pt x="503" y="710"/>
                    <a:pt x="503" y="710"/>
                  </a:cubicBezTo>
                  <a:cubicBezTo>
                    <a:pt x="502" y="696"/>
                    <a:pt x="502" y="696"/>
                    <a:pt x="502" y="696"/>
                  </a:cubicBezTo>
                  <a:cubicBezTo>
                    <a:pt x="516" y="694"/>
                    <a:pt x="516" y="694"/>
                    <a:pt x="516" y="694"/>
                  </a:cubicBezTo>
                  <a:cubicBezTo>
                    <a:pt x="520" y="705"/>
                    <a:pt x="520" y="705"/>
                    <a:pt x="520" y="705"/>
                  </a:cubicBezTo>
                  <a:cubicBezTo>
                    <a:pt x="534" y="694"/>
                    <a:pt x="534" y="694"/>
                    <a:pt x="534" y="694"/>
                  </a:cubicBezTo>
                  <a:cubicBezTo>
                    <a:pt x="533" y="687"/>
                    <a:pt x="533" y="687"/>
                    <a:pt x="533" y="687"/>
                  </a:cubicBezTo>
                  <a:cubicBezTo>
                    <a:pt x="544" y="675"/>
                    <a:pt x="544" y="675"/>
                    <a:pt x="544" y="675"/>
                  </a:cubicBezTo>
                  <a:cubicBezTo>
                    <a:pt x="550" y="683"/>
                    <a:pt x="550" y="683"/>
                    <a:pt x="550" y="683"/>
                  </a:cubicBezTo>
                  <a:cubicBezTo>
                    <a:pt x="571" y="675"/>
                    <a:pt x="571" y="675"/>
                    <a:pt x="571" y="675"/>
                  </a:cubicBezTo>
                  <a:cubicBezTo>
                    <a:pt x="580" y="679"/>
                    <a:pt x="580" y="679"/>
                    <a:pt x="580" y="679"/>
                  </a:cubicBezTo>
                  <a:cubicBezTo>
                    <a:pt x="580" y="664"/>
                    <a:pt x="580" y="664"/>
                    <a:pt x="580" y="664"/>
                  </a:cubicBezTo>
                  <a:cubicBezTo>
                    <a:pt x="580" y="664"/>
                    <a:pt x="593" y="665"/>
                    <a:pt x="592" y="658"/>
                  </a:cubicBezTo>
                  <a:cubicBezTo>
                    <a:pt x="590" y="651"/>
                    <a:pt x="590" y="642"/>
                    <a:pt x="590" y="639"/>
                  </a:cubicBezTo>
                  <a:cubicBezTo>
                    <a:pt x="590" y="637"/>
                    <a:pt x="604" y="638"/>
                    <a:pt x="605" y="637"/>
                  </a:cubicBezTo>
                  <a:cubicBezTo>
                    <a:pt x="605" y="635"/>
                    <a:pt x="610" y="624"/>
                    <a:pt x="610" y="624"/>
                  </a:cubicBezTo>
                  <a:cubicBezTo>
                    <a:pt x="609" y="615"/>
                    <a:pt x="609" y="615"/>
                    <a:pt x="609" y="615"/>
                  </a:cubicBezTo>
                  <a:cubicBezTo>
                    <a:pt x="658" y="617"/>
                    <a:pt x="658" y="617"/>
                    <a:pt x="658" y="617"/>
                  </a:cubicBezTo>
                  <a:cubicBezTo>
                    <a:pt x="658" y="617"/>
                    <a:pt x="663" y="635"/>
                    <a:pt x="669" y="635"/>
                  </a:cubicBezTo>
                  <a:cubicBezTo>
                    <a:pt x="675" y="636"/>
                    <a:pt x="679" y="643"/>
                    <a:pt x="679" y="643"/>
                  </a:cubicBezTo>
                  <a:cubicBezTo>
                    <a:pt x="690" y="643"/>
                    <a:pt x="690" y="643"/>
                    <a:pt x="690" y="643"/>
                  </a:cubicBezTo>
                  <a:cubicBezTo>
                    <a:pt x="691" y="657"/>
                    <a:pt x="691" y="657"/>
                    <a:pt x="691" y="657"/>
                  </a:cubicBezTo>
                  <a:cubicBezTo>
                    <a:pt x="697" y="655"/>
                    <a:pt x="697" y="655"/>
                    <a:pt x="697" y="655"/>
                  </a:cubicBezTo>
                  <a:cubicBezTo>
                    <a:pt x="697" y="655"/>
                    <a:pt x="702" y="665"/>
                    <a:pt x="708" y="667"/>
                  </a:cubicBezTo>
                  <a:cubicBezTo>
                    <a:pt x="715" y="670"/>
                    <a:pt x="726" y="662"/>
                    <a:pt x="726" y="662"/>
                  </a:cubicBezTo>
                  <a:cubicBezTo>
                    <a:pt x="726" y="662"/>
                    <a:pt x="730" y="665"/>
                    <a:pt x="736" y="669"/>
                  </a:cubicBezTo>
                  <a:cubicBezTo>
                    <a:pt x="923" y="666"/>
                    <a:pt x="923" y="666"/>
                    <a:pt x="923" y="666"/>
                  </a:cubicBezTo>
                  <a:cubicBezTo>
                    <a:pt x="934" y="661"/>
                    <a:pt x="934" y="661"/>
                    <a:pt x="934" y="661"/>
                  </a:cubicBezTo>
                  <a:cubicBezTo>
                    <a:pt x="934" y="661"/>
                    <a:pt x="923" y="659"/>
                    <a:pt x="926" y="651"/>
                  </a:cubicBezTo>
                  <a:cubicBezTo>
                    <a:pt x="930" y="643"/>
                    <a:pt x="933" y="642"/>
                    <a:pt x="934" y="631"/>
                  </a:cubicBezTo>
                  <a:cubicBezTo>
                    <a:pt x="934" y="621"/>
                    <a:pt x="930" y="611"/>
                    <a:pt x="930" y="611"/>
                  </a:cubicBezTo>
                  <a:cubicBezTo>
                    <a:pt x="942" y="600"/>
                    <a:pt x="942" y="600"/>
                    <a:pt x="942" y="600"/>
                  </a:cubicBezTo>
                  <a:cubicBezTo>
                    <a:pt x="942" y="600"/>
                    <a:pt x="934" y="577"/>
                    <a:pt x="942" y="579"/>
                  </a:cubicBezTo>
                  <a:cubicBezTo>
                    <a:pt x="943" y="580"/>
                    <a:pt x="943" y="580"/>
                    <a:pt x="944" y="580"/>
                  </a:cubicBezTo>
                  <a:cubicBezTo>
                    <a:pt x="944" y="578"/>
                    <a:pt x="943" y="576"/>
                    <a:pt x="943" y="575"/>
                  </a:cubicBezTo>
                  <a:cubicBezTo>
                    <a:pt x="941" y="566"/>
                    <a:pt x="922" y="553"/>
                    <a:pt x="922" y="540"/>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19" name="Freeform 321">
              <a:extLst>
                <a:ext uri="{FF2B5EF4-FFF2-40B4-BE49-F238E27FC236}">
                  <a16:creationId xmlns:a16="http://schemas.microsoft.com/office/drawing/2014/main" id="{1FC7DE6E-9501-48C9-A6AC-3F68FA3ED57D}"/>
                </a:ext>
              </a:extLst>
            </p:cNvPr>
            <p:cNvSpPr>
              <a:spLocks noChangeAspect="1"/>
            </p:cNvSpPr>
            <p:nvPr/>
          </p:nvSpPr>
          <p:spPr bwMode="auto">
            <a:xfrm>
              <a:off x="11209" y="200"/>
              <a:ext cx="721" cy="825"/>
            </a:xfrm>
            <a:custGeom>
              <a:avLst/>
              <a:gdLst/>
              <a:ahLst/>
              <a:cxnLst>
                <a:cxn ang="0">
                  <a:pos x="304" y="204"/>
                </a:cxn>
                <a:cxn ang="0">
                  <a:pos x="307" y="182"/>
                </a:cxn>
                <a:cxn ang="0">
                  <a:pos x="305" y="111"/>
                </a:cxn>
                <a:cxn ang="0">
                  <a:pos x="321" y="79"/>
                </a:cxn>
                <a:cxn ang="0">
                  <a:pos x="308" y="49"/>
                </a:cxn>
                <a:cxn ang="0">
                  <a:pos x="279" y="39"/>
                </a:cxn>
                <a:cxn ang="0">
                  <a:pos x="282" y="1"/>
                </a:cxn>
                <a:cxn ang="0">
                  <a:pos x="256" y="22"/>
                </a:cxn>
                <a:cxn ang="0">
                  <a:pos x="227" y="47"/>
                </a:cxn>
                <a:cxn ang="0">
                  <a:pos x="205" y="50"/>
                </a:cxn>
                <a:cxn ang="0">
                  <a:pos x="186" y="61"/>
                </a:cxn>
                <a:cxn ang="0">
                  <a:pos x="168" y="66"/>
                </a:cxn>
                <a:cxn ang="0">
                  <a:pos x="149" y="66"/>
                </a:cxn>
                <a:cxn ang="0">
                  <a:pos x="125" y="78"/>
                </a:cxn>
                <a:cxn ang="0">
                  <a:pos x="107" y="90"/>
                </a:cxn>
                <a:cxn ang="0">
                  <a:pos x="81" y="87"/>
                </a:cxn>
                <a:cxn ang="0">
                  <a:pos x="53" y="84"/>
                </a:cxn>
                <a:cxn ang="0">
                  <a:pos x="25" y="66"/>
                </a:cxn>
                <a:cxn ang="0">
                  <a:pos x="0" y="60"/>
                </a:cxn>
                <a:cxn ang="0">
                  <a:pos x="41" y="101"/>
                </a:cxn>
                <a:cxn ang="0">
                  <a:pos x="38" y="130"/>
                </a:cxn>
                <a:cxn ang="0">
                  <a:pos x="49" y="163"/>
                </a:cxn>
                <a:cxn ang="0">
                  <a:pos x="85" y="172"/>
                </a:cxn>
                <a:cxn ang="0">
                  <a:pos x="87" y="185"/>
                </a:cxn>
                <a:cxn ang="0">
                  <a:pos x="131" y="199"/>
                </a:cxn>
                <a:cxn ang="0">
                  <a:pos x="134" y="235"/>
                </a:cxn>
                <a:cxn ang="0">
                  <a:pos x="145" y="268"/>
                </a:cxn>
                <a:cxn ang="0">
                  <a:pos x="150" y="319"/>
                </a:cxn>
                <a:cxn ang="0">
                  <a:pos x="150" y="350"/>
                </a:cxn>
                <a:cxn ang="0">
                  <a:pos x="140" y="360"/>
                </a:cxn>
                <a:cxn ang="0">
                  <a:pos x="179" y="404"/>
                </a:cxn>
                <a:cxn ang="0">
                  <a:pos x="206" y="412"/>
                </a:cxn>
                <a:cxn ang="0">
                  <a:pos x="196" y="383"/>
                </a:cxn>
                <a:cxn ang="0">
                  <a:pos x="202" y="360"/>
                </a:cxn>
                <a:cxn ang="0">
                  <a:pos x="254" y="372"/>
                </a:cxn>
                <a:cxn ang="0">
                  <a:pos x="277" y="361"/>
                </a:cxn>
                <a:cxn ang="0">
                  <a:pos x="268" y="342"/>
                </a:cxn>
                <a:cxn ang="0">
                  <a:pos x="275" y="323"/>
                </a:cxn>
                <a:cxn ang="0">
                  <a:pos x="357" y="303"/>
                </a:cxn>
                <a:cxn ang="0">
                  <a:pos x="359" y="244"/>
                </a:cxn>
              </a:cxnLst>
              <a:rect l="0" t="0" r="r" b="b"/>
              <a:pathLst>
                <a:path w="359" h="412">
                  <a:moveTo>
                    <a:pt x="359" y="244"/>
                  </a:moveTo>
                  <a:cubicBezTo>
                    <a:pt x="343" y="237"/>
                    <a:pt x="304" y="204"/>
                    <a:pt x="304" y="204"/>
                  </a:cubicBezTo>
                  <a:cubicBezTo>
                    <a:pt x="307" y="201"/>
                    <a:pt x="307" y="201"/>
                    <a:pt x="307" y="201"/>
                  </a:cubicBezTo>
                  <a:cubicBezTo>
                    <a:pt x="307" y="201"/>
                    <a:pt x="309" y="182"/>
                    <a:pt x="307" y="182"/>
                  </a:cubicBezTo>
                  <a:cubicBezTo>
                    <a:pt x="305" y="182"/>
                    <a:pt x="291" y="161"/>
                    <a:pt x="291" y="147"/>
                  </a:cubicBezTo>
                  <a:cubicBezTo>
                    <a:pt x="291" y="132"/>
                    <a:pt x="303" y="116"/>
                    <a:pt x="305" y="111"/>
                  </a:cubicBezTo>
                  <a:cubicBezTo>
                    <a:pt x="307" y="106"/>
                    <a:pt x="299" y="101"/>
                    <a:pt x="299" y="101"/>
                  </a:cubicBezTo>
                  <a:cubicBezTo>
                    <a:pt x="321" y="79"/>
                    <a:pt x="321" y="79"/>
                    <a:pt x="321" y="79"/>
                  </a:cubicBezTo>
                  <a:cubicBezTo>
                    <a:pt x="308" y="66"/>
                    <a:pt x="308" y="66"/>
                    <a:pt x="308" y="66"/>
                  </a:cubicBezTo>
                  <a:cubicBezTo>
                    <a:pt x="308" y="66"/>
                    <a:pt x="312" y="58"/>
                    <a:pt x="308" y="49"/>
                  </a:cubicBezTo>
                  <a:cubicBezTo>
                    <a:pt x="303" y="39"/>
                    <a:pt x="283" y="47"/>
                    <a:pt x="283" y="47"/>
                  </a:cubicBezTo>
                  <a:cubicBezTo>
                    <a:pt x="279" y="39"/>
                    <a:pt x="279" y="39"/>
                    <a:pt x="279" y="39"/>
                  </a:cubicBezTo>
                  <a:cubicBezTo>
                    <a:pt x="279" y="39"/>
                    <a:pt x="290" y="28"/>
                    <a:pt x="290" y="21"/>
                  </a:cubicBezTo>
                  <a:cubicBezTo>
                    <a:pt x="290" y="14"/>
                    <a:pt x="283" y="2"/>
                    <a:pt x="282" y="1"/>
                  </a:cubicBezTo>
                  <a:cubicBezTo>
                    <a:pt x="281" y="1"/>
                    <a:pt x="248" y="0"/>
                    <a:pt x="246" y="0"/>
                  </a:cubicBezTo>
                  <a:cubicBezTo>
                    <a:pt x="245" y="0"/>
                    <a:pt x="259" y="11"/>
                    <a:pt x="256" y="22"/>
                  </a:cubicBezTo>
                  <a:cubicBezTo>
                    <a:pt x="253" y="33"/>
                    <a:pt x="235" y="34"/>
                    <a:pt x="235" y="34"/>
                  </a:cubicBezTo>
                  <a:cubicBezTo>
                    <a:pt x="235" y="34"/>
                    <a:pt x="236" y="46"/>
                    <a:pt x="227" y="47"/>
                  </a:cubicBezTo>
                  <a:cubicBezTo>
                    <a:pt x="217" y="48"/>
                    <a:pt x="216" y="39"/>
                    <a:pt x="216" y="39"/>
                  </a:cubicBezTo>
                  <a:cubicBezTo>
                    <a:pt x="205" y="50"/>
                    <a:pt x="205" y="50"/>
                    <a:pt x="205" y="50"/>
                  </a:cubicBezTo>
                  <a:cubicBezTo>
                    <a:pt x="205" y="50"/>
                    <a:pt x="197" y="62"/>
                    <a:pt x="197" y="63"/>
                  </a:cubicBezTo>
                  <a:cubicBezTo>
                    <a:pt x="197" y="63"/>
                    <a:pt x="186" y="61"/>
                    <a:pt x="186" y="61"/>
                  </a:cubicBezTo>
                  <a:cubicBezTo>
                    <a:pt x="178" y="71"/>
                    <a:pt x="178" y="71"/>
                    <a:pt x="178" y="71"/>
                  </a:cubicBezTo>
                  <a:cubicBezTo>
                    <a:pt x="168" y="66"/>
                    <a:pt x="168" y="66"/>
                    <a:pt x="168" y="66"/>
                  </a:cubicBezTo>
                  <a:cubicBezTo>
                    <a:pt x="168" y="66"/>
                    <a:pt x="164" y="72"/>
                    <a:pt x="160" y="72"/>
                  </a:cubicBezTo>
                  <a:cubicBezTo>
                    <a:pt x="156" y="72"/>
                    <a:pt x="149" y="66"/>
                    <a:pt x="149" y="66"/>
                  </a:cubicBezTo>
                  <a:cubicBezTo>
                    <a:pt x="149" y="66"/>
                    <a:pt x="144" y="69"/>
                    <a:pt x="142" y="73"/>
                  </a:cubicBezTo>
                  <a:cubicBezTo>
                    <a:pt x="140" y="77"/>
                    <a:pt x="124" y="74"/>
                    <a:pt x="125" y="78"/>
                  </a:cubicBezTo>
                  <a:cubicBezTo>
                    <a:pt x="125" y="82"/>
                    <a:pt x="119" y="99"/>
                    <a:pt x="113" y="99"/>
                  </a:cubicBezTo>
                  <a:cubicBezTo>
                    <a:pt x="107" y="99"/>
                    <a:pt x="107" y="90"/>
                    <a:pt x="107" y="90"/>
                  </a:cubicBezTo>
                  <a:cubicBezTo>
                    <a:pt x="91" y="78"/>
                    <a:pt x="91" y="78"/>
                    <a:pt x="91" y="78"/>
                  </a:cubicBezTo>
                  <a:cubicBezTo>
                    <a:pt x="81" y="87"/>
                    <a:pt x="81" y="87"/>
                    <a:pt x="81" y="87"/>
                  </a:cubicBezTo>
                  <a:cubicBezTo>
                    <a:pt x="69" y="79"/>
                    <a:pt x="69" y="79"/>
                    <a:pt x="69" y="79"/>
                  </a:cubicBezTo>
                  <a:cubicBezTo>
                    <a:pt x="53" y="84"/>
                    <a:pt x="53" y="84"/>
                    <a:pt x="53" y="84"/>
                  </a:cubicBezTo>
                  <a:cubicBezTo>
                    <a:pt x="53" y="84"/>
                    <a:pt x="34" y="68"/>
                    <a:pt x="32" y="69"/>
                  </a:cubicBezTo>
                  <a:cubicBezTo>
                    <a:pt x="29" y="70"/>
                    <a:pt x="25" y="66"/>
                    <a:pt x="25" y="66"/>
                  </a:cubicBezTo>
                  <a:cubicBezTo>
                    <a:pt x="21" y="73"/>
                    <a:pt x="21" y="73"/>
                    <a:pt x="21" y="73"/>
                  </a:cubicBezTo>
                  <a:cubicBezTo>
                    <a:pt x="0" y="60"/>
                    <a:pt x="0" y="60"/>
                    <a:pt x="0" y="60"/>
                  </a:cubicBezTo>
                  <a:cubicBezTo>
                    <a:pt x="0" y="60"/>
                    <a:pt x="16" y="89"/>
                    <a:pt x="26" y="91"/>
                  </a:cubicBezTo>
                  <a:cubicBezTo>
                    <a:pt x="35" y="93"/>
                    <a:pt x="41" y="101"/>
                    <a:pt x="41" y="101"/>
                  </a:cubicBezTo>
                  <a:cubicBezTo>
                    <a:pt x="35" y="112"/>
                    <a:pt x="35" y="112"/>
                    <a:pt x="35" y="112"/>
                  </a:cubicBezTo>
                  <a:cubicBezTo>
                    <a:pt x="35" y="112"/>
                    <a:pt x="38" y="129"/>
                    <a:pt x="38" y="130"/>
                  </a:cubicBezTo>
                  <a:cubicBezTo>
                    <a:pt x="38" y="131"/>
                    <a:pt x="45" y="142"/>
                    <a:pt x="50" y="148"/>
                  </a:cubicBezTo>
                  <a:cubicBezTo>
                    <a:pt x="56" y="154"/>
                    <a:pt x="49" y="157"/>
                    <a:pt x="49" y="163"/>
                  </a:cubicBezTo>
                  <a:cubicBezTo>
                    <a:pt x="50" y="170"/>
                    <a:pt x="64" y="173"/>
                    <a:pt x="64" y="173"/>
                  </a:cubicBezTo>
                  <a:cubicBezTo>
                    <a:pt x="85" y="172"/>
                    <a:pt x="85" y="172"/>
                    <a:pt x="85" y="172"/>
                  </a:cubicBezTo>
                  <a:cubicBezTo>
                    <a:pt x="88" y="185"/>
                    <a:pt x="88" y="185"/>
                    <a:pt x="88" y="185"/>
                  </a:cubicBezTo>
                  <a:cubicBezTo>
                    <a:pt x="87" y="185"/>
                    <a:pt x="87" y="185"/>
                    <a:pt x="87" y="185"/>
                  </a:cubicBezTo>
                  <a:cubicBezTo>
                    <a:pt x="108" y="194"/>
                    <a:pt x="108" y="194"/>
                    <a:pt x="108" y="194"/>
                  </a:cubicBezTo>
                  <a:cubicBezTo>
                    <a:pt x="131" y="199"/>
                    <a:pt x="131" y="199"/>
                    <a:pt x="131" y="199"/>
                  </a:cubicBezTo>
                  <a:cubicBezTo>
                    <a:pt x="123" y="222"/>
                    <a:pt x="123" y="222"/>
                    <a:pt x="123" y="222"/>
                  </a:cubicBezTo>
                  <a:cubicBezTo>
                    <a:pt x="134" y="235"/>
                    <a:pt x="134" y="235"/>
                    <a:pt x="134" y="235"/>
                  </a:cubicBezTo>
                  <a:cubicBezTo>
                    <a:pt x="141" y="253"/>
                    <a:pt x="141" y="253"/>
                    <a:pt x="141" y="253"/>
                  </a:cubicBezTo>
                  <a:cubicBezTo>
                    <a:pt x="145" y="268"/>
                    <a:pt x="145" y="268"/>
                    <a:pt x="145" y="268"/>
                  </a:cubicBezTo>
                  <a:cubicBezTo>
                    <a:pt x="145" y="268"/>
                    <a:pt x="137" y="265"/>
                    <a:pt x="139" y="281"/>
                  </a:cubicBezTo>
                  <a:cubicBezTo>
                    <a:pt x="140" y="297"/>
                    <a:pt x="150" y="319"/>
                    <a:pt x="150" y="319"/>
                  </a:cubicBezTo>
                  <a:cubicBezTo>
                    <a:pt x="159" y="337"/>
                    <a:pt x="159" y="337"/>
                    <a:pt x="159" y="337"/>
                  </a:cubicBezTo>
                  <a:cubicBezTo>
                    <a:pt x="150" y="350"/>
                    <a:pt x="150" y="350"/>
                    <a:pt x="150" y="350"/>
                  </a:cubicBezTo>
                  <a:cubicBezTo>
                    <a:pt x="150" y="350"/>
                    <a:pt x="157" y="358"/>
                    <a:pt x="154" y="360"/>
                  </a:cubicBezTo>
                  <a:cubicBezTo>
                    <a:pt x="151" y="361"/>
                    <a:pt x="140" y="360"/>
                    <a:pt x="140" y="360"/>
                  </a:cubicBezTo>
                  <a:cubicBezTo>
                    <a:pt x="140" y="360"/>
                    <a:pt x="153" y="368"/>
                    <a:pt x="162" y="381"/>
                  </a:cubicBezTo>
                  <a:cubicBezTo>
                    <a:pt x="171" y="394"/>
                    <a:pt x="179" y="404"/>
                    <a:pt x="179" y="404"/>
                  </a:cubicBezTo>
                  <a:cubicBezTo>
                    <a:pt x="198" y="412"/>
                    <a:pt x="198" y="412"/>
                    <a:pt x="198" y="412"/>
                  </a:cubicBezTo>
                  <a:cubicBezTo>
                    <a:pt x="206" y="412"/>
                    <a:pt x="206" y="412"/>
                    <a:pt x="206" y="412"/>
                  </a:cubicBezTo>
                  <a:cubicBezTo>
                    <a:pt x="206" y="412"/>
                    <a:pt x="195" y="403"/>
                    <a:pt x="195" y="399"/>
                  </a:cubicBezTo>
                  <a:cubicBezTo>
                    <a:pt x="195" y="394"/>
                    <a:pt x="196" y="383"/>
                    <a:pt x="196" y="383"/>
                  </a:cubicBezTo>
                  <a:cubicBezTo>
                    <a:pt x="194" y="372"/>
                    <a:pt x="194" y="372"/>
                    <a:pt x="194" y="372"/>
                  </a:cubicBezTo>
                  <a:cubicBezTo>
                    <a:pt x="202" y="360"/>
                    <a:pt x="202" y="360"/>
                    <a:pt x="202" y="360"/>
                  </a:cubicBezTo>
                  <a:cubicBezTo>
                    <a:pt x="219" y="346"/>
                    <a:pt x="219" y="346"/>
                    <a:pt x="219" y="346"/>
                  </a:cubicBezTo>
                  <a:cubicBezTo>
                    <a:pt x="254" y="372"/>
                    <a:pt x="254" y="372"/>
                    <a:pt x="254" y="372"/>
                  </a:cubicBezTo>
                  <a:cubicBezTo>
                    <a:pt x="261" y="364"/>
                    <a:pt x="261" y="364"/>
                    <a:pt x="261" y="364"/>
                  </a:cubicBezTo>
                  <a:cubicBezTo>
                    <a:pt x="261" y="364"/>
                    <a:pt x="278" y="367"/>
                    <a:pt x="277" y="361"/>
                  </a:cubicBezTo>
                  <a:cubicBezTo>
                    <a:pt x="277" y="355"/>
                    <a:pt x="268" y="353"/>
                    <a:pt x="268" y="353"/>
                  </a:cubicBezTo>
                  <a:cubicBezTo>
                    <a:pt x="268" y="353"/>
                    <a:pt x="267" y="343"/>
                    <a:pt x="268" y="342"/>
                  </a:cubicBezTo>
                  <a:cubicBezTo>
                    <a:pt x="268" y="340"/>
                    <a:pt x="275" y="337"/>
                    <a:pt x="275" y="337"/>
                  </a:cubicBezTo>
                  <a:cubicBezTo>
                    <a:pt x="275" y="337"/>
                    <a:pt x="272" y="326"/>
                    <a:pt x="275" y="323"/>
                  </a:cubicBezTo>
                  <a:cubicBezTo>
                    <a:pt x="279" y="321"/>
                    <a:pt x="287" y="304"/>
                    <a:pt x="287" y="304"/>
                  </a:cubicBezTo>
                  <a:cubicBezTo>
                    <a:pt x="357" y="303"/>
                    <a:pt x="357" y="303"/>
                    <a:pt x="357" y="303"/>
                  </a:cubicBezTo>
                  <a:cubicBezTo>
                    <a:pt x="358" y="296"/>
                    <a:pt x="359" y="284"/>
                    <a:pt x="359" y="265"/>
                  </a:cubicBezTo>
                  <a:cubicBezTo>
                    <a:pt x="359" y="258"/>
                    <a:pt x="359" y="251"/>
                    <a:pt x="359" y="24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0" name="Freeform 322">
              <a:extLst>
                <a:ext uri="{FF2B5EF4-FFF2-40B4-BE49-F238E27FC236}">
                  <a16:creationId xmlns:a16="http://schemas.microsoft.com/office/drawing/2014/main" id="{44689272-4580-4A1E-804E-92CBAD90781A}"/>
                </a:ext>
              </a:extLst>
            </p:cNvPr>
            <p:cNvSpPr>
              <a:spLocks noChangeAspect="1"/>
            </p:cNvSpPr>
            <p:nvPr/>
          </p:nvSpPr>
          <p:spPr bwMode="auto">
            <a:xfrm>
              <a:off x="12414" y="297"/>
              <a:ext cx="610" cy="687"/>
            </a:xfrm>
            <a:custGeom>
              <a:avLst/>
              <a:gdLst/>
              <a:ahLst/>
              <a:cxnLst>
                <a:cxn ang="0">
                  <a:pos x="3" y="146"/>
                </a:cxn>
                <a:cxn ang="0">
                  <a:pos x="4" y="148"/>
                </a:cxn>
                <a:cxn ang="0">
                  <a:pos x="5" y="163"/>
                </a:cxn>
                <a:cxn ang="0">
                  <a:pos x="35" y="162"/>
                </a:cxn>
                <a:cxn ang="0">
                  <a:pos x="62" y="186"/>
                </a:cxn>
                <a:cxn ang="0">
                  <a:pos x="74" y="185"/>
                </a:cxn>
                <a:cxn ang="0">
                  <a:pos x="91" y="197"/>
                </a:cxn>
                <a:cxn ang="0">
                  <a:pos x="85" y="206"/>
                </a:cxn>
                <a:cxn ang="0">
                  <a:pos x="108" y="233"/>
                </a:cxn>
                <a:cxn ang="0">
                  <a:pos x="101" y="242"/>
                </a:cxn>
                <a:cxn ang="0">
                  <a:pos x="106" y="249"/>
                </a:cxn>
                <a:cxn ang="0">
                  <a:pos x="106" y="257"/>
                </a:cxn>
                <a:cxn ang="0">
                  <a:pos x="114" y="263"/>
                </a:cxn>
                <a:cxn ang="0">
                  <a:pos x="115" y="281"/>
                </a:cxn>
                <a:cxn ang="0">
                  <a:pos x="127" y="284"/>
                </a:cxn>
                <a:cxn ang="0">
                  <a:pos x="133" y="301"/>
                </a:cxn>
                <a:cxn ang="0">
                  <a:pos x="144" y="306"/>
                </a:cxn>
                <a:cxn ang="0">
                  <a:pos x="143" y="318"/>
                </a:cxn>
                <a:cxn ang="0">
                  <a:pos x="147" y="320"/>
                </a:cxn>
                <a:cxn ang="0">
                  <a:pos x="147" y="336"/>
                </a:cxn>
                <a:cxn ang="0">
                  <a:pos x="171" y="343"/>
                </a:cxn>
                <a:cxn ang="0">
                  <a:pos x="175" y="337"/>
                </a:cxn>
                <a:cxn ang="0">
                  <a:pos x="192" y="336"/>
                </a:cxn>
                <a:cxn ang="0">
                  <a:pos x="190" y="317"/>
                </a:cxn>
                <a:cxn ang="0">
                  <a:pos x="198" y="309"/>
                </a:cxn>
                <a:cxn ang="0">
                  <a:pos x="199" y="300"/>
                </a:cxn>
                <a:cxn ang="0">
                  <a:pos x="208" y="302"/>
                </a:cxn>
                <a:cxn ang="0">
                  <a:pos x="219" y="283"/>
                </a:cxn>
                <a:cxn ang="0">
                  <a:pos x="219" y="275"/>
                </a:cxn>
                <a:cxn ang="0">
                  <a:pos x="232" y="273"/>
                </a:cxn>
                <a:cxn ang="0">
                  <a:pos x="248" y="261"/>
                </a:cxn>
                <a:cxn ang="0">
                  <a:pos x="259" y="256"/>
                </a:cxn>
                <a:cxn ang="0">
                  <a:pos x="265" y="242"/>
                </a:cxn>
                <a:cxn ang="0">
                  <a:pos x="271" y="224"/>
                </a:cxn>
                <a:cxn ang="0">
                  <a:pos x="286" y="224"/>
                </a:cxn>
                <a:cxn ang="0">
                  <a:pos x="304" y="197"/>
                </a:cxn>
                <a:cxn ang="0">
                  <a:pos x="300" y="170"/>
                </a:cxn>
                <a:cxn ang="0">
                  <a:pos x="279" y="156"/>
                </a:cxn>
                <a:cxn ang="0">
                  <a:pos x="269" y="136"/>
                </a:cxn>
                <a:cxn ang="0">
                  <a:pos x="253" y="139"/>
                </a:cxn>
                <a:cxn ang="0">
                  <a:pos x="234" y="90"/>
                </a:cxn>
                <a:cxn ang="0">
                  <a:pos x="230" y="32"/>
                </a:cxn>
                <a:cxn ang="0">
                  <a:pos x="221" y="30"/>
                </a:cxn>
                <a:cxn ang="0">
                  <a:pos x="221" y="19"/>
                </a:cxn>
                <a:cxn ang="0">
                  <a:pos x="203" y="0"/>
                </a:cxn>
                <a:cxn ang="0">
                  <a:pos x="198" y="20"/>
                </a:cxn>
                <a:cxn ang="0">
                  <a:pos x="152" y="77"/>
                </a:cxn>
                <a:cxn ang="0">
                  <a:pos x="142" y="113"/>
                </a:cxn>
                <a:cxn ang="0">
                  <a:pos x="116" y="137"/>
                </a:cxn>
                <a:cxn ang="0">
                  <a:pos x="94" y="127"/>
                </a:cxn>
                <a:cxn ang="0">
                  <a:pos x="86" y="133"/>
                </a:cxn>
                <a:cxn ang="0">
                  <a:pos x="66" y="123"/>
                </a:cxn>
                <a:cxn ang="0">
                  <a:pos x="40" y="138"/>
                </a:cxn>
                <a:cxn ang="0">
                  <a:pos x="12" y="122"/>
                </a:cxn>
                <a:cxn ang="0">
                  <a:pos x="0" y="117"/>
                </a:cxn>
                <a:cxn ang="0">
                  <a:pos x="7" y="135"/>
                </a:cxn>
                <a:cxn ang="0">
                  <a:pos x="3" y="146"/>
                </a:cxn>
              </a:cxnLst>
              <a:rect l="0" t="0" r="r" b="b"/>
              <a:pathLst>
                <a:path w="304" h="343">
                  <a:moveTo>
                    <a:pt x="3" y="146"/>
                  </a:moveTo>
                  <a:cubicBezTo>
                    <a:pt x="4" y="148"/>
                    <a:pt x="4" y="148"/>
                    <a:pt x="4" y="148"/>
                  </a:cubicBezTo>
                  <a:cubicBezTo>
                    <a:pt x="5" y="163"/>
                    <a:pt x="5" y="163"/>
                    <a:pt x="5" y="163"/>
                  </a:cubicBezTo>
                  <a:cubicBezTo>
                    <a:pt x="35" y="162"/>
                    <a:pt x="35" y="162"/>
                    <a:pt x="35" y="162"/>
                  </a:cubicBezTo>
                  <a:cubicBezTo>
                    <a:pt x="62" y="186"/>
                    <a:pt x="62" y="186"/>
                    <a:pt x="62" y="186"/>
                  </a:cubicBezTo>
                  <a:cubicBezTo>
                    <a:pt x="74" y="185"/>
                    <a:pt x="74" y="185"/>
                    <a:pt x="74" y="185"/>
                  </a:cubicBezTo>
                  <a:cubicBezTo>
                    <a:pt x="91" y="197"/>
                    <a:pt x="91" y="197"/>
                    <a:pt x="91" y="197"/>
                  </a:cubicBezTo>
                  <a:cubicBezTo>
                    <a:pt x="85" y="206"/>
                    <a:pt x="85" y="206"/>
                    <a:pt x="85" y="206"/>
                  </a:cubicBezTo>
                  <a:cubicBezTo>
                    <a:pt x="108" y="233"/>
                    <a:pt x="108" y="233"/>
                    <a:pt x="108" y="233"/>
                  </a:cubicBezTo>
                  <a:cubicBezTo>
                    <a:pt x="101" y="242"/>
                    <a:pt x="101" y="242"/>
                    <a:pt x="101" y="242"/>
                  </a:cubicBezTo>
                  <a:cubicBezTo>
                    <a:pt x="106" y="249"/>
                    <a:pt x="106" y="249"/>
                    <a:pt x="106" y="249"/>
                  </a:cubicBezTo>
                  <a:cubicBezTo>
                    <a:pt x="106" y="257"/>
                    <a:pt x="106" y="257"/>
                    <a:pt x="106" y="257"/>
                  </a:cubicBezTo>
                  <a:cubicBezTo>
                    <a:pt x="114" y="263"/>
                    <a:pt x="114" y="263"/>
                    <a:pt x="114" y="263"/>
                  </a:cubicBezTo>
                  <a:cubicBezTo>
                    <a:pt x="115" y="281"/>
                    <a:pt x="115" y="281"/>
                    <a:pt x="115" y="281"/>
                  </a:cubicBezTo>
                  <a:cubicBezTo>
                    <a:pt x="115" y="281"/>
                    <a:pt x="121" y="276"/>
                    <a:pt x="127" y="284"/>
                  </a:cubicBezTo>
                  <a:cubicBezTo>
                    <a:pt x="132" y="292"/>
                    <a:pt x="127" y="297"/>
                    <a:pt x="133" y="301"/>
                  </a:cubicBezTo>
                  <a:cubicBezTo>
                    <a:pt x="139" y="305"/>
                    <a:pt x="144" y="306"/>
                    <a:pt x="144" y="306"/>
                  </a:cubicBezTo>
                  <a:cubicBezTo>
                    <a:pt x="143" y="318"/>
                    <a:pt x="143" y="318"/>
                    <a:pt x="143" y="318"/>
                  </a:cubicBezTo>
                  <a:cubicBezTo>
                    <a:pt x="147" y="320"/>
                    <a:pt x="147" y="320"/>
                    <a:pt x="147" y="320"/>
                  </a:cubicBezTo>
                  <a:cubicBezTo>
                    <a:pt x="147" y="336"/>
                    <a:pt x="147" y="336"/>
                    <a:pt x="147" y="336"/>
                  </a:cubicBezTo>
                  <a:cubicBezTo>
                    <a:pt x="171" y="343"/>
                    <a:pt x="171" y="343"/>
                    <a:pt x="171" y="343"/>
                  </a:cubicBezTo>
                  <a:cubicBezTo>
                    <a:pt x="171" y="343"/>
                    <a:pt x="173" y="337"/>
                    <a:pt x="175" y="337"/>
                  </a:cubicBezTo>
                  <a:cubicBezTo>
                    <a:pt x="177" y="337"/>
                    <a:pt x="192" y="336"/>
                    <a:pt x="192" y="336"/>
                  </a:cubicBezTo>
                  <a:cubicBezTo>
                    <a:pt x="190" y="317"/>
                    <a:pt x="190" y="317"/>
                    <a:pt x="190" y="317"/>
                  </a:cubicBezTo>
                  <a:cubicBezTo>
                    <a:pt x="190" y="317"/>
                    <a:pt x="198" y="316"/>
                    <a:pt x="198" y="309"/>
                  </a:cubicBezTo>
                  <a:cubicBezTo>
                    <a:pt x="199" y="302"/>
                    <a:pt x="199" y="300"/>
                    <a:pt x="199" y="300"/>
                  </a:cubicBezTo>
                  <a:cubicBezTo>
                    <a:pt x="208" y="302"/>
                    <a:pt x="208" y="302"/>
                    <a:pt x="208" y="302"/>
                  </a:cubicBezTo>
                  <a:cubicBezTo>
                    <a:pt x="219" y="283"/>
                    <a:pt x="219" y="283"/>
                    <a:pt x="219" y="283"/>
                  </a:cubicBezTo>
                  <a:cubicBezTo>
                    <a:pt x="219" y="275"/>
                    <a:pt x="219" y="275"/>
                    <a:pt x="219" y="275"/>
                  </a:cubicBezTo>
                  <a:cubicBezTo>
                    <a:pt x="232" y="273"/>
                    <a:pt x="232" y="273"/>
                    <a:pt x="232" y="273"/>
                  </a:cubicBezTo>
                  <a:cubicBezTo>
                    <a:pt x="232" y="273"/>
                    <a:pt x="239" y="262"/>
                    <a:pt x="248" y="261"/>
                  </a:cubicBezTo>
                  <a:cubicBezTo>
                    <a:pt x="256" y="260"/>
                    <a:pt x="259" y="256"/>
                    <a:pt x="259" y="256"/>
                  </a:cubicBezTo>
                  <a:cubicBezTo>
                    <a:pt x="265" y="242"/>
                    <a:pt x="265" y="242"/>
                    <a:pt x="265" y="242"/>
                  </a:cubicBezTo>
                  <a:cubicBezTo>
                    <a:pt x="265" y="242"/>
                    <a:pt x="257" y="224"/>
                    <a:pt x="271" y="224"/>
                  </a:cubicBezTo>
                  <a:cubicBezTo>
                    <a:pt x="276" y="224"/>
                    <a:pt x="281" y="224"/>
                    <a:pt x="286" y="224"/>
                  </a:cubicBezTo>
                  <a:cubicBezTo>
                    <a:pt x="304" y="197"/>
                    <a:pt x="304" y="197"/>
                    <a:pt x="304" y="197"/>
                  </a:cubicBezTo>
                  <a:cubicBezTo>
                    <a:pt x="304" y="197"/>
                    <a:pt x="302" y="179"/>
                    <a:pt x="300" y="170"/>
                  </a:cubicBezTo>
                  <a:cubicBezTo>
                    <a:pt x="298" y="161"/>
                    <a:pt x="285" y="159"/>
                    <a:pt x="279" y="156"/>
                  </a:cubicBezTo>
                  <a:cubicBezTo>
                    <a:pt x="273" y="154"/>
                    <a:pt x="276" y="143"/>
                    <a:pt x="269" y="136"/>
                  </a:cubicBezTo>
                  <a:cubicBezTo>
                    <a:pt x="263" y="129"/>
                    <a:pt x="259" y="140"/>
                    <a:pt x="253" y="139"/>
                  </a:cubicBezTo>
                  <a:cubicBezTo>
                    <a:pt x="248" y="138"/>
                    <a:pt x="235" y="96"/>
                    <a:pt x="234" y="90"/>
                  </a:cubicBezTo>
                  <a:cubicBezTo>
                    <a:pt x="234" y="84"/>
                    <a:pt x="230" y="32"/>
                    <a:pt x="230" y="32"/>
                  </a:cubicBezTo>
                  <a:cubicBezTo>
                    <a:pt x="221" y="30"/>
                    <a:pt x="221" y="30"/>
                    <a:pt x="221" y="30"/>
                  </a:cubicBezTo>
                  <a:cubicBezTo>
                    <a:pt x="221" y="19"/>
                    <a:pt x="221" y="19"/>
                    <a:pt x="221" y="19"/>
                  </a:cubicBezTo>
                  <a:cubicBezTo>
                    <a:pt x="203" y="0"/>
                    <a:pt x="203" y="0"/>
                    <a:pt x="203" y="0"/>
                  </a:cubicBezTo>
                  <a:cubicBezTo>
                    <a:pt x="203" y="0"/>
                    <a:pt x="198" y="18"/>
                    <a:pt x="198" y="20"/>
                  </a:cubicBezTo>
                  <a:cubicBezTo>
                    <a:pt x="198" y="22"/>
                    <a:pt x="152" y="77"/>
                    <a:pt x="152" y="77"/>
                  </a:cubicBezTo>
                  <a:cubicBezTo>
                    <a:pt x="152" y="77"/>
                    <a:pt x="150" y="100"/>
                    <a:pt x="142" y="113"/>
                  </a:cubicBezTo>
                  <a:cubicBezTo>
                    <a:pt x="134" y="126"/>
                    <a:pt x="122" y="132"/>
                    <a:pt x="116" y="137"/>
                  </a:cubicBezTo>
                  <a:cubicBezTo>
                    <a:pt x="109" y="143"/>
                    <a:pt x="94" y="127"/>
                    <a:pt x="94" y="127"/>
                  </a:cubicBezTo>
                  <a:cubicBezTo>
                    <a:pt x="86" y="133"/>
                    <a:pt x="86" y="133"/>
                    <a:pt x="86" y="133"/>
                  </a:cubicBezTo>
                  <a:cubicBezTo>
                    <a:pt x="66" y="123"/>
                    <a:pt x="66" y="123"/>
                    <a:pt x="66" y="123"/>
                  </a:cubicBezTo>
                  <a:cubicBezTo>
                    <a:pt x="66" y="123"/>
                    <a:pt x="57" y="137"/>
                    <a:pt x="40" y="138"/>
                  </a:cubicBezTo>
                  <a:cubicBezTo>
                    <a:pt x="23" y="139"/>
                    <a:pt x="12" y="122"/>
                    <a:pt x="12" y="122"/>
                  </a:cubicBezTo>
                  <a:cubicBezTo>
                    <a:pt x="12" y="122"/>
                    <a:pt x="6" y="119"/>
                    <a:pt x="0" y="117"/>
                  </a:cubicBezTo>
                  <a:cubicBezTo>
                    <a:pt x="7" y="135"/>
                    <a:pt x="7" y="135"/>
                    <a:pt x="7" y="135"/>
                  </a:cubicBezTo>
                  <a:lnTo>
                    <a:pt x="3" y="14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1" name="Freeform 325">
              <a:extLst>
                <a:ext uri="{FF2B5EF4-FFF2-40B4-BE49-F238E27FC236}">
                  <a16:creationId xmlns:a16="http://schemas.microsoft.com/office/drawing/2014/main" id="{A3827A83-DFE7-4B91-906D-2A3DBC4C3F3F}"/>
                </a:ext>
              </a:extLst>
            </p:cNvPr>
            <p:cNvSpPr>
              <a:spLocks noChangeAspect="1"/>
            </p:cNvSpPr>
            <p:nvPr/>
          </p:nvSpPr>
          <p:spPr bwMode="auto">
            <a:xfrm>
              <a:off x="11600" y="1719"/>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2" name="Freeform 326">
              <a:extLst>
                <a:ext uri="{FF2B5EF4-FFF2-40B4-BE49-F238E27FC236}">
                  <a16:creationId xmlns:a16="http://schemas.microsoft.com/office/drawing/2014/main" id="{74BF0D12-E666-4F0E-92AA-DAFAC94BCE3A}"/>
                </a:ext>
              </a:extLst>
            </p:cNvPr>
            <p:cNvSpPr>
              <a:spLocks noChangeAspect="1"/>
            </p:cNvSpPr>
            <p:nvPr/>
          </p:nvSpPr>
          <p:spPr bwMode="auto">
            <a:xfrm>
              <a:off x="12007" y="2911"/>
              <a:ext cx="890" cy="837"/>
            </a:xfrm>
            <a:custGeom>
              <a:avLst/>
              <a:gdLst/>
              <a:ahLst/>
              <a:cxnLst>
                <a:cxn ang="0">
                  <a:pos x="386" y="109"/>
                </a:cxn>
                <a:cxn ang="0">
                  <a:pos x="366" y="98"/>
                </a:cxn>
                <a:cxn ang="0">
                  <a:pos x="339" y="86"/>
                </a:cxn>
                <a:cxn ang="0">
                  <a:pos x="320" y="81"/>
                </a:cxn>
                <a:cxn ang="0">
                  <a:pos x="331" y="70"/>
                </a:cxn>
                <a:cxn ang="0">
                  <a:pos x="312" y="74"/>
                </a:cxn>
                <a:cxn ang="0">
                  <a:pos x="310" y="50"/>
                </a:cxn>
                <a:cxn ang="0">
                  <a:pos x="257" y="41"/>
                </a:cxn>
                <a:cxn ang="0">
                  <a:pos x="271" y="27"/>
                </a:cxn>
                <a:cxn ang="0">
                  <a:pos x="262" y="16"/>
                </a:cxn>
                <a:cxn ang="0">
                  <a:pos x="237" y="30"/>
                </a:cxn>
                <a:cxn ang="0">
                  <a:pos x="204" y="25"/>
                </a:cxn>
                <a:cxn ang="0">
                  <a:pos x="161" y="10"/>
                </a:cxn>
                <a:cxn ang="0">
                  <a:pos x="127" y="1"/>
                </a:cxn>
                <a:cxn ang="0">
                  <a:pos x="102" y="4"/>
                </a:cxn>
                <a:cxn ang="0">
                  <a:pos x="88" y="4"/>
                </a:cxn>
                <a:cxn ang="0">
                  <a:pos x="69" y="37"/>
                </a:cxn>
                <a:cxn ang="0">
                  <a:pos x="51" y="44"/>
                </a:cxn>
                <a:cxn ang="0">
                  <a:pos x="28" y="35"/>
                </a:cxn>
                <a:cxn ang="0">
                  <a:pos x="47" y="65"/>
                </a:cxn>
                <a:cxn ang="0">
                  <a:pos x="27" y="101"/>
                </a:cxn>
                <a:cxn ang="0">
                  <a:pos x="25" y="116"/>
                </a:cxn>
                <a:cxn ang="0">
                  <a:pos x="23" y="167"/>
                </a:cxn>
                <a:cxn ang="0">
                  <a:pos x="0" y="181"/>
                </a:cxn>
                <a:cxn ang="0">
                  <a:pos x="12" y="208"/>
                </a:cxn>
                <a:cxn ang="0">
                  <a:pos x="24" y="251"/>
                </a:cxn>
                <a:cxn ang="0">
                  <a:pos x="17" y="284"/>
                </a:cxn>
                <a:cxn ang="0">
                  <a:pos x="30" y="298"/>
                </a:cxn>
                <a:cxn ang="0">
                  <a:pos x="93" y="311"/>
                </a:cxn>
                <a:cxn ang="0">
                  <a:pos x="123" y="310"/>
                </a:cxn>
                <a:cxn ang="0">
                  <a:pos x="154" y="329"/>
                </a:cxn>
                <a:cxn ang="0">
                  <a:pos x="162" y="366"/>
                </a:cxn>
                <a:cxn ang="0">
                  <a:pos x="165" y="392"/>
                </a:cxn>
                <a:cxn ang="0">
                  <a:pos x="196" y="412"/>
                </a:cxn>
                <a:cxn ang="0">
                  <a:pos x="235" y="415"/>
                </a:cxn>
                <a:cxn ang="0">
                  <a:pos x="245" y="412"/>
                </a:cxn>
                <a:cxn ang="0">
                  <a:pos x="272" y="369"/>
                </a:cxn>
                <a:cxn ang="0">
                  <a:pos x="303" y="336"/>
                </a:cxn>
                <a:cxn ang="0">
                  <a:pos x="357" y="295"/>
                </a:cxn>
                <a:cxn ang="0">
                  <a:pos x="373" y="270"/>
                </a:cxn>
                <a:cxn ang="0">
                  <a:pos x="378" y="259"/>
                </a:cxn>
                <a:cxn ang="0">
                  <a:pos x="403" y="223"/>
                </a:cxn>
                <a:cxn ang="0">
                  <a:pos x="418" y="190"/>
                </a:cxn>
                <a:cxn ang="0">
                  <a:pos x="435" y="151"/>
                </a:cxn>
                <a:cxn ang="0">
                  <a:pos x="444" y="140"/>
                </a:cxn>
                <a:cxn ang="0">
                  <a:pos x="399" y="120"/>
                </a:cxn>
              </a:cxnLst>
              <a:rect l="0" t="0" r="r" b="b"/>
              <a:pathLst>
                <a:path w="444" h="418">
                  <a:moveTo>
                    <a:pt x="399" y="120"/>
                  </a:moveTo>
                  <a:cubicBezTo>
                    <a:pt x="385" y="118"/>
                    <a:pt x="386" y="109"/>
                    <a:pt x="386" y="109"/>
                  </a:cubicBezTo>
                  <a:cubicBezTo>
                    <a:pt x="386" y="109"/>
                    <a:pt x="375" y="109"/>
                    <a:pt x="371" y="109"/>
                  </a:cubicBezTo>
                  <a:cubicBezTo>
                    <a:pt x="368" y="109"/>
                    <a:pt x="366" y="98"/>
                    <a:pt x="366" y="98"/>
                  </a:cubicBezTo>
                  <a:cubicBezTo>
                    <a:pt x="353" y="98"/>
                    <a:pt x="353" y="98"/>
                    <a:pt x="353" y="98"/>
                  </a:cubicBezTo>
                  <a:cubicBezTo>
                    <a:pt x="339" y="86"/>
                    <a:pt x="339" y="86"/>
                    <a:pt x="339" y="86"/>
                  </a:cubicBezTo>
                  <a:cubicBezTo>
                    <a:pt x="339" y="86"/>
                    <a:pt x="333" y="94"/>
                    <a:pt x="331" y="94"/>
                  </a:cubicBezTo>
                  <a:cubicBezTo>
                    <a:pt x="330" y="94"/>
                    <a:pt x="325" y="89"/>
                    <a:pt x="320" y="81"/>
                  </a:cubicBezTo>
                  <a:cubicBezTo>
                    <a:pt x="315" y="73"/>
                    <a:pt x="330" y="75"/>
                    <a:pt x="330" y="75"/>
                  </a:cubicBezTo>
                  <a:cubicBezTo>
                    <a:pt x="331" y="70"/>
                    <a:pt x="331" y="70"/>
                    <a:pt x="331" y="70"/>
                  </a:cubicBezTo>
                  <a:cubicBezTo>
                    <a:pt x="316" y="69"/>
                    <a:pt x="316" y="69"/>
                    <a:pt x="316" y="69"/>
                  </a:cubicBezTo>
                  <a:cubicBezTo>
                    <a:pt x="316" y="69"/>
                    <a:pt x="315" y="74"/>
                    <a:pt x="312" y="74"/>
                  </a:cubicBezTo>
                  <a:cubicBezTo>
                    <a:pt x="310" y="74"/>
                    <a:pt x="308" y="57"/>
                    <a:pt x="308" y="57"/>
                  </a:cubicBezTo>
                  <a:cubicBezTo>
                    <a:pt x="310" y="50"/>
                    <a:pt x="310" y="50"/>
                    <a:pt x="310" y="50"/>
                  </a:cubicBezTo>
                  <a:cubicBezTo>
                    <a:pt x="267" y="48"/>
                    <a:pt x="267" y="48"/>
                    <a:pt x="267" y="48"/>
                  </a:cubicBezTo>
                  <a:cubicBezTo>
                    <a:pt x="257" y="41"/>
                    <a:pt x="257" y="41"/>
                    <a:pt x="257" y="41"/>
                  </a:cubicBezTo>
                  <a:cubicBezTo>
                    <a:pt x="262" y="31"/>
                    <a:pt x="262" y="31"/>
                    <a:pt x="262" y="31"/>
                  </a:cubicBezTo>
                  <a:cubicBezTo>
                    <a:pt x="271" y="27"/>
                    <a:pt x="271" y="27"/>
                    <a:pt x="271" y="27"/>
                  </a:cubicBezTo>
                  <a:cubicBezTo>
                    <a:pt x="272" y="2"/>
                    <a:pt x="272" y="2"/>
                    <a:pt x="272" y="2"/>
                  </a:cubicBezTo>
                  <a:cubicBezTo>
                    <a:pt x="262" y="16"/>
                    <a:pt x="262" y="16"/>
                    <a:pt x="262" y="16"/>
                  </a:cubicBezTo>
                  <a:cubicBezTo>
                    <a:pt x="262" y="16"/>
                    <a:pt x="254" y="16"/>
                    <a:pt x="251" y="21"/>
                  </a:cubicBezTo>
                  <a:cubicBezTo>
                    <a:pt x="248" y="26"/>
                    <a:pt x="237" y="30"/>
                    <a:pt x="237" y="30"/>
                  </a:cubicBezTo>
                  <a:cubicBezTo>
                    <a:pt x="221" y="17"/>
                    <a:pt x="221" y="17"/>
                    <a:pt x="221" y="17"/>
                  </a:cubicBezTo>
                  <a:cubicBezTo>
                    <a:pt x="204" y="25"/>
                    <a:pt x="204" y="25"/>
                    <a:pt x="204" y="25"/>
                  </a:cubicBezTo>
                  <a:cubicBezTo>
                    <a:pt x="204" y="25"/>
                    <a:pt x="175" y="23"/>
                    <a:pt x="173" y="23"/>
                  </a:cubicBezTo>
                  <a:cubicBezTo>
                    <a:pt x="170" y="23"/>
                    <a:pt x="161" y="10"/>
                    <a:pt x="161" y="10"/>
                  </a:cubicBezTo>
                  <a:cubicBezTo>
                    <a:pt x="161" y="10"/>
                    <a:pt x="154" y="8"/>
                    <a:pt x="145" y="7"/>
                  </a:cubicBezTo>
                  <a:cubicBezTo>
                    <a:pt x="135" y="5"/>
                    <a:pt x="139" y="1"/>
                    <a:pt x="127" y="1"/>
                  </a:cubicBezTo>
                  <a:cubicBezTo>
                    <a:pt x="114" y="0"/>
                    <a:pt x="106" y="11"/>
                    <a:pt x="106" y="11"/>
                  </a:cubicBezTo>
                  <a:cubicBezTo>
                    <a:pt x="102" y="4"/>
                    <a:pt x="102" y="4"/>
                    <a:pt x="102" y="4"/>
                  </a:cubicBezTo>
                  <a:cubicBezTo>
                    <a:pt x="96" y="13"/>
                    <a:pt x="96" y="13"/>
                    <a:pt x="96" y="13"/>
                  </a:cubicBezTo>
                  <a:cubicBezTo>
                    <a:pt x="88" y="4"/>
                    <a:pt x="88" y="4"/>
                    <a:pt x="88" y="4"/>
                  </a:cubicBezTo>
                  <a:cubicBezTo>
                    <a:pt x="88" y="4"/>
                    <a:pt x="78" y="18"/>
                    <a:pt x="77" y="24"/>
                  </a:cubicBezTo>
                  <a:cubicBezTo>
                    <a:pt x="76" y="29"/>
                    <a:pt x="70" y="35"/>
                    <a:pt x="69" y="37"/>
                  </a:cubicBezTo>
                  <a:cubicBezTo>
                    <a:pt x="69" y="39"/>
                    <a:pt x="55" y="34"/>
                    <a:pt x="55" y="34"/>
                  </a:cubicBezTo>
                  <a:cubicBezTo>
                    <a:pt x="51" y="44"/>
                    <a:pt x="51" y="44"/>
                    <a:pt x="51" y="44"/>
                  </a:cubicBezTo>
                  <a:cubicBezTo>
                    <a:pt x="37" y="36"/>
                    <a:pt x="37" y="36"/>
                    <a:pt x="37" y="36"/>
                  </a:cubicBezTo>
                  <a:cubicBezTo>
                    <a:pt x="28" y="35"/>
                    <a:pt x="28" y="35"/>
                    <a:pt x="28" y="35"/>
                  </a:cubicBezTo>
                  <a:cubicBezTo>
                    <a:pt x="28" y="36"/>
                    <a:pt x="29" y="38"/>
                    <a:pt x="30" y="41"/>
                  </a:cubicBezTo>
                  <a:cubicBezTo>
                    <a:pt x="35" y="55"/>
                    <a:pt x="47" y="65"/>
                    <a:pt x="47" y="65"/>
                  </a:cubicBezTo>
                  <a:cubicBezTo>
                    <a:pt x="47" y="65"/>
                    <a:pt x="39" y="67"/>
                    <a:pt x="39" y="68"/>
                  </a:cubicBezTo>
                  <a:cubicBezTo>
                    <a:pt x="39" y="68"/>
                    <a:pt x="27" y="94"/>
                    <a:pt x="27" y="101"/>
                  </a:cubicBezTo>
                  <a:cubicBezTo>
                    <a:pt x="27" y="107"/>
                    <a:pt x="36" y="110"/>
                    <a:pt x="36" y="110"/>
                  </a:cubicBezTo>
                  <a:cubicBezTo>
                    <a:pt x="36" y="110"/>
                    <a:pt x="27" y="113"/>
                    <a:pt x="25" y="116"/>
                  </a:cubicBezTo>
                  <a:cubicBezTo>
                    <a:pt x="22" y="119"/>
                    <a:pt x="5" y="155"/>
                    <a:pt x="5" y="155"/>
                  </a:cubicBezTo>
                  <a:cubicBezTo>
                    <a:pt x="23" y="167"/>
                    <a:pt x="23" y="167"/>
                    <a:pt x="23" y="167"/>
                  </a:cubicBezTo>
                  <a:cubicBezTo>
                    <a:pt x="9" y="174"/>
                    <a:pt x="9" y="174"/>
                    <a:pt x="9" y="174"/>
                  </a:cubicBezTo>
                  <a:cubicBezTo>
                    <a:pt x="0" y="181"/>
                    <a:pt x="0" y="181"/>
                    <a:pt x="0" y="181"/>
                  </a:cubicBezTo>
                  <a:cubicBezTo>
                    <a:pt x="0" y="181"/>
                    <a:pt x="9" y="193"/>
                    <a:pt x="10" y="194"/>
                  </a:cubicBezTo>
                  <a:cubicBezTo>
                    <a:pt x="10" y="195"/>
                    <a:pt x="12" y="206"/>
                    <a:pt x="12" y="208"/>
                  </a:cubicBezTo>
                  <a:cubicBezTo>
                    <a:pt x="12" y="210"/>
                    <a:pt x="17" y="212"/>
                    <a:pt x="23" y="221"/>
                  </a:cubicBezTo>
                  <a:cubicBezTo>
                    <a:pt x="29" y="230"/>
                    <a:pt x="24" y="251"/>
                    <a:pt x="24" y="251"/>
                  </a:cubicBezTo>
                  <a:cubicBezTo>
                    <a:pt x="24" y="251"/>
                    <a:pt x="19" y="262"/>
                    <a:pt x="17" y="264"/>
                  </a:cubicBezTo>
                  <a:cubicBezTo>
                    <a:pt x="16" y="266"/>
                    <a:pt x="19" y="275"/>
                    <a:pt x="17" y="284"/>
                  </a:cubicBezTo>
                  <a:cubicBezTo>
                    <a:pt x="16" y="293"/>
                    <a:pt x="16" y="297"/>
                    <a:pt x="21" y="300"/>
                  </a:cubicBezTo>
                  <a:cubicBezTo>
                    <a:pt x="26" y="304"/>
                    <a:pt x="30" y="298"/>
                    <a:pt x="30" y="298"/>
                  </a:cubicBezTo>
                  <a:cubicBezTo>
                    <a:pt x="48" y="304"/>
                    <a:pt x="48" y="304"/>
                    <a:pt x="48" y="304"/>
                  </a:cubicBezTo>
                  <a:cubicBezTo>
                    <a:pt x="93" y="311"/>
                    <a:pt x="93" y="311"/>
                    <a:pt x="93" y="311"/>
                  </a:cubicBezTo>
                  <a:cubicBezTo>
                    <a:pt x="105" y="295"/>
                    <a:pt x="105" y="295"/>
                    <a:pt x="105" y="295"/>
                  </a:cubicBezTo>
                  <a:cubicBezTo>
                    <a:pt x="123" y="310"/>
                    <a:pt x="123" y="310"/>
                    <a:pt x="123" y="310"/>
                  </a:cubicBezTo>
                  <a:cubicBezTo>
                    <a:pt x="123" y="310"/>
                    <a:pt x="130" y="310"/>
                    <a:pt x="143" y="310"/>
                  </a:cubicBezTo>
                  <a:cubicBezTo>
                    <a:pt x="155" y="311"/>
                    <a:pt x="154" y="329"/>
                    <a:pt x="154" y="329"/>
                  </a:cubicBezTo>
                  <a:cubicBezTo>
                    <a:pt x="154" y="329"/>
                    <a:pt x="157" y="357"/>
                    <a:pt x="158" y="358"/>
                  </a:cubicBezTo>
                  <a:cubicBezTo>
                    <a:pt x="158" y="360"/>
                    <a:pt x="162" y="366"/>
                    <a:pt x="162" y="366"/>
                  </a:cubicBezTo>
                  <a:cubicBezTo>
                    <a:pt x="162" y="366"/>
                    <a:pt x="160" y="374"/>
                    <a:pt x="160" y="381"/>
                  </a:cubicBezTo>
                  <a:cubicBezTo>
                    <a:pt x="160" y="388"/>
                    <a:pt x="165" y="392"/>
                    <a:pt x="165" y="392"/>
                  </a:cubicBezTo>
                  <a:cubicBezTo>
                    <a:pt x="165" y="392"/>
                    <a:pt x="165" y="402"/>
                    <a:pt x="167" y="410"/>
                  </a:cubicBezTo>
                  <a:cubicBezTo>
                    <a:pt x="169" y="418"/>
                    <a:pt x="195" y="412"/>
                    <a:pt x="196" y="412"/>
                  </a:cubicBezTo>
                  <a:cubicBezTo>
                    <a:pt x="196" y="412"/>
                    <a:pt x="203" y="406"/>
                    <a:pt x="216" y="402"/>
                  </a:cubicBezTo>
                  <a:cubicBezTo>
                    <a:pt x="230" y="398"/>
                    <a:pt x="235" y="415"/>
                    <a:pt x="235" y="415"/>
                  </a:cubicBezTo>
                  <a:cubicBezTo>
                    <a:pt x="236" y="418"/>
                    <a:pt x="236" y="418"/>
                    <a:pt x="236" y="418"/>
                  </a:cubicBezTo>
                  <a:cubicBezTo>
                    <a:pt x="240" y="415"/>
                    <a:pt x="245" y="412"/>
                    <a:pt x="245" y="412"/>
                  </a:cubicBezTo>
                  <a:cubicBezTo>
                    <a:pt x="254" y="379"/>
                    <a:pt x="254" y="379"/>
                    <a:pt x="254" y="379"/>
                  </a:cubicBezTo>
                  <a:cubicBezTo>
                    <a:pt x="254" y="379"/>
                    <a:pt x="270" y="373"/>
                    <a:pt x="272" y="369"/>
                  </a:cubicBezTo>
                  <a:cubicBezTo>
                    <a:pt x="273" y="366"/>
                    <a:pt x="276" y="347"/>
                    <a:pt x="276" y="347"/>
                  </a:cubicBezTo>
                  <a:cubicBezTo>
                    <a:pt x="303" y="336"/>
                    <a:pt x="303" y="336"/>
                    <a:pt x="303" y="336"/>
                  </a:cubicBezTo>
                  <a:cubicBezTo>
                    <a:pt x="310" y="326"/>
                    <a:pt x="310" y="326"/>
                    <a:pt x="310" y="326"/>
                  </a:cubicBezTo>
                  <a:cubicBezTo>
                    <a:pt x="310" y="326"/>
                    <a:pt x="357" y="300"/>
                    <a:pt x="357" y="295"/>
                  </a:cubicBezTo>
                  <a:cubicBezTo>
                    <a:pt x="357" y="290"/>
                    <a:pt x="356" y="285"/>
                    <a:pt x="357" y="283"/>
                  </a:cubicBezTo>
                  <a:cubicBezTo>
                    <a:pt x="358" y="282"/>
                    <a:pt x="373" y="270"/>
                    <a:pt x="373" y="270"/>
                  </a:cubicBezTo>
                  <a:cubicBezTo>
                    <a:pt x="368" y="261"/>
                    <a:pt x="368" y="261"/>
                    <a:pt x="368" y="261"/>
                  </a:cubicBezTo>
                  <a:cubicBezTo>
                    <a:pt x="378" y="259"/>
                    <a:pt x="378" y="259"/>
                    <a:pt x="378" y="259"/>
                  </a:cubicBezTo>
                  <a:cubicBezTo>
                    <a:pt x="378" y="259"/>
                    <a:pt x="383" y="239"/>
                    <a:pt x="384" y="238"/>
                  </a:cubicBezTo>
                  <a:cubicBezTo>
                    <a:pt x="385" y="237"/>
                    <a:pt x="403" y="223"/>
                    <a:pt x="403" y="223"/>
                  </a:cubicBezTo>
                  <a:cubicBezTo>
                    <a:pt x="396" y="212"/>
                    <a:pt x="396" y="212"/>
                    <a:pt x="396" y="212"/>
                  </a:cubicBezTo>
                  <a:cubicBezTo>
                    <a:pt x="418" y="190"/>
                    <a:pt x="418" y="190"/>
                    <a:pt x="418" y="190"/>
                  </a:cubicBezTo>
                  <a:cubicBezTo>
                    <a:pt x="433" y="189"/>
                    <a:pt x="433" y="189"/>
                    <a:pt x="433" y="189"/>
                  </a:cubicBezTo>
                  <a:cubicBezTo>
                    <a:pt x="435" y="151"/>
                    <a:pt x="435" y="151"/>
                    <a:pt x="435" y="151"/>
                  </a:cubicBezTo>
                  <a:cubicBezTo>
                    <a:pt x="435" y="151"/>
                    <a:pt x="443" y="147"/>
                    <a:pt x="443" y="146"/>
                  </a:cubicBezTo>
                  <a:cubicBezTo>
                    <a:pt x="443" y="145"/>
                    <a:pt x="443" y="143"/>
                    <a:pt x="444" y="140"/>
                  </a:cubicBezTo>
                  <a:cubicBezTo>
                    <a:pt x="432" y="127"/>
                    <a:pt x="432" y="127"/>
                    <a:pt x="432" y="127"/>
                  </a:cubicBezTo>
                  <a:cubicBezTo>
                    <a:pt x="432" y="127"/>
                    <a:pt x="414" y="122"/>
                    <a:pt x="399" y="12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23" name="Freeform 327">
              <a:extLst>
                <a:ext uri="{FF2B5EF4-FFF2-40B4-BE49-F238E27FC236}">
                  <a16:creationId xmlns:a16="http://schemas.microsoft.com/office/drawing/2014/main" id="{079C6BB2-CE7C-43F0-99C1-19C72BDDF3E6}"/>
                </a:ext>
              </a:extLst>
            </p:cNvPr>
            <p:cNvSpPr>
              <a:spLocks noChangeAspect="1" noEditPoints="1"/>
            </p:cNvSpPr>
            <p:nvPr/>
          </p:nvSpPr>
          <p:spPr bwMode="auto">
            <a:xfrm>
              <a:off x="12607" y="2332"/>
              <a:ext cx="893" cy="860"/>
            </a:xfrm>
            <a:custGeom>
              <a:avLst/>
              <a:gdLst/>
              <a:ahLst/>
              <a:cxnLst>
                <a:cxn ang="0">
                  <a:pos x="426" y="83"/>
                </a:cxn>
                <a:cxn ang="0">
                  <a:pos x="419" y="42"/>
                </a:cxn>
                <a:cxn ang="0">
                  <a:pos x="417" y="31"/>
                </a:cxn>
                <a:cxn ang="0">
                  <a:pos x="375" y="48"/>
                </a:cxn>
                <a:cxn ang="0">
                  <a:pos x="356" y="52"/>
                </a:cxn>
                <a:cxn ang="0">
                  <a:pos x="344" y="60"/>
                </a:cxn>
                <a:cxn ang="0">
                  <a:pos x="323" y="55"/>
                </a:cxn>
                <a:cxn ang="0">
                  <a:pos x="303" y="49"/>
                </a:cxn>
                <a:cxn ang="0">
                  <a:pos x="291" y="51"/>
                </a:cxn>
                <a:cxn ang="0">
                  <a:pos x="284" y="44"/>
                </a:cxn>
                <a:cxn ang="0">
                  <a:pos x="259" y="35"/>
                </a:cxn>
                <a:cxn ang="0">
                  <a:pos x="236" y="55"/>
                </a:cxn>
                <a:cxn ang="0">
                  <a:pos x="178" y="31"/>
                </a:cxn>
                <a:cxn ang="0">
                  <a:pos x="165" y="23"/>
                </a:cxn>
                <a:cxn ang="0">
                  <a:pos x="146" y="80"/>
                </a:cxn>
                <a:cxn ang="0">
                  <a:pos x="138" y="109"/>
                </a:cxn>
                <a:cxn ang="0">
                  <a:pos x="116" y="156"/>
                </a:cxn>
                <a:cxn ang="0">
                  <a:pos x="87" y="202"/>
                </a:cxn>
                <a:cxn ang="0">
                  <a:pos x="37" y="235"/>
                </a:cxn>
                <a:cxn ang="0">
                  <a:pos x="13" y="271"/>
                </a:cxn>
                <a:cxn ang="0">
                  <a:pos x="0" y="293"/>
                </a:cxn>
                <a:cxn ang="0">
                  <a:pos x="11" y="339"/>
                </a:cxn>
                <a:cxn ang="0">
                  <a:pos x="13" y="363"/>
                </a:cxn>
                <a:cxn ang="0">
                  <a:pos x="32" y="359"/>
                </a:cxn>
                <a:cxn ang="0">
                  <a:pos x="21" y="370"/>
                </a:cxn>
                <a:cxn ang="0">
                  <a:pos x="40" y="375"/>
                </a:cxn>
                <a:cxn ang="0">
                  <a:pos x="67" y="387"/>
                </a:cxn>
                <a:cxn ang="0">
                  <a:pos x="87" y="398"/>
                </a:cxn>
                <a:cxn ang="0">
                  <a:pos x="133" y="416"/>
                </a:cxn>
                <a:cxn ang="0">
                  <a:pos x="152" y="410"/>
                </a:cxn>
                <a:cxn ang="0">
                  <a:pos x="179" y="381"/>
                </a:cxn>
                <a:cxn ang="0">
                  <a:pos x="226" y="367"/>
                </a:cxn>
                <a:cxn ang="0">
                  <a:pos x="254" y="359"/>
                </a:cxn>
                <a:cxn ang="0">
                  <a:pos x="281" y="356"/>
                </a:cxn>
                <a:cxn ang="0">
                  <a:pos x="301" y="356"/>
                </a:cxn>
                <a:cxn ang="0">
                  <a:pos x="362" y="340"/>
                </a:cxn>
                <a:cxn ang="0">
                  <a:pos x="363" y="315"/>
                </a:cxn>
                <a:cxn ang="0">
                  <a:pos x="368" y="279"/>
                </a:cxn>
                <a:cxn ang="0">
                  <a:pos x="353" y="243"/>
                </a:cxn>
                <a:cxn ang="0">
                  <a:pos x="360" y="220"/>
                </a:cxn>
                <a:cxn ang="0">
                  <a:pos x="393" y="212"/>
                </a:cxn>
                <a:cxn ang="0">
                  <a:pos x="389" y="182"/>
                </a:cxn>
                <a:cxn ang="0">
                  <a:pos x="407" y="164"/>
                </a:cxn>
                <a:cxn ang="0">
                  <a:pos x="424" y="153"/>
                </a:cxn>
                <a:cxn ang="0">
                  <a:pos x="437" y="127"/>
                </a:cxn>
                <a:cxn ang="0">
                  <a:pos x="421" y="96"/>
                </a:cxn>
                <a:cxn ang="0">
                  <a:pos x="355" y="215"/>
                </a:cxn>
                <a:cxn ang="0">
                  <a:pos x="306" y="219"/>
                </a:cxn>
                <a:cxn ang="0">
                  <a:pos x="306" y="205"/>
                </a:cxn>
                <a:cxn ang="0">
                  <a:pos x="309" y="190"/>
                </a:cxn>
                <a:cxn ang="0">
                  <a:pos x="358" y="197"/>
                </a:cxn>
              </a:cxnLst>
              <a:rect l="0" t="0" r="r" b="b"/>
              <a:pathLst>
                <a:path w="446" h="429">
                  <a:moveTo>
                    <a:pt x="421" y="96"/>
                  </a:moveTo>
                  <a:cubicBezTo>
                    <a:pt x="421" y="96"/>
                    <a:pt x="423" y="93"/>
                    <a:pt x="426" y="83"/>
                  </a:cubicBezTo>
                  <a:cubicBezTo>
                    <a:pt x="429" y="73"/>
                    <a:pt x="437" y="57"/>
                    <a:pt x="437" y="57"/>
                  </a:cubicBezTo>
                  <a:cubicBezTo>
                    <a:pt x="419" y="42"/>
                    <a:pt x="419" y="42"/>
                    <a:pt x="419" y="42"/>
                  </a:cubicBezTo>
                  <a:cubicBezTo>
                    <a:pt x="431" y="34"/>
                    <a:pt x="431" y="34"/>
                    <a:pt x="431" y="34"/>
                  </a:cubicBezTo>
                  <a:cubicBezTo>
                    <a:pt x="431" y="34"/>
                    <a:pt x="421" y="32"/>
                    <a:pt x="417" y="31"/>
                  </a:cubicBezTo>
                  <a:cubicBezTo>
                    <a:pt x="388" y="36"/>
                    <a:pt x="388" y="36"/>
                    <a:pt x="388" y="36"/>
                  </a:cubicBezTo>
                  <a:cubicBezTo>
                    <a:pt x="375" y="48"/>
                    <a:pt x="375" y="48"/>
                    <a:pt x="375" y="48"/>
                  </a:cubicBezTo>
                  <a:cubicBezTo>
                    <a:pt x="363" y="46"/>
                    <a:pt x="363" y="46"/>
                    <a:pt x="363" y="46"/>
                  </a:cubicBezTo>
                  <a:cubicBezTo>
                    <a:pt x="356" y="52"/>
                    <a:pt x="356" y="52"/>
                    <a:pt x="356" y="52"/>
                  </a:cubicBezTo>
                  <a:cubicBezTo>
                    <a:pt x="340" y="43"/>
                    <a:pt x="340" y="43"/>
                    <a:pt x="340" y="43"/>
                  </a:cubicBezTo>
                  <a:cubicBezTo>
                    <a:pt x="344" y="60"/>
                    <a:pt x="344" y="60"/>
                    <a:pt x="344" y="60"/>
                  </a:cubicBezTo>
                  <a:cubicBezTo>
                    <a:pt x="338" y="67"/>
                    <a:pt x="338" y="67"/>
                    <a:pt x="338" y="67"/>
                  </a:cubicBezTo>
                  <a:cubicBezTo>
                    <a:pt x="323" y="55"/>
                    <a:pt x="323" y="55"/>
                    <a:pt x="323" y="55"/>
                  </a:cubicBezTo>
                  <a:cubicBezTo>
                    <a:pt x="311" y="56"/>
                    <a:pt x="311" y="56"/>
                    <a:pt x="311" y="56"/>
                  </a:cubicBezTo>
                  <a:cubicBezTo>
                    <a:pt x="303" y="49"/>
                    <a:pt x="303" y="49"/>
                    <a:pt x="303" y="49"/>
                  </a:cubicBezTo>
                  <a:cubicBezTo>
                    <a:pt x="292" y="58"/>
                    <a:pt x="292" y="58"/>
                    <a:pt x="292" y="58"/>
                  </a:cubicBezTo>
                  <a:cubicBezTo>
                    <a:pt x="291" y="51"/>
                    <a:pt x="291" y="51"/>
                    <a:pt x="291" y="51"/>
                  </a:cubicBezTo>
                  <a:cubicBezTo>
                    <a:pt x="280" y="54"/>
                    <a:pt x="280" y="54"/>
                    <a:pt x="280" y="54"/>
                  </a:cubicBezTo>
                  <a:cubicBezTo>
                    <a:pt x="284" y="44"/>
                    <a:pt x="284" y="44"/>
                    <a:pt x="284" y="44"/>
                  </a:cubicBezTo>
                  <a:cubicBezTo>
                    <a:pt x="269" y="28"/>
                    <a:pt x="269" y="28"/>
                    <a:pt x="269" y="28"/>
                  </a:cubicBezTo>
                  <a:cubicBezTo>
                    <a:pt x="259" y="35"/>
                    <a:pt x="259" y="35"/>
                    <a:pt x="259" y="35"/>
                  </a:cubicBezTo>
                  <a:cubicBezTo>
                    <a:pt x="251" y="24"/>
                    <a:pt x="251" y="24"/>
                    <a:pt x="251" y="24"/>
                  </a:cubicBezTo>
                  <a:cubicBezTo>
                    <a:pt x="236" y="55"/>
                    <a:pt x="236" y="55"/>
                    <a:pt x="236" y="55"/>
                  </a:cubicBezTo>
                  <a:cubicBezTo>
                    <a:pt x="203" y="36"/>
                    <a:pt x="203" y="36"/>
                    <a:pt x="203" y="36"/>
                  </a:cubicBezTo>
                  <a:cubicBezTo>
                    <a:pt x="178" y="31"/>
                    <a:pt x="178" y="31"/>
                    <a:pt x="178" y="31"/>
                  </a:cubicBezTo>
                  <a:cubicBezTo>
                    <a:pt x="190" y="0"/>
                    <a:pt x="190" y="0"/>
                    <a:pt x="190" y="0"/>
                  </a:cubicBezTo>
                  <a:cubicBezTo>
                    <a:pt x="165" y="23"/>
                    <a:pt x="165" y="23"/>
                    <a:pt x="165" y="23"/>
                  </a:cubicBezTo>
                  <a:cubicBezTo>
                    <a:pt x="163" y="34"/>
                    <a:pt x="162" y="47"/>
                    <a:pt x="161" y="56"/>
                  </a:cubicBezTo>
                  <a:cubicBezTo>
                    <a:pt x="160" y="74"/>
                    <a:pt x="146" y="80"/>
                    <a:pt x="146" y="80"/>
                  </a:cubicBezTo>
                  <a:cubicBezTo>
                    <a:pt x="146" y="80"/>
                    <a:pt x="145" y="102"/>
                    <a:pt x="145" y="104"/>
                  </a:cubicBezTo>
                  <a:cubicBezTo>
                    <a:pt x="145" y="105"/>
                    <a:pt x="138" y="107"/>
                    <a:pt x="138" y="109"/>
                  </a:cubicBezTo>
                  <a:cubicBezTo>
                    <a:pt x="138" y="111"/>
                    <a:pt x="137" y="150"/>
                    <a:pt x="130" y="157"/>
                  </a:cubicBezTo>
                  <a:cubicBezTo>
                    <a:pt x="123" y="164"/>
                    <a:pt x="116" y="158"/>
                    <a:pt x="116" y="156"/>
                  </a:cubicBezTo>
                  <a:cubicBezTo>
                    <a:pt x="116" y="155"/>
                    <a:pt x="96" y="175"/>
                    <a:pt x="94" y="178"/>
                  </a:cubicBezTo>
                  <a:cubicBezTo>
                    <a:pt x="92" y="180"/>
                    <a:pt x="93" y="195"/>
                    <a:pt x="87" y="202"/>
                  </a:cubicBezTo>
                  <a:cubicBezTo>
                    <a:pt x="82" y="209"/>
                    <a:pt x="64" y="211"/>
                    <a:pt x="62" y="211"/>
                  </a:cubicBezTo>
                  <a:cubicBezTo>
                    <a:pt x="60" y="211"/>
                    <a:pt x="37" y="235"/>
                    <a:pt x="37" y="235"/>
                  </a:cubicBezTo>
                  <a:cubicBezTo>
                    <a:pt x="45" y="247"/>
                    <a:pt x="45" y="247"/>
                    <a:pt x="45" y="247"/>
                  </a:cubicBezTo>
                  <a:cubicBezTo>
                    <a:pt x="13" y="271"/>
                    <a:pt x="13" y="271"/>
                    <a:pt x="13" y="271"/>
                  </a:cubicBezTo>
                  <a:cubicBezTo>
                    <a:pt x="12" y="283"/>
                    <a:pt x="12" y="283"/>
                    <a:pt x="12" y="283"/>
                  </a:cubicBezTo>
                  <a:cubicBezTo>
                    <a:pt x="0" y="293"/>
                    <a:pt x="0" y="293"/>
                    <a:pt x="0" y="293"/>
                  </a:cubicBezTo>
                  <a:cubicBezTo>
                    <a:pt x="0" y="293"/>
                    <a:pt x="0" y="321"/>
                    <a:pt x="5" y="323"/>
                  </a:cubicBezTo>
                  <a:cubicBezTo>
                    <a:pt x="11" y="326"/>
                    <a:pt x="11" y="339"/>
                    <a:pt x="11" y="339"/>
                  </a:cubicBezTo>
                  <a:cubicBezTo>
                    <a:pt x="9" y="346"/>
                    <a:pt x="9" y="346"/>
                    <a:pt x="9" y="346"/>
                  </a:cubicBezTo>
                  <a:cubicBezTo>
                    <a:pt x="9" y="346"/>
                    <a:pt x="11" y="363"/>
                    <a:pt x="13" y="363"/>
                  </a:cubicBezTo>
                  <a:cubicBezTo>
                    <a:pt x="16" y="363"/>
                    <a:pt x="17" y="358"/>
                    <a:pt x="17" y="358"/>
                  </a:cubicBezTo>
                  <a:cubicBezTo>
                    <a:pt x="32" y="359"/>
                    <a:pt x="32" y="359"/>
                    <a:pt x="32" y="359"/>
                  </a:cubicBezTo>
                  <a:cubicBezTo>
                    <a:pt x="31" y="364"/>
                    <a:pt x="31" y="364"/>
                    <a:pt x="31" y="364"/>
                  </a:cubicBezTo>
                  <a:cubicBezTo>
                    <a:pt x="31" y="364"/>
                    <a:pt x="16" y="362"/>
                    <a:pt x="21" y="370"/>
                  </a:cubicBezTo>
                  <a:cubicBezTo>
                    <a:pt x="26" y="378"/>
                    <a:pt x="31" y="383"/>
                    <a:pt x="32" y="383"/>
                  </a:cubicBezTo>
                  <a:cubicBezTo>
                    <a:pt x="34" y="383"/>
                    <a:pt x="40" y="375"/>
                    <a:pt x="40" y="375"/>
                  </a:cubicBezTo>
                  <a:cubicBezTo>
                    <a:pt x="54" y="387"/>
                    <a:pt x="54" y="387"/>
                    <a:pt x="54" y="387"/>
                  </a:cubicBezTo>
                  <a:cubicBezTo>
                    <a:pt x="67" y="387"/>
                    <a:pt x="67" y="387"/>
                    <a:pt x="67" y="387"/>
                  </a:cubicBezTo>
                  <a:cubicBezTo>
                    <a:pt x="67" y="387"/>
                    <a:pt x="69" y="398"/>
                    <a:pt x="72" y="398"/>
                  </a:cubicBezTo>
                  <a:cubicBezTo>
                    <a:pt x="76" y="398"/>
                    <a:pt x="87" y="398"/>
                    <a:pt x="87" y="398"/>
                  </a:cubicBezTo>
                  <a:cubicBezTo>
                    <a:pt x="87" y="398"/>
                    <a:pt x="86" y="407"/>
                    <a:pt x="100" y="409"/>
                  </a:cubicBezTo>
                  <a:cubicBezTo>
                    <a:pt x="115" y="411"/>
                    <a:pt x="133" y="416"/>
                    <a:pt x="133" y="416"/>
                  </a:cubicBezTo>
                  <a:cubicBezTo>
                    <a:pt x="145" y="429"/>
                    <a:pt x="145" y="429"/>
                    <a:pt x="145" y="429"/>
                  </a:cubicBezTo>
                  <a:cubicBezTo>
                    <a:pt x="147" y="422"/>
                    <a:pt x="150" y="410"/>
                    <a:pt x="152" y="410"/>
                  </a:cubicBezTo>
                  <a:cubicBezTo>
                    <a:pt x="155" y="410"/>
                    <a:pt x="165" y="410"/>
                    <a:pt x="165" y="410"/>
                  </a:cubicBezTo>
                  <a:cubicBezTo>
                    <a:pt x="165" y="410"/>
                    <a:pt x="154" y="385"/>
                    <a:pt x="179" y="381"/>
                  </a:cubicBezTo>
                  <a:cubicBezTo>
                    <a:pt x="203" y="378"/>
                    <a:pt x="209" y="378"/>
                    <a:pt x="211" y="377"/>
                  </a:cubicBezTo>
                  <a:cubicBezTo>
                    <a:pt x="213" y="375"/>
                    <a:pt x="226" y="367"/>
                    <a:pt x="226" y="367"/>
                  </a:cubicBezTo>
                  <a:cubicBezTo>
                    <a:pt x="233" y="378"/>
                    <a:pt x="233" y="378"/>
                    <a:pt x="233" y="378"/>
                  </a:cubicBezTo>
                  <a:cubicBezTo>
                    <a:pt x="254" y="359"/>
                    <a:pt x="254" y="359"/>
                    <a:pt x="254" y="359"/>
                  </a:cubicBezTo>
                  <a:cubicBezTo>
                    <a:pt x="273" y="362"/>
                    <a:pt x="273" y="362"/>
                    <a:pt x="273" y="362"/>
                  </a:cubicBezTo>
                  <a:cubicBezTo>
                    <a:pt x="281" y="356"/>
                    <a:pt x="281" y="356"/>
                    <a:pt x="281" y="356"/>
                  </a:cubicBezTo>
                  <a:cubicBezTo>
                    <a:pt x="289" y="362"/>
                    <a:pt x="289" y="362"/>
                    <a:pt x="289" y="362"/>
                  </a:cubicBezTo>
                  <a:cubicBezTo>
                    <a:pt x="301" y="356"/>
                    <a:pt x="301" y="356"/>
                    <a:pt x="301" y="356"/>
                  </a:cubicBezTo>
                  <a:cubicBezTo>
                    <a:pt x="301" y="356"/>
                    <a:pt x="323" y="369"/>
                    <a:pt x="323" y="368"/>
                  </a:cubicBezTo>
                  <a:cubicBezTo>
                    <a:pt x="324" y="367"/>
                    <a:pt x="362" y="340"/>
                    <a:pt x="362" y="340"/>
                  </a:cubicBezTo>
                  <a:cubicBezTo>
                    <a:pt x="352" y="330"/>
                    <a:pt x="352" y="330"/>
                    <a:pt x="352" y="330"/>
                  </a:cubicBezTo>
                  <a:cubicBezTo>
                    <a:pt x="352" y="330"/>
                    <a:pt x="371" y="320"/>
                    <a:pt x="363" y="315"/>
                  </a:cubicBezTo>
                  <a:cubicBezTo>
                    <a:pt x="355" y="310"/>
                    <a:pt x="346" y="307"/>
                    <a:pt x="347" y="305"/>
                  </a:cubicBezTo>
                  <a:cubicBezTo>
                    <a:pt x="348" y="303"/>
                    <a:pt x="366" y="283"/>
                    <a:pt x="368" y="279"/>
                  </a:cubicBezTo>
                  <a:cubicBezTo>
                    <a:pt x="370" y="274"/>
                    <a:pt x="367" y="263"/>
                    <a:pt x="366" y="262"/>
                  </a:cubicBezTo>
                  <a:cubicBezTo>
                    <a:pt x="364" y="261"/>
                    <a:pt x="349" y="249"/>
                    <a:pt x="353" y="243"/>
                  </a:cubicBezTo>
                  <a:cubicBezTo>
                    <a:pt x="356" y="238"/>
                    <a:pt x="362" y="235"/>
                    <a:pt x="362" y="234"/>
                  </a:cubicBezTo>
                  <a:cubicBezTo>
                    <a:pt x="362" y="234"/>
                    <a:pt x="360" y="220"/>
                    <a:pt x="360" y="220"/>
                  </a:cubicBezTo>
                  <a:cubicBezTo>
                    <a:pt x="372" y="213"/>
                    <a:pt x="372" y="213"/>
                    <a:pt x="372" y="213"/>
                  </a:cubicBezTo>
                  <a:cubicBezTo>
                    <a:pt x="393" y="212"/>
                    <a:pt x="393" y="212"/>
                    <a:pt x="393" y="212"/>
                  </a:cubicBezTo>
                  <a:cubicBezTo>
                    <a:pt x="379" y="188"/>
                    <a:pt x="379" y="188"/>
                    <a:pt x="379" y="188"/>
                  </a:cubicBezTo>
                  <a:cubicBezTo>
                    <a:pt x="389" y="182"/>
                    <a:pt x="389" y="182"/>
                    <a:pt x="389" y="182"/>
                  </a:cubicBezTo>
                  <a:cubicBezTo>
                    <a:pt x="389" y="182"/>
                    <a:pt x="380" y="161"/>
                    <a:pt x="384" y="158"/>
                  </a:cubicBezTo>
                  <a:cubicBezTo>
                    <a:pt x="387" y="156"/>
                    <a:pt x="407" y="166"/>
                    <a:pt x="407" y="164"/>
                  </a:cubicBezTo>
                  <a:cubicBezTo>
                    <a:pt x="407" y="163"/>
                    <a:pt x="396" y="136"/>
                    <a:pt x="409" y="142"/>
                  </a:cubicBezTo>
                  <a:cubicBezTo>
                    <a:pt x="422" y="148"/>
                    <a:pt x="424" y="153"/>
                    <a:pt x="424" y="153"/>
                  </a:cubicBezTo>
                  <a:cubicBezTo>
                    <a:pt x="436" y="150"/>
                    <a:pt x="436" y="150"/>
                    <a:pt x="436" y="150"/>
                  </a:cubicBezTo>
                  <a:cubicBezTo>
                    <a:pt x="437" y="127"/>
                    <a:pt x="437" y="127"/>
                    <a:pt x="437" y="127"/>
                  </a:cubicBezTo>
                  <a:cubicBezTo>
                    <a:pt x="446" y="121"/>
                    <a:pt x="446" y="121"/>
                    <a:pt x="446" y="121"/>
                  </a:cubicBezTo>
                  <a:lnTo>
                    <a:pt x="421" y="96"/>
                  </a:lnTo>
                  <a:close/>
                  <a:moveTo>
                    <a:pt x="356" y="206"/>
                  </a:moveTo>
                  <a:cubicBezTo>
                    <a:pt x="355" y="215"/>
                    <a:pt x="355" y="215"/>
                    <a:pt x="355" y="215"/>
                  </a:cubicBezTo>
                  <a:cubicBezTo>
                    <a:pt x="351" y="220"/>
                    <a:pt x="351" y="220"/>
                    <a:pt x="351" y="220"/>
                  </a:cubicBezTo>
                  <a:cubicBezTo>
                    <a:pt x="306" y="219"/>
                    <a:pt x="306" y="219"/>
                    <a:pt x="306" y="219"/>
                  </a:cubicBezTo>
                  <a:cubicBezTo>
                    <a:pt x="306" y="219"/>
                    <a:pt x="301" y="215"/>
                    <a:pt x="301" y="211"/>
                  </a:cubicBezTo>
                  <a:cubicBezTo>
                    <a:pt x="301" y="206"/>
                    <a:pt x="306" y="205"/>
                    <a:pt x="306" y="205"/>
                  </a:cubicBezTo>
                  <a:cubicBezTo>
                    <a:pt x="305" y="194"/>
                    <a:pt x="305" y="194"/>
                    <a:pt x="305" y="194"/>
                  </a:cubicBezTo>
                  <a:cubicBezTo>
                    <a:pt x="309" y="190"/>
                    <a:pt x="309" y="190"/>
                    <a:pt x="309" y="190"/>
                  </a:cubicBezTo>
                  <a:cubicBezTo>
                    <a:pt x="352" y="189"/>
                    <a:pt x="352" y="189"/>
                    <a:pt x="352" y="189"/>
                  </a:cubicBezTo>
                  <a:cubicBezTo>
                    <a:pt x="358" y="197"/>
                    <a:pt x="358" y="197"/>
                    <a:pt x="358" y="197"/>
                  </a:cubicBezTo>
                  <a:lnTo>
                    <a:pt x="356" y="20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4" name="Freeform 328">
              <a:extLst>
                <a:ext uri="{FF2B5EF4-FFF2-40B4-BE49-F238E27FC236}">
                  <a16:creationId xmlns:a16="http://schemas.microsoft.com/office/drawing/2014/main" id="{DCFC2B1E-3F2F-4628-8038-4EC0231485CF}"/>
                </a:ext>
              </a:extLst>
            </p:cNvPr>
            <p:cNvSpPr>
              <a:spLocks noChangeAspect="1"/>
            </p:cNvSpPr>
            <p:nvPr/>
          </p:nvSpPr>
          <p:spPr bwMode="auto">
            <a:xfrm>
              <a:off x="13209" y="2711"/>
              <a:ext cx="114" cy="62"/>
            </a:xfrm>
            <a:custGeom>
              <a:avLst/>
              <a:gdLst>
                <a:gd name="T0" fmla="*/ 4096 w 57"/>
                <a:gd name="T1" fmla="*/ 512 h 31"/>
                <a:gd name="T2" fmla="*/ 2048 w 57"/>
                <a:gd name="T3" fmla="*/ 2560 h 31"/>
                <a:gd name="T4" fmla="*/ 2560 w 57"/>
                <a:gd name="T5" fmla="*/ 8192 h 31"/>
                <a:gd name="T6" fmla="*/ 0 w 57"/>
                <a:gd name="T7" fmla="*/ 11264 h 31"/>
                <a:gd name="T8" fmla="*/ 2560 w 57"/>
                <a:gd name="T9" fmla="*/ 15360 h 31"/>
                <a:gd name="T10" fmla="*/ 25600 w 57"/>
                <a:gd name="T11" fmla="*/ 15872 h 31"/>
                <a:gd name="T12" fmla="*/ 27648 w 57"/>
                <a:gd name="T13" fmla="*/ 13312 h 31"/>
                <a:gd name="T14" fmla="*/ 28160 w 57"/>
                <a:gd name="T15" fmla="*/ 8704 h 31"/>
                <a:gd name="T16" fmla="*/ 29184 w 57"/>
                <a:gd name="T17" fmla="*/ 4096 h 31"/>
                <a:gd name="T18" fmla="*/ 26112 w 57"/>
                <a:gd name="T19" fmla="*/ 0 h 31"/>
                <a:gd name="T20" fmla="*/ 4096 w 57"/>
                <a:gd name="T21" fmla="*/ 51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1"/>
                <a:gd name="T35" fmla="*/ 57 w 5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1">
                  <a:moveTo>
                    <a:pt x="8" y="1"/>
                  </a:moveTo>
                  <a:cubicBezTo>
                    <a:pt x="4" y="5"/>
                    <a:pt x="4" y="5"/>
                    <a:pt x="4" y="5"/>
                  </a:cubicBezTo>
                  <a:cubicBezTo>
                    <a:pt x="5" y="16"/>
                    <a:pt x="5" y="16"/>
                    <a:pt x="5" y="16"/>
                  </a:cubicBezTo>
                  <a:cubicBezTo>
                    <a:pt x="5" y="16"/>
                    <a:pt x="0" y="17"/>
                    <a:pt x="0" y="22"/>
                  </a:cubicBezTo>
                  <a:cubicBezTo>
                    <a:pt x="0" y="26"/>
                    <a:pt x="5" y="30"/>
                    <a:pt x="5" y="30"/>
                  </a:cubicBezTo>
                  <a:cubicBezTo>
                    <a:pt x="50" y="31"/>
                    <a:pt x="50" y="31"/>
                    <a:pt x="50" y="31"/>
                  </a:cubicBezTo>
                  <a:cubicBezTo>
                    <a:pt x="54" y="26"/>
                    <a:pt x="54" y="26"/>
                    <a:pt x="54" y="26"/>
                  </a:cubicBezTo>
                  <a:cubicBezTo>
                    <a:pt x="55" y="17"/>
                    <a:pt x="55" y="17"/>
                    <a:pt x="55" y="17"/>
                  </a:cubicBezTo>
                  <a:cubicBezTo>
                    <a:pt x="57" y="8"/>
                    <a:pt x="57" y="8"/>
                    <a:pt x="57" y="8"/>
                  </a:cubicBezTo>
                  <a:cubicBezTo>
                    <a:pt x="51" y="0"/>
                    <a:pt x="51" y="0"/>
                    <a:pt x="51" y="0"/>
                  </a:cubicBezTo>
                  <a:lnTo>
                    <a:pt x="8" y="1"/>
                  </a:lnTo>
                  <a:close/>
                </a:path>
              </a:pathLst>
            </a:custGeom>
            <a:grpFill/>
            <a:ln w="12700">
              <a:solidFill>
                <a:schemeClr val="bg1"/>
              </a:solidFill>
              <a:round/>
              <a:headEnd/>
              <a:tailEnd/>
            </a:ln>
          </p:spPr>
          <p:txBody>
            <a:bodyPr/>
            <a:lstStyle/>
            <a:p>
              <a:endParaRPr lang="en-US" sz="500" dirty="0">
                <a:solidFill>
                  <a:srgbClr val="000000"/>
                </a:solidFill>
              </a:endParaRPr>
            </a:p>
          </p:txBody>
        </p:sp>
        <p:sp>
          <p:nvSpPr>
            <p:cNvPr id="125" name="Freeform 330">
              <a:extLst>
                <a:ext uri="{FF2B5EF4-FFF2-40B4-BE49-F238E27FC236}">
                  <a16:creationId xmlns:a16="http://schemas.microsoft.com/office/drawing/2014/main" id="{7303E3EB-220E-47B5-9F73-0E78BE63BD9A}"/>
                </a:ext>
              </a:extLst>
            </p:cNvPr>
            <p:cNvSpPr>
              <a:spLocks noChangeAspect="1"/>
            </p:cNvSpPr>
            <p:nvPr/>
          </p:nvSpPr>
          <p:spPr bwMode="auto">
            <a:xfrm>
              <a:off x="12436" y="3555"/>
              <a:ext cx="812" cy="490"/>
            </a:xfrm>
            <a:custGeom>
              <a:avLst/>
              <a:gdLst/>
              <a:ahLst/>
              <a:cxnLst>
                <a:cxn ang="0">
                  <a:pos x="77" y="226"/>
                </a:cxn>
                <a:cxn ang="0">
                  <a:pos x="89" y="231"/>
                </a:cxn>
                <a:cxn ang="0">
                  <a:pos x="97" y="237"/>
                </a:cxn>
                <a:cxn ang="0">
                  <a:pos x="103" y="231"/>
                </a:cxn>
                <a:cxn ang="0">
                  <a:pos x="123" y="233"/>
                </a:cxn>
                <a:cxn ang="0">
                  <a:pos x="128" y="236"/>
                </a:cxn>
                <a:cxn ang="0">
                  <a:pos x="158" y="243"/>
                </a:cxn>
                <a:cxn ang="0">
                  <a:pos x="173" y="237"/>
                </a:cxn>
                <a:cxn ang="0">
                  <a:pos x="195" y="243"/>
                </a:cxn>
                <a:cxn ang="0">
                  <a:pos x="204" y="238"/>
                </a:cxn>
                <a:cxn ang="0">
                  <a:pos x="213" y="227"/>
                </a:cxn>
                <a:cxn ang="0">
                  <a:pos x="236" y="225"/>
                </a:cxn>
                <a:cxn ang="0">
                  <a:pos x="248" y="212"/>
                </a:cxn>
                <a:cxn ang="0">
                  <a:pos x="262" y="220"/>
                </a:cxn>
                <a:cxn ang="0">
                  <a:pos x="289" y="214"/>
                </a:cxn>
                <a:cxn ang="0">
                  <a:pos x="302" y="225"/>
                </a:cxn>
                <a:cxn ang="0">
                  <a:pos x="314" y="224"/>
                </a:cxn>
                <a:cxn ang="0">
                  <a:pos x="329" y="212"/>
                </a:cxn>
                <a:cxn ang="0">
                  <a:pos x="363" y="212"/>
                </a:cxn>
                <a:cxn ang="0">
                  <a:pos x="362" y="212"/>
                </a:cxn>
                <a:cxn ang="0">
                  <a:pos x="371" y="201"/>
                </a:cxn>
                <a:cxn ang="0">
                  <a:pos x="404" y="167"/>
                </a:cxn>
                <a:cxn ang="0">
                  <a:pos x="388" y="152"/>
                </a:cxn>
                <a:cxn ang="0">
                  <a:pos x="367" y="156"/>
                </a:cxn>
                <a:cxn ang="0">
                  <a:pos x="370" y="134"/>
                </a:cxn>
                <a:cxn ang="0">
                  <a:pos x="322" y="132"/>
                </a:cxn>
                <a:cxn ang="0">
                  <a:pos x="329" y="110"/>
                </a:cxn>
                <a:cxn ang="0">
                  <a:pos x="307" y="84"/>
                </a:cxn>
                <a:cxn ang="0">
                  <a:pos x="302" y="45"/>
                </a:cxn>
                <a:cxn ang="0">
                  <a:pos x="288" y="29"/>
                </a:cxn>
                <a:cxn ang="0">
                  <a:pos x="248" y="26"/>
                </a:cxn>
                <a:cxn ang="0">
                  <a:pos x="236" y="29"/>
                </a:cxn>
                <a:cxn ang="0">
                  <a:pos x="198" y="8"/>
                </a:cxn>
                <a:cxn ang="0">
                  <a:pos x="180" y="12"/>
                </a:cxn>
                <a:cxn ang="0">
                  <a:pos x="155" y="0"/>
                </a:cxn>
                <a:cxn ang="0">
                  <a:pos x="149" y="13"/>
                </a:cxn>
                <a:cxn ang="0">
                  <a:pos x="127" y="5"/>
                </a:cxn>
                <a:cxn ang="0">
                  <a:pos x="116" y="10"/>
                </a:cxn>
                <a:cxn ang="0">
                  <a:pos x="110" y="3"/>
                </a:cxn>
                <a:cxn ang="0">
                  <a:pos x="96" y="5"/>
                </a:cxn>
                <a:cxn ang="0">
                  <a:pos x="89" y="15"/>
                </a:cxn>
                <a:cxn ang="0">
                  <a:pos x="62" y="26"/>
                </a:cxn>
                <a:cxn ang="0">
                  <a:pos x="58" y="48"/>
                </a:cxn>
                <a:cxn ang="0">
                  <a:pos x="40" y="58"/>
                </a:cxn>
                <a:cxn ang="0">
                  <a:pos x="31" y="91"/>
                </a:cxn>
                <a:cxn ang="0">
                  <a:pos x="22" y="97"/>
                </a:cxn>
                <a:cxn ang="0">
                  <a:pos x="23" y="103"/>
                </a:cxn>
                <a:cxn ang="0">
                  <a:pos x="29" y="109"/>
                </a:cxn>
                <a:cxn ang="0">
                  <a:pos x="23" y="117"/>
                </a:cxn>
                <a:cxn ang="0">
                  <a:pos x="21" y="134"/>
                </a:cxn>
                <a:cxn ang="0">
                  <a:pos x="12" y="156"/>
                </a:cxn>
                <a:cxn ang="0">
                  <a:pos x="16" y="163"/>
                </a:cxn>
                <a:cxn ang="0">
                  <a:pos x="3" y="177"/>
                </a:cxn>
                <a:cxn ang="0">
                  <a:pos x="14" y="191"/>
                </a:cxn>
                <a:cxn ang="0">
                  <a:pos x="33" y="183"/>
                </a:cxn>
                <a:cxn ang="0">
                  <a:pos x="48" y="192"/>
                </a:cxn>
                <a:cxn ang="0">
                  <a:pos x="53" y="211"/>
                </a:cxn>
                <a:cxn ang="0">
                  <a:pos x="62" y="222"/>
                </a:cxn>
                <a:cxn ang="0">
                  <a:pos x="64" y="228"/>
                </a:cxn>
                <a:cxn ang="0">
                  <a:pos x="71" y="231"/>
                </a:cxn>
                <a:cxn ang="0">
                  <a:pos x="77" y="226"/>
                </a:cxn>
              </a:cxnLst>
              <a:rect l="0" t="0" r="r" b="b"/>
              <a:pathLst>
                <a:path w="404" h="245">
                  <a:moveTo>
                    <a:pt x="77" y="226"/>
                  </a:moveTo>
                  <a:cubicBezTo>
                    <a:pt x="77" y="226"/>
                    <a:pt x="86" y="228"/>
                    <a:pt x="89" y="231"/>
                  </a:cubicBezTo>
                  <a:cubicBezTo>
                    <a:pt x="91" y="233"/>
                    <a:pt x="96" y="237"/>
                    <a:pt x="97" y="237"/>
                  </a:cubicBezTo>
                  <a:cubicBezTo>
                    <a:pt x="98" y="236"/>
                    <a:pt x="103" y="231"/>
                    <a:pt x="103" y="231"/>
                  </a:cubicBezTo>
                  <a:cubicBezTo>
                    <a:pt x="104" y="231"/>
                    <a:pt x="123" y="233"/>
                    <a:pt x="123" y="233"/>
                  </a:cubicBezTo>
                  <a:cubicBezTo>
                    <a:pt x="123" y="233"/>
                    <a:pt x="126" y="236"/>
                    <a:pt x="128" y="236"/>
                  </a:cubicBezTo>
                  <a:cubicBezTo>
                    <a:pt x="129" y="236"/>
                    <a:pt x="153" y="243"/>
                    <a:pt x="158" y="243"/>
                  </a:cubicBezTo>
                  <a:cubicBezTo>
                    <a:pt x="163" y="242"/>
                    <a:pt x="173" y="237"/>
                    <a:pt x="173" y="237"/>
                  </a:cubicBezTo>
                  <a:cubicBezTo>
                    <a:pt x="173" y="237"/>
                    <a:pt x="193" y="245"/>
                    <a:pt x="195" y="243"/>
                  </a:cubicBezTo>
                  <a:cubicBezTo>
                    <a:pt x="197" y="242"/>
                    <a:pt x="204" y="238"/>
                    <a:pt x="204" y="238"/>
                  </a:cubicBezTo>
                  <a:cubicBezTo>
                    <a:pt x="204" y="237"/>
                    <a:pt x="211" y="227"/>
                    <a:pt x="213" y="227"/>
                  </a:cubicBezTo>
                  <a:cubicBezTo>
                    <a:pt x="215" y="226"/>
                    <a:pt x="235" y="225"/>
                    <a:pt x="236" y="225"/>
                  </a:cubicBezTo>
                  <a:cubicBezTo>
                    <a:pt x="237" y="225"/>
                    <a:pt x="240" y="209"/>
                    <a:pt x="248" y="212"/>
                  </a:cubicBezTo>
                  <a:cubicBezTo>
                    <a:pt x="256" y="214"/>
                    <a:pt x="261" y="220"/>
                    <a:pt x="262" y="220"/>
                  </a:cubicBezTo>
                  <a:cubicBezTo>
                    <a:pt x="263" y="219"/>
                    <a:pt x="280" y="207"/>
                    <a:pt x="289" y="214"/>
                  </a:cubicBezTo>
                  <a:cubicBezTo>
                    <a:pt x="299" y="220"/>
                    <a:pt x="302" y="225"/>
                    <a:pt x="302" y="225"/>
                  </a:cubicBezTo>
                  <a:cubicBezTo>
                    <a:pt x="302" y="225"/>
                    <a:pt x="314" y="225"/>
                    <a:pt x="314" y="224"/>
                  </a:cubicBezTo>
                  <a:cubicBezTo>
                    <a:pt x="314" y="223"/>
                    <a:pt x="328" y="212"/>
                    <a:pt x="329" y="212"/>
                  </a:cubicBezTo>
                  <a:cubicBezTo>
                    <a:pt x="330" y="212"/>
                    <a:pt x="350" y="212"/>
                    <a:pt x="363" y="212"/>
                  </a:cubicBezTo>
                  <a:cubicBezTo>
                    <a:pt x="363" y="212"/>
                    <a:pt x="362" y="212"/>
                    <a:pt x="362" y="212"/>
                  </a:cubicBezTo>
                  <a:cubicBezTo>
                    <a:pt x="362" y="204"/>
                    <a:pt x="371" y="201"/>
                    <a:pt x="371" y="201"/>
                  </a:cubicBezTo>
                  <a:cubicBezTo>
                    <a:pt x="404" y="167"/>
                    <a:pt x="404" y="167"/>
                    <a:pt x="404" y="167"/>
                  </a:cubicBezTo>
                  <a:cubicBezTo>
                    <a:pt x="388" y="152"/>
                    <a:pt x="388" y="152"/>
                    <a:pt x="388" y="152"/>
                  </a:cubicBezTo>
                  <a:cubicBezTo>
                    <a:pt x="367" y="156"/>
                    <a:pt x="367" y="156"/>
                    <a:pt x="367" y="156"/>
                  </a:cubicBezTo>
                  <a:cubicBezTo>
                    <a:pt x="370" y="134"/>
                    <a:pt x="370" y="134"/>
                    <a:pt x="370" y="134"/>
                  </a:cubicBezTo>
                  <a:cubicBezTo>
                    <a:pt x="322" y="132"/>
                    <a:pt x="322" y="132"/>
                    <a:pt x="322" y="132"/>
                  </a:cubicBezTo>
                  <a:cubicBezTo>
                    <a:pt x="329" y="110"/>
                    <a:pt x="329" y="110"/>
                    <a:pt x="329" y="110"/>
                  </a:cubicBezTo>
                  <a:cubicBezTo>
                    <a:pt x="307" y="84"/>
                    <a:pt x="307" y="84"/>
                    <a:pt x="307" y="84"/>
                  </a:cubicBezTo>
                  <a:cubicBezTo>
                    <a:pt x="307" y="84"/>
                    <a:pt x="310" y="57"/>
                    <a:pt x="302" y="45"/>
                  </a:cubicBezTo>
                  <a:cubicBezTo>
                    <a:pt x="295" y="33"/>
                    <a:pt x="288" y="29"/>
                    <a:pt x="288" y="29"/>
                  </a:cubicBezTo>
                  <a:cubicBezTo>
                    <a:pt x="248" y="26"/>
                    <a:pt x="248" y="26"/>
                    <a:pt x="248" y="26"/>
                  </a:cubicBezTo>
                  <a:cubicBezTo>
                    <a:pt x="236" y="29"/>
                    <a:pt x="236" y="29"/>
                    <a:pt x="236" y="29"/>
                  </a:cubicBezTo>
                  <a:cubicBezTo>
                    <a:pt x="236" y="29"/>
                    <a:pt x="198" y="9"/>
                    <a:pt x="198" y="8"/>
                  </a:cubicBezTo>
                  <a:cubicBezTo>
                    <a:pt x="197" y="8"/>
                    <a:pt x="180" y="12"/>
                    <a:pt x="180" y="12"/>
                  </a:cubicBezTo>
                  <a:cubicBezTo>
                    <a:pt x="155" y="0"/>
                    <a:pt x="155" y="0"/>
                    <a:pt x="155" y="0"/>
                  </a:cubicBezTo>
                  <a:cubicBezTo>
                    <a:pt x="155" y="0"/>
                    <a:pt x="150" y="12"/>
                    <a:pt x="149" y="13"/>
                  </a:cubicBezTo>
                  <a:cubicBezTo>
                    <a:pt x="149" y="14"/>
                    <a:pt x="127" y="5"/>
                    <a:pt x="127" y="5"/>
                  </a:cubicBezTo>
                  <a:cubicBezTo>
                    <a:pt x="127" y="5"/>
                    <a:pt x="117" y="10"/>
                    <a:pt x="116" y="10"/>
                  </a:cubicBezTo>
                  <a:cubicBezTo>
                    <a:pt x="115" y="10"/>
                    <a:pt x="110" y="3"/>
                    <a:pt x="110" y="3"/>
                  </a:cubicBezTo>
                  <a:cubicBezTo>
                    <a:pt x="96" y="5"/>
                    <a:pt x="96" y="5"/>
                    <a:pt x="96" y="5"/>
                  </a:cubicBezTo>
                  <a:cubicBezTo>
                    <a:pt x="89" y="15"/>
                    <a:pt x="89" y="15"/>
                    <a:pt x="89" y="15"/>
                  </a:cubicBezTo>
                  <a:cubicBezTo>
                    <a:pt x="62" y="26"/>
                    <a:pt x="62" y="26"/>
                    <a:pt x="62" y="26"/>
                  </a:cubicBezTo>
                  <a:cubicBezTo>
                    <a:pt x="62" y="26"/>
                    <a:pt x="59" y="45"/>
                    <a:pt x="58" y="48"/>
                  </a:cubicBezTo>
                  <a:cubicBezTo>
                    <a:pt x="56" y="52"/>
                    <a:pt x="40" y="58"/>
                    <a:pt x="40" y="58"/>
                  </a:cubicBezTo>
                  <a:cubicBezTo>
                    <a:pt x="31" y="91"/>
                    <a:pt x="31" y="91"/>
                    <a:pt x="31" y="91"/>
                  </a:cubicBezTo>
                  <a:cubicBezTo>
                    <a:pt x="31" y="91"/>
                    <a:pt x="26" y="94"/>
                    <a:pt x="22" y="97"/>
                  </a:cubicBezTo>
                  <a:cubicBezTo>
                    <a:pt x="23" y="103"/>
                    <a:pt x="23" y="103"/>
                    <a:pt x="23" y="103"/>
                  </a:cubicBezTo>
                  <a:cubicBezTo>
                    <a:pt x="29" y="109"/>
                    <a:pt x="29" y="109"/>
                    <a:pt x="29" y="109"/>
                  </a:cubicBezTo>
                  <a:cubicBezTo>
                    <a:pt x="23" y="117"/>
                    <a:pt x="23" y="117"/>
                    <a:pt x="23" y="117"/>
                  </a:cubicBezTo>
                  <a:cubicBezTo>
                    <a:pt x="23" y="117"/>
                    <a:pt x="26" y="128"/>
                    <a:pt x="21" y="134"/>
                  </a:cubicBezTo>
                  <a:cubicBezTo>
                    <a:pt x="17" y="140"/>
                    <a:pt x="12" y="156"/>
                    <a:pt x="12" y="156"/>
                  </a:cubicBezTo>
                  <a:cubicBezTo>
                    <a:pt x="16" y="163"/>
                    <a:pt x="16" y="163"/>
                    <a:pt x="16" y="163"/>
                  </a:cubicBezTo>
                  <a:cubicBezTo>
                    <a:pt x="16" y="163"/>
                    <a:pt x="6" y="172"/>
                    <a:pt x="3" y="177"/>
                  </a:cubicBezTo>
                  <a:cubicBezTo>
                    <a:pt x="0" y="183"/>
                    <a:pt x="14" y="191"/>
                    <a:pt x="14" y="191"/>
                  </a:cubicBezTo>
                  <a:cubicBezTo>
                    <a:pt x="33" y="183"/>
                    <a:pt x="33" y="183"/>
                    <a:pt x="33" y="183"/>
                  </a:cubicBezTo>
                  <a:cubicBezTo>
                    <a:pt x="33" y="183"/>
                    <a:pt x="44" y="189"/>
                    <a:pt x="48" y="192"/>
                  </a:cubicBezTo>
                  <a:cubicBezTo>
                    <a:pt x="52" y="194"/>
                    <a:pt x="53" y="206"/>
                    <a:pt x="53" y="211"/>
                  </a:cubicBezTo>
                  <a:cubicBezTo>
                    <a:pt x="53" y="217"/>
                    <a:pt x="55" y="217"/>
                    <a:pt x="62" y="222"/>
                  </a:cubicBezTo>
                  <a:cubicBezTo>
                    <a:pt x="65" y="224"/>
                    <a:pt x="65" y="226"/>
                    <a:pt x="64" y="228"/>
                  </a:cubicBezTo>
                  <a:cubicBezTo>
                    <a:pt x="71" y="231"/>
                    <a:pt x="71" y="231"/>
                    <a:pt x="71" y="231"/>
                  </a:cubicBezTo>
                  <a:lnTo>
                    <a:pt x="77" y="226"/>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6" name="Freeform 331">
              <a:extLst>
                <a:ext uri="{FF2B5EF4-FFF2-40B4-BE49-F238E27FC236}">
                  <a16:creationId xmlns:a16="http://schemas.microsoft.com/office/drawing/2014/main" id="{D111C6A8-E4A4-437E-B788-11A8C82C73D8}"/>
                </a:ext>
              </a:extLst>
            </p:cNvPr>
            <p:cNvSpPr>
              <a:spLocks noChangeAspect="1"/>
            </p:cNvSpPr>
            <p:nvPr/>
          </p:nvSpPr>
          <p:spPr bwMode="auto">
            <a:xfrm>
              <a:off x="12546" y="3969"/>
              <a:ext cx="653" cy="410"/>
            </a:xfrm>
            <a:custGeom>
              <a:avLst/>
              <a:gdLst/>
              <a:ahLst/>
              <a:cxnLst>
                <a:cxn ang="0">
                  <a:pos x="6" y="30"/>
                </a:cxn>
                <a:cxn ang="0">
                  <a:pos x="1" y="40"/>
                </a:cxn>
                <a:cxn ang="0">
                  <a:pos x="4" y="55"/>
                </a:cxn>
                <a:cxn ang="0">
                  <a:pos x="0" y="70"/>
                </a:cxn>
                <a:cxn ang="0">
                  <a:pos x="13" y="78"/>
                </a:cxn>
                <a:cxn ang="0">
                  <a:pos x="23" y="70"/>
                </a:cxn>
                <a:cxn ang="0">
                  <a:pos x="31" y="78"/>
                </a:cxn>
                <a:cxn ang="0">
                  <a:pos x="43" y="70"/>
                </a:cxn>
                <a:cxn ang="0">
                  <a:pos x="50" y="79"/>
                </a:cxn>
                <a:cxn ang="0">
                  <a:pos x="66" y="78"/>
                </a:cxn>
                <a:cxn ang="0">
                  <a:pos x="119" y="95"/>
                </a:cxn>
                <a:cxn ang="0">
                  <a:pos x="138" y="93"/>
                </a:cxn>
                <a:cxn ang="0">
                  <a:pos x="156" y="112"/>
                </a:cxn>
                <a:cxn ang="0">
                  <a:pos x="196" y="153"/>
                </a:cxn>
                <a:cxn ang="0">
                  <a:pos x="244" y="153"/>
                </a:cxn>
                <a:cxn ang="0">
                  <a:pos x="243" y="162"/>
                </a:cxn>
                <a:cxn ang="0">
                  <a:pos x="229" y="178"/>
                </a:cxn>
                <a:cxn ang="0">
                  <a:pos x="227" y="193"/>
                </a:cxn>
                <a:cxn ang="0">
                  <a:pos x="218" y="199"/>
                </a:cxn>
                <a:cxn ang="0">
                  <a:pos x="222" y="204"/>
                </a:cxn>
                <a:cxn ang="0">
                  <a:pos x="231" y="198"/>
                </a:cxn>
                <a:cxn ang="0">
                  <a:pos x="243" y="205"/>
                </a:cxn>
                <a:cxn ang="0">
                  <a:pos x="278" y="170"/>
                </a:cxn>
                <a:cxn ang="0">
                  <a:pos x="299" y="160"/>
                </a:cxn>
                <a:cxn ang="0">
                  <a:pos x="310" y="128"/>
                </a:cxn>
                <a:cxn ang="0">
                  <a:pos x="324" y="94"/>
                </a:cxn>
                <a:cxn ang="0">
                  <a:pos x="307" y="83"/>
                </a:cxn>
                <a:cxn ang="0">
                  <a:pos x="318" y="74"/>
                </a:cxn>
                <a:cxn ang="0">
                  <a:pos x="306" y="47"/>
                </a:cxn>
                <a:cxn ang="0">
                  <a:pos x="318" y="18"/>
                </a:cxn>
                <a:cxn ang="0">
                  <a:pos x="308" y="5"/>
                </a:cxn>
                <a:cxn ang="0">
                  <a:pos x="274" y="5"/>
                </a:cxn>
                <a:cxn ang="0">
                  <a:pos x="259" y="17"/>
                </a:cxn>
                <a:cxn ang="0">
                  <a:pos x="247" y="18"/>
                </a:cxn>
                <a:cxn ang="0">
                  <a:pos x="234" y="7"/>
                </a:cxn>
                <a:cxn ang="0">
                  <a:pos x="207" y="13"/>
                </a:cxn>
                <a:cxn ang="0">
                  <a:pos x="193" y="5"/>
                </a:cxn>
                <a:cxn ang="0">
                  <a:pos x="181" y="18"/>
                </a:cxn>
                <a:cxn ang="0">
                  <a:pos x="158" y="20"/>
                </a:cxn>
                <a:cxn ang="0">
                  <a:pos x="149" y="31"/>
                </a:cxn>
                <a:cxn ang="0">
                  <a:pos x="140" y="36"/>
                </a:cxn>
                <a:cxn ang="0">
                  <a:pos x="118" y="30"/>
                </a:cxn>
                <a:cxn ang="0">
                  <a:pos x="103" y="36"/>
                </a:cxn>
                <a:cxn ang="0">
                  <a:pos x="73" y="29"/>
                </a:cxn>
                <a:cxn ang="0">
                  <a:pos x="68" y="26"/>
                </a:cxn>
                <a:cxn ang="0">
                  <a:pos x="48" y="24"/>
                </a:cxn>
                <a:cxn ang="0">
                  <a:pos x="42" y="30"/>
                </a:cxn>
                <a:cxn ang="0">
                  <a:pos x="34" y="24"/>
                </a:cxn>
                <a:cxn ang="0">
                  <a:pos x="22" y="19"/>
                </a:cxn>
                <a:cxn ang="0">
                  <a:pos x="16" y="24"/>
                </a:cxn>
                <a:cxn ang="0">
                  <a:pos x="9" y="21"/>
                </a:cxn>
                <a:cxn ang="0">
                  <a:pos x="6" y="30"/>
                </a:cxn>
              </a:cxnLst>
              <a:rect l="0" t="0" r="r" b="b"/>
              <a:pathLst>
                <a:path w="326" h="205">
                  <a:moveTo>
                    <a:pt x="6" y="30"/>
                  </a:moveTo>
                  <a:cubicBezTo>
                    <a:pt x="7" y="35"/>
                    <a:pt x="1" y="40"/>
                    <a:pt x="1" y="40"/>
                  </a:cubicBezTo>
                  <a:cubicBezTo>
                    <a:pt x="1" y="40"/>
                    <a:pt x="4" y="53"/>
                    <a:pt x="4" y="55"/>
                  </a:cubicBezTo>
                  <a:cubicBezTo>
                    <a:pt x="5" y="56"/>
                    <a:pt x="3" y="64"/>
                    <a:pt x="0" y="70"/>
                  </a:cubicBezTo>
                  <a:cubicBezTo>
                    <a:pt x="4" y="74"/>
                    <a:pt x="10" y="78"/>
                    <a:pt x="13" y="78"/>
                  </a:cubicBezTo>
                  <a:cubicBezTo>
                    <a:pt x="17" y="78"/>
                    <a:pt x="23" y="70"/>
                    <a:pt x="23" y="70"/>
                  </a:cubicBezTo>
                  <a:cubicBezTo>
                    <a:pt x="31" y="78"/>
                    <a:pt x="31" y="78"/>
                    <a:pt x="31" y="78"/>
                  </a:cubicBezTo>
                  <a:cubicBezTo>
                    <a:pt x="43" y="70"/>
                    <a:pt x="43" y="70"/>
                    <a:pt x="43" y="70"/>
                  </a:cubicBezTo>
                  <a:cubicBezTo>
                    <a:pt x="43" y="70"/>
                    <a:pt x="50" y="79"/>
                    <a:pt x="50" y="79"/>
                  </a:cubicBezTo>
                  <a:cubicBezTo>
                    <a:pt x="51" y="79"/>
                    <a:pt x="66" y="78"/>
                    <a:pt x="66" y="78"/>
                  </a:cubicBezTo>
                  <a:cubicBezTo>
                    <a:pt x="119" y="95"/>
                    <a:pt x="119" y="95"/>
                    <a:pt x="119" y="95"/>
                  </a:cubicBezTo>
                  <a:cubicBezTo>
                    <a:pt x="119" y="95"/>
                    <a:pt x="130" y="84"/>
                    <a:pt x="138" y="93"/>
                  </a:cubicBezTo>
                  <a:cubicBezTo>
                    <a:pt x="147" y="101"/>
                    <a:pt x="156" y="112"/>
                    <a:pt x="156" y="112"/>
                  </a:cubicBezTo>
                  <a:cubicBezTo>
                    <a:pt x="196" y="153"/>
                    <a:pt x="196" y="153"/>
                    <a:pt x="196" y="153"/>
                  </a:cubicBezTo>
                  <a:cubicBezTo>
                    <a:pt x="196" y="153"/>
                    <a:pt x="245" y="153"/>
                    <a:pt x="244" y="153"/>
                  </a:cubicBezTo>
                  <a:cubicBezTo>
                    <a:pt x="244" y="154"/>
                    <a:pt x="248" y="160"/>
                    <a:pt x="243" y="162"/>
                  </a:cubicBezTo>
                  <a:cubicBezTo>
                    <a:pt x="238" y="164"/>
                    <a:pt x="229" y="178"/>
                    <a:pt x="229" y="178"/>
                  </a:cubicBezTo>
                  <a:cubicBezTo>
                    <a:pt x="227" y="193"/>
                    <a:pt x="227" y="193"/>
                    <a:pt x="227" y="193"/>
                  </a:cubicBezTo>
                  <a:cubicBezTo>
                    <a:pt x="218" y="199"/>
                    <a:pt x="218" y="199"/>
                    <a:pt x="218" y="199"/>
                  </a:cubicBezTo>
                  <a:cubicBezTo>
                    <a:pt x="222" y="204"/>
                    <a:pt x="222" y="204"/>
                    <a:pt x="222" y="204"/>
                  </a:cubicBezTo>
                  <a:cubicBezTo>
                    <a:pt x="231" y="198"/>
                    <a:pt x="231" y="198"/>
                    <a:pt x="231" y="198"/>
                  </a:cubicBezTo>
                  <a:cubicBezTo>
                    <a:pt x="243" y="205"/>
                    <a:pt x="243" y="205"/>
                    <a:pt x="243" y="205"/>
                  </a:cubicBezTo>
                  <a:cubicBezTo>
                    <a:pt x="255" y="190"/>
                    <a:pt x="269" y="178"/>
                    <a:pt x="278" y="170"/>
                  </a:cubicBezTo>
                  <a:cubicBezTo>
                    <a:pt x="289" y="161"/>
                    <a:pt x="292" y="164"/>
                    <a:pt x="299" y="160"/>
                  </a:cubicBezTo>
                  <a:cubicBezTo>
                    <a:pt x="306" y="156"/>
                    <a:pt x="310" y="128"/>
                    <a:pt x="310" y="128"/>
                  </a:cubicBezTo>
                  <a:cubicBezTo>
                    <a:pt x="310" y="128"/>
                    <a:pt x="323" y="94"/>
                    <a:pt x="324" y="94"/>
                  </a:cubicBezTo>
                  <a:cubicBezTo>
                    <a:pt x="326" y="94"/>
                    <a:pt x="307" y="83"/>
                    <a:pt x="307" y="83"/>
                  </a:cubicBezTo>
                  <a:cubicBezTo>
                    <a:pt x="307" y="83"/>
                    <a:pt x="317" y="74"/>
                    <a:pt x="318" y="74"/>
                  </a:cubicBezTo>
                  <a:cubicBezTo>
                    <a:pt x="319" y="74"/>
                    <a:pt x="311" y="58"/>
                    <a:pt x="306" y="47"/>
                  </a:cubicBezTo>
                  <a:cubicBezTo>
                    <a:pt x="302" y="36"/>
                    <a:pt x="315" y="24"/>
                    <a:pt x="318" y="18"/>
                  </a:cubicBezTo>
                  <a:cubicBezTo>
                    <a:pt x="321" y="12"/>
                    <a:pt x="308" y="14"/>
                    <a:pt x="308" y="5"/>
                  </a:cubicBezTo>
                  <a:cubicBezTo>
                    <a:pt x="295" y="5"/>
                    <a:pt x="275" y="5"/>
                    <a:pt x="274" y="5"/>
                  </a:cubicBezTo>
                  <a:cubicBezTo>
                    <a:pt x="273" y="5"/>
                    <a:pt x="259" y="16"/>
                    <a:pt x="259" y="17"/>
                  </a:cubicBezTo>
                  <a:cubicBezTo>
                    <a:pt x="259" y="18"/>
                    <a:pt x="247" y="18"/>
                    <a:pt x="247" y="18"/>
                  </a:cubicBezTo>
                  <a:cubicBezTo>
                    <a:pt x="247" y="18"/>
                    <a:pt x="244" y="13"/>
                    <a:pt x="234" y="7"/>
                  </a:cubicBezTo>
                  <a:cubicBezTo>
                    <a:pt x="225" y="0"/>
                    <a:pt x="208" y="12"/>
                    <a:pt x="207" y="13"/>
                  </a:cubicBezTo>
                  <a:cubicBezTo>
                    <a:pt x="206" y="13"/>
                    <a:pt x="201" y="7"/>
                    <a:pt x="193" y="5"/>
                  </a:cubicBezTo>
                  <a:cubicBezTo>
                    <a:pt x="185" y="2"/>
                    <a:pt x="182" y="18"/>
                    <a:pt x="181" y="18"/>
                  </a:cubicBezTo>
                  <a:cubicBezTo>
                    <a:pt x="180" y="18"/>
                    <a:pt x="160" y="19"/>
                    <a:pt x="158" y="20"/>
                  </a:cubicBezTo>
                  <a:cubicBezTo>
                    <a:pt x="156" y="20"/>
                    <a:pt x="149" y="30"/>
                    <a:pt x="149" y="31"/>
                  </a:cubicBezTo>
                  <a:cubicBezTo>
                    <a:pt x="149" y="31"/>
                    <a:pt x="142" y="35"/>
                    <a:pt x="140" y="36"/>
                  </a:cubicBezTo>
                  <a:cubicBezTo>
                    <a:pt x="138" y="38"/>
                    <a:pt x="118" y="30"/>
                    <a:pt x="118" y="30"/>
                  </a:cubicBezTo>
                  <a:cubicBezTo>
                    <a:pt x="118" y="30"/>
                    <a:pt x="108" y="35"/>
                    <a:pt x="103" y="36"/>
                  </a:cubicBezTo>
                  <a:cubicBezTo>
                    <a:pt x="98" y="36"/>
                    <a:pt x="74" y="29"/>
                    <a:pt x="73" y="29"/>
                  </a:cubicBezTo>
                  <a:cubicBezTo>
                    <a:pt x="71" y="29"/>
                    <a:pt x="68" y="26"/>
                    <a:pt x="68" y="26"/>
                  </a:cubicBezTo>
                  <a:cubicBezTo>
                    <a:pt x="68" y="26"/>
                    <a:pt x="49" y="24"/>
                    <a:pt x="48" y="24"/>
                  </a:cubicBezTo>
                  <a:cubicBezTo>
                    <a:pt x="48" y="24"/>
                    <a:pt x="43" y="29"/>
                    <a:pt x="42" y="30"/>
                  </a:cubicBezTo>
                  <a:cubicBezTo>
                    <a:pt x="41" y="30"/>
                    <a:pt x="36" y="26"/>
                    <a:pt x="34" y="24"/>
                  </a:cubicBezTo>
                  <a:cubicBezTo>
                    <a:pt x="31" y="21"/>
                    <a:pt x="22" y="19"/>
                    <a:pt x="22" y="19"/>
                  </a:cubicBezTo>
                  <a:cubicBezTo>
                    <a:pt x="16" y="24"/>
                    <a:pt x="16" y="24"/>
                    <a:pt x="16" y="24"/>
                  </a:cubicBezTo>
                  <a:cubicBezTo>
                    <a:pt x="9" y="21"/>
                    <a:pt x="9" y="21"/>
                    <a:pt x="9" y="21"/>
                  </a:cubicBezTo>
                  <a:cubicBezTo>
                    <a:pt x="8" y="24"/>
                    <a:pt x="5" y="27"/>
                    <a:pt x="6" y="3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7" name="Freeform 332">
              <a:extLst>
                <a:ext uri="{FF2B5EF4-FFF2-40B4-BE49-F238E27FC236}">
                  <a16:creationId xmlns:a16="http://schemas.microsoft.com/office/drawing/2014/main" id="{6F38510E-D274-4C39-8F99-ABF56BCCC3B1}"/>
                </a:ext>
              </a:extLst>
            </p:cNvPr>
            <p:cNvSpPr>
              <a:spLocks noChangeAspect="1"/>
            </p:cNvSpPr>
            <p:nvPr/>
          </p:nvSpPr>
          <p:spPr bwMode="auto">
            <a:xfrm>
              <a:off x="12628" y="3223"/>
              <a:ext cx="1081" cy="664"/>
            </a:xfrm>
            <a:custGeom>
              <a:avLst/>
              <a:gdLst/>
              <a:ahLst/>
              <a:cxnLst>
                <a:cxn ang="0">
                  <a:pos x="529" y="184"/>
                </a:cxn>
                <a:cxn ang="0">
                  <a:pos x="534" y="174"/>
                </a:cxn>
                <a:cxn ang="0">
                  <a:pos x="511" y="172"/>
                </a:cxn>
                <a:cxn ang="0">
                  <a:pos x="501" y="160"/>
                </a:cxn>
                <a:cxn ang="0">
                  <a:pos x="471" y="173"/>
                </a:cxn>
                <a:cxn ang="0">
                  <a:pos x="453" y="173"/>
                </a:cxn>
                <a:cxn ang="0">
                  <a:pos x="440" y="184"/>
                </a:cxn>
                <a:cxn ang="0">
                  <a:pos x="424" y="190"/>
                </a:cxn>
                <a:cxn ang="0">
                  <a:pos x="400" y="178"/>
                </a:cxn>
                <a:cxn ang="0">
                  <a:pos x="388" y="161"/>
                </a:cxn>
                <a:cxn ang="0">
                  <a:pos x="392" y="141"/>
                </a:cxn>
                <a:cxn ang="0">
                  <a:pos x="391" y="132"/>
                </a:cxn>
                <a:cxn ang="0">
                  <a:pos x="395" y="113"/>
                </a:cxn>
                <a:cxn ang="0">
                  <a:pos x="367" y="102"/>
                </a:cxn>
                <a:cxn ang="0">
                  <a:pos x="358" y="79"/>
                </a:cxn>
                <a:cxn ang="0">
                  <a:pos x="361" y="55"/>
                </a:cxn>
                <a:cxn ang="0">
                  <a:pos x="353" y="27"/>
                </a:cxn>
                <a:cxn ang="0">
                  <a:pos x="336" y="14"/>
                </a:cxn>
                <a:cxn ang="0">
                  <a:pos x="321" y="12"/>
                </a:cxn>
                <a:cxn ang="0">
                  <a:pos x="307" y="18"/>
                </a:cxn>
                <a:cxn ang="0">
                  <a:pos x="293" y="17"/>
                </a:cxn>
                <a:cxn ang="0">
                  <a:pos x="270" y="25"/>
                </a:cxn>
                <a:cxn ang="0">
                  <a:pos x="256" y="26"/>
                </a:cxn>
                <a:cxn ang="0">
                  <a:pos x="249" y="29"/>
                </a:cxn>
                <a:cxn ang="0">
                  <a:pos x="236" y="33"/>
                </a:cxn>
                <a:cxn ang="0">
                  <a:pos x="221" y="14"/>
                </a:cxn>
                <a:cxn ang="0">
                  <a:pos x="203" y="8"/>
                </a:cxn>
                <a:cxn ang="0">
                  <a:pos x="175" y="12"/>
                </a:cxn>
                <a:cxn ang="0">
                  <a:pos x="164" y="8"/>
                </a:cxn>
                <a:cxn ang="0">
                  <a:pos x="148" y="10"/>
                </a:cxn>
                <a:cxn ang="0">
                  <a:pos x="124" y="19"/>
                </a:cxn>
                <a:cxn ang="0">
                  <a:pos x="108" y="34"/>
                </a:cxn>
                <a:cxn ang="0">
                  <a:pos x="93" y="67"/>
                </a:cxn>
                <a:cxn ang="0">
                  <a:pos x="68" y="103"/>
                </a:cxn>
                <a:cxn ang="0">
                  <a:pos x="63" y="114"/>
                </a:cxn>
                <a:cxn ang="0">
                  <a:pos x="47" y="139"/>
                </a:cxn>
                <a:cxn ang="0">
                  <a:pos x="0" y="170"/>
                </a:cxn>
                <a:cxn ang="0">
                  <a:pos x="20" y="175"/>
                </a:cxn>
                <a:cxn ang="0">
                  <a:pos x="53" y="178"/>
                </a:cxn>
                <a:cxn ang="0">
                  <a:pos x="84" y="177"/>
                </a:cxn>
                <a:cxn ang="0">
                  <a:pos x="140" y="194"/>
                </a:cxn>
                <a:cxn ang="0">
                  <a:pos x="192" y="194"/>
                </a:cxn>
                <a:cxn ang="0">
                  <a:pos x="211" y="249"/>
                </a:cxn>
                <a:cxn ang="0">
                  <a:pos x="226" y="297"/>
                </a:cxn>
                <a:cxn ang="0">
                  <a:pos x="271" y="321"/>
                </a:cxn>
                <a:cxn ang="0">
                  <a:pos x="308" y="332"/>
                </a:cxn>
                <a:cxn ang="0">
                  <a:pos x="327" y="305"/>
                </a:cxn>
                <a:cxn ang="0">
                  <a:pos x="375" y="269"/>
                </a:cxn>
                <a:cxn ang="0">
                  <a:pos x="401" y="254"/>
                </a:cxn>
                <a:cxn ang="0">
                  <a:pos x="426" y="241"/>
                </a:cxn>
                <a:cxn ang="0">
                  <a:pos x="466" y="253"/>
                </a:cxn>
                <a:cxn ang="0">
                  <a:pos x="463" y="230"/>
                </a:cxn>
                <a:cxn ang="0">
                  <a:pos x="496" y="212"/>
                </a:cxn>
                <a:cxn ang="0">
                  <a:pos x="498" y="195"/>
                </a:cxn>
              </a:cxnLst>
              <a:rect l="0" t="0" r="r" b="b"/>
              <a:pathLst>
                <a:path w="539" h="332">
                  <a:moveTo>
                    <a:pt x="512" y="186"/>
                  </a:moveTo>
                  <a:cubicBezTo>
                    <a:pt x="521" y="184"/>
                    <a:pt x="526" y="184"/>
                    <a:pt x="529" y="184"/>
                  </a:cubicBezTo>
                  <a:cubicBezTo>
                    <a:pt x="532" y="184"/>
                    <a:pt x="539" y="178"/>
                    <a:pt x="539" y="178"/>
                  </a:cubicBezTo>
                  <a:cubicBezTo>
                    <a:pt x="534" y="174"/>
                    <a:pt x="534" y="174"/>
                    <a:pt x="534" y="174"/>
                  </a:cubicBezTo>
                  <a:cubicBezTo>
                    <a:pt x="527" y="169"/>
                    <a:pt x="527" y="169"/>
                    <a:pt x="527" y="169"/>
                  </a:cubicBezTo>
                  <a:cubicBezTo>
                    <a:pt x="527" y="169"/>
                    <a:pt x="519" y="172"/>
                    <a:pt x="511" y="172"/>
                  </a:cubicBezTo>
                  <a:cubicBezTo>
                    <a:pt x="503" y="172"/>
                    <a:pt x="508" y="171"/>
                    <a:pt x="506" y="164"/>
                  </a:cubicBezTo>
                  <a:cubicBezTo>
                    <a:pt x="504" y="157"/>
                    <a:pt x="501" y="160"/>
                    <a:pt x="501" y="160"/>
                  </a:cubicBezTo>
                  <a:cubicBezTo>
                    <a:pt x="484" y="162"/>
                    <a:pt x="484" y="162"/>
                    <a:pt x="484" y="162"/>
                  </a:cubicBezTo>
                  <a:cubicBezTo>
                    <a:pt x="484" y="162"/>
                    <a:pt x="477" y="170"/>
                    <a:pt x="471" y="173"/>
                  </a:cubicBezTo>
                  <a:cubicBezTo>
                    <a:pt x="464" y="175"/>
                    <a:pt x="455" y="169"/>
                    <a:pt x="455" y="169"/>
                  </a:cubicBezTo>
                  <a:cubicBezTo>
                    <a:pt x="453" y="173"/>
                    <a:pt x="453" y="173"/>
                    <a:pt x="453" y="173"/>
                  </a:cubicBezTo>
                  <a:cubicBezTo>
                    <a:pt x="446" y="170"/>
                    <a:pt x="446" y="170"/>
                    <a:pt x="446" y="170"/>
                  </a:cubicBezTo>
                  <a:cubicBezTo>
                    <a:pt x="440" y="184"/>
                    <a:pt x="440" y="184"/>
                    <a:pt x="440" y="184"/>
                  </a:cubicBezTo>
                  <a:cubicBezTo>
                    <a:pt x="429" y="184"/>
                    <a:pt x="429" y="184"/>
                    <a:pt x="429" y="184"/>
                  </a:cubicBezTo>
                  <a:cubicBezTo>
                    <a:pt x="424" y="190"/>
                    <a:pt x="424" y="190"/>
                    <a:pt x="424" y="190"/>
                  </a:cubicBezTo>
                  <a:cubicBezTo>
                    <a:pt x="410" y="189"/>
                    <a:pt x="410" y="189"/>
                    <a:pt x="410" y="189"/>
                  </a:cubicBezTo>
                  <a:cubicBezTo>
                    <a:pt x="400" y="178"/>
                    <a:pt x="400" y="178"/>
                    <a:pt x="400" y="178"/>
                  </a:cubicBezTo>
                  <a:cubicBezTo>
                    <a:pt x="400" y="166"/>
                    <a:pt x="400" y="166"/>
                    <a:pt x="400" y="166"/>
                  </a:cubicBezTo>
                  <a:cubicBezTo>
                    <a:pt x="400" y="166"/>
                    <a:pt x="393" y="162"/>
                    <a:pt x="388" y="161"/>
                  </a:cubicBezTo>
                  <a:cubicBezTo>
                    <a:pt x="382" y="159"/>
                    <a:pt x="380" y="152"/>
                    <a:pt x="384" y="152"/>
                  </a:cubicBezTo>
                  <a:cubicBezTo>
                    <a:pt x="388" y="152"/>
                    <a:pt x="392" y="141"/>
                    <a:pt x="392" y="141"/>
                  </a:cubicBezTo>
                  <a:cubicBezTo>
                    <a:pt x="383" y="136"/>
                    <a:pt x="383" y="136"/>
                    <a:pt x="383" y="136"/>
                  </a:cubicBezTo>
                  <a:cubicBezTo>
                    <a:pt x="391" y="132"/>
                    <a:pt x="391" y="132"/>
                    <a:pt x="391" y="132"/>
                  </a:cubicBezTo>
                  <a:cubicBezTo>
                    <a:pt x="386" y="127"/>
                    <a:pt x="386" y="127"/>
                    <a:pt x="386" y="127"/>
                  </a:cubicBezTo>
                  <a:cubicBezTo>
                    <a:pt x="386" y="127"/>
                    <a:pt x="393" y="115"/>
                    <a:pt x="395" y="113"/>
                  </a:cubicBezTo>
                  <a:cubicBezTo>
                    <a:pt x="397" y="111"/>
                    <a:pt x="397" y="99"/>
                    <a:pt x="384" y="97"/>
                  </a:cubicBezTo>
                  <a:cubicBezTo>
                    <a:pt x="371" y="94"/>
                    <a:pt x="367" y="102"/>
                    <a:pt x="367" y="102"/>
                  </a:cubicBezTo>
                  <a:cubicBezTo>
                    <a:pt x="367" y="102"/>
                    <a:pt x="367" y="94"/>
                    <a:pt x="365" y="90"/>
                  </a:cubicBezTo>
                  <a:cubicBezTo>
                    <a:pt x="363" y="86"/>
                    <a:pt x="358" y="86"/>
                    <a:pt x="358" y="79"/>
                  </a:cubicBezTo>
                  <a:cubicBezTo>
                    <a:pt x="357" y="72"/>
                    <a:pt x="353" y="73"/>
                    <a:pt x="352" y="66"/>
                  </a:cubicBezTo>
                  <a:cubicBezTo>
                    <a:pt x="351" y="58"/>
                    <a:pt x="360" y="56"/>
                    <a:pt x="361" y="55"/>
                  </a:cubicBezTo>
                  <a:cubicBezTo>
                    <a:pt x="362" y="53"/>
                    <a:pt x="347" y="39"/>
                    <a:pt x="347" y="39"/>
                  </a:cubicBezTo>
                  <a:cubicBezTo>
                    <a:pt x="353" y="27"/>
                    <a:pt x="353" y="27"/>
                    <a:pt x="353" y="27"/>
                  </a:cubicBezTo>
                  <a:cubicBezTo>
                    <a:pt x="353" y="27"/>
                    <a:pt x="346" y="21"/>
                    <a:pt x="343" y="20"/>
                  </a:cubicBezTo>
                  <a:cubicBezTo>
                    <a:pt x="339" y="18"/>
                    <a:pt x="336" y="14"/>
                    <a:pt x="336" y="14"/>
                  </a:cubicBezTo>
                  <a:cubicBezTo>
                    <a:pt x="330" y="18"/>
                    <a:pt x="330" y="18"/>
                    <a:pt x="330" y="18"/>
                  </a:cubicBezTo>
                  <a:cubicBezTo>
                    <a:pt x="330" y="18"/>
                    <a:pt x="328" y="13"/>
                    <a:pt x="321" y="12"/>
                  </a:cubicBezTo>
                  <a:cubicBezTo>
                    <a:pt x="315" y="12"/>
                    <a:pt x="314" y="20"/>
                    <a:pt x="314" y="20"/>
                  </a:cubicBezTo>
                  <a:cubicBezTo>
                    <a:pt x="307" y="18"/>
                    <a:pt x="307" y="18"/>
                    <a:pt x="307" y="18"/>
                  </a:cubicBezTo>
                  <a:cubicBezTo>
                    <a:pt x="307" y="18"/>
                    <a:pt x="307" y="22"/>
                    <a:pt x="304" y="22"/>
                  </a:cubicBezTo>
                  <a:cubicBezTo>
                    <a:pt x="300" y="23"/>
                    <a:pt x="293" y="17"/>
                    <a:pt x="293" y="17"/>
                  </a:cubicBezTo>
                  <a:cubicBezTo>
                    <a:pt x="293" y="22"/>
                    <a:pt x="293" y="22"/>
                    <a:pt x="293" y="22"/>
                  </a:cubicBezTo>
                  <a:cubicBezTo>
                    <a:pt x="293" y="22"/>
                    <a:pt x="273" y="21"/>
                    <a:pt x="270" y="25"/>
                  </a:cubicBezTo>
                  <a:cubicBezTo>
                    <a:pt x="267" y="28"/>
                    <a:pt x="261" y="20"/>
                    <a:pt x="261" y="20"/>
                  </a:cubicBezTo>
                  <a:cubicBezTo>
                    <a:pt x="256" y="26"/>
                    <a:pt x="256" y="26"/>
                    <a:pt x="256" y="26"/>
                  </a:cubicBezTo>
                  <a:cubicBezTo>
                    <a:pt x="256" y="26"/>
                    <a:pt x="256" y="42"/>
                    <a:pt x="251" y="42"/>
                  </a:cubicBezTo>
                  <a:cubicBezTo>
                    <a:pt x="247" y="42"/>
                    <a:pt x="249" y="34"/>
                    <a:pt x="249" y="29"/>
                  </a:cubicBezTo>
                  <a:cubicBezTo>
                    <a:pt x="249" y="24"/>
                    <a:pt x="244" y="23"/>
                    <a:pt x="244" y="23"/>
                  </a:cubicBezTo>
                  <a:cubicBezTo>
                    <a:pt x="244" y="23"/>
                    <a:pt x="242" y="33"/>
                    <a:pt x="236" y="33"/>
                  </a:cubicBezTo>
                  <a:cubicBezTo>
                    <a:pt x="229" y="33"/>
                    <a:pt x="226" y="23"/>
                    <a:pt x="226" y="23"/>
                  </a:cubicBezTo>
                  <a:cubicBezTo>
                    <a:pt x="226" y="23"/>
                    <a:pt x="222" y="14"/>
                    <a:pt x="221" y="14"/>
                  </a:cubicBezTo>
                  <a:cubicBezTo>
                    <a:pt x="220" y="14"/>
                    <a:pt x="217" y="9"/>
                    <a:pt x="217" y="9"/>
                  </a:cubicBezTo>
                  <a:cubicBezTo>
                    <a:pt x="203" y="8"/>
                    <a:pt x="203" y="8"/>
                    <a:pt x="203" y="8"/>
                  </a:cubicBezTo>
                  <a:cubicBezTo>
                    <a:pt x="196" y="12"/>
                    <a:pt x="196" y="12"/>
                    <a:pt x="196" y="12"/>
                  </a:cubicBezTo>
                  <a:cubicBezTo>
                    <a:pt x="196" y="12"/>
                    <a:pt x="176" y="12"/>
                    <a:pt x="175" y="12"/>
                  </a:cubicBezTo>
                  <a:cubicBezTo>
                    <a:pt x="174" y="12"/>
                    <a:pt x="173" y="5"/>
                    <a:pt x="173" y="5"/>
                  </a:cubicBezTo>
                  <a:cubicBezTo>
                    <a:pt x="164" y="8"/>
                    <a:pt x="164" y="8"/>
                    <a:pt x="164" y="8"/>
                  </a:cubicBezTo>
                  <a:cubicBezTo>
                    <a:pt x="164" y="8"/>
                    <a:pt x="159" y="1"/>
                    <a:pt x="158" y="0"/>
                  </a:cubicBezTo>
                  <a:cubicBezTo>
                    <a:pt x="157" y="0"/>
                    <a:pt x="148" y="10"/>
                    <a:pt x="148" y="10"/>
                  </a:cubicBezTo>
                  <a:cubicBezTo>
                    <a:pt x="139" y="8"/>
                    <a:pt x="139" y="8"/>
                    <a:pt x="139" y="8"/>
                  </a:cubicBezTo>
                  <a:cubicBezTo>
                    <a:pt x="139" y="8"/>
                    <a:pt x="130" y="15"/>
                    <a:pt x="124" y="19"/>
                  </a:cubicBezTo>
                  <a:cubicBezTo>
                    <a:pt x="123" y="33"/>
                    <a:pt x="123" y="33"/>
                    <a:pt x="123" y="33"/>
                  </a:cubicBezTo>
                  <a:cubicBezTo>
                    <a:pt x="108" y="34"/>
                    <a:pt x="108" y="34"/>
                    <a:pt x="108" y="34"/>
                  </a:cubicBezTo>
                  <a:cubicBezTo>
                    <a:pt x="86" y="56"/>
                    <a:pt x="86" y="56"/>
                    <a:pt x="86" y="56"/>
                  </a:cubicBezTo>
                  <a:cubicBezTo>
                    <a:pt x="93" y="67"/>
                    <a:pt x="93" y="67"/>
                    <a:pt x="93" y="67"/>
                  </a:cubicBezTo>
                  <a:cubicBezTo>
                    <a:pt x="93" y="67"/>
                    <a:pt x="75" y="81"/>
                    <a:pt x="74" y="82"/>
                  </a:cubicBezTo>
                  <a:cubicBezTo>
                    <a:pt x="73" y="83"/>
                    <a:pt x="68" y="103"/>
                    <a:pt x="68" y="103"/>
                  </a:cubicBezTo>
                  <a:cubicBezTo>
                    <a:pt x="58" y="105"/>
                    <a:pt x="58" y="105"/>
                    <a:pt x="58" y="105"/>
                  </a:cubicBezTo>
                  <a:cubicBezTo>
                    <a:pt x="63" y="114"/>
                    <a:pt x="63" y="114"/>
                    <a:pt x="63" y="114"/>
                  </a:cubicBezTo>
                  <a:cubicBezTo>
                    <a:pt x="63" y="114"/>
                    <a:pt x="48" y="126"/>
                    <a:pt x="47" y="127"/>
                  </a:cubicBezTo>
                  <a:cubicBezTo>
                    <a:pt x="46" y="129"/>
                    <a:pt x="47" y="134"/>
                    <a:pt x="47" y="139"/>
                  </a:cubicBezTo>
                  <a:cubicBezTo>
                    <a:pt x="47" y="144"/>
                    <a:pt x="0" y="170"/>
                    <a:pt x="0" y="170"/>
                  </a:cubicBezTo>
                  <a:cubicBezTo>
                    <a:pt x="0" y="170"/>
                    <a:pt x="0" y="170"/>
                    <a:pt x="0" y="170"/>
                  </a:cubicBezTo>
                  <a:cubicBezTo>
                    <a:pt x="14" y="168"/>
                    <a:pt x="14" y="168"/>
                    <a:pt x="14" y="168"/>
                  </a:cubicBezTo>
                  <a:cubicBezTo>
                    <a:pt x="14" y="168"/>
                    <a:pt x="19" y="175"/>
                    <a:pt x="20" y="175"/>
                  </a:cubicBezTo>
                  <a:cubicBezTo>
                    <a:pt x="21" y="175"/>
                    <a:pt x="31" y="170"/>
                    <a:pt x="31" y="170"/>
                  </a:cubicBezTo>
                  <a:cubicBezTo>
                    <a:pt x="31" y="170"/>
                    <a:pt x="53" y="179"/>
                    <a:pt x="53" y="178"/>
                  </a:cubicBezTo>
                  <a:cubicBezTo>
                    <a:pt x="54" y="177"/>
                    <a:pt x="59" y="165"/>
                    <a:pt x="59" y="165"/>
                  </a:cubicBezTo>
                  <a:cubicBezTo>
                    <a:pt x="84" y="177"/>
                    <a:pt x="84" y="177"/>
                    <a:pt x="84" y="177"/>
                  </a:cubicBezTo>
                  <a:cubicBezTo>
                    <a:pt x="84" y="177"/>
                    <a:pt x="101" y="173"/>
                    <a:pt x="102" y="173"/>
                  </a:cubicBezTo>
                  <a:cubicBezTo>
                    <a:pt x="102" y="174"/>
                    <a:pt x="140" y="194"/>
                    <a:pt x="140" y="194"/>
                  </a:cubicBezTo>
                  <a:cubicBezTo>
                    <a:pt x="152" y="191"/>
                    <a:pt x="152" y="191"/>
                    <a:pt x="152" y="191"/>
                  </a:cubicBezTo>
                  <a:cubicBezTo>
                    <a:pt x="192" y="194"/>
                    <a:pt x="192" y="194"/>
                    <a:pt x="192" y="194"/>
                  </a:cubicBezTo>
                  <a:cubicBezTo>
                    <a:pt x="192" y="194"/>
                    <a:pt x="199" y="198"/>
                    <a:pt x="206" y="210"/>
                  </a:cubicBezTo>
                  <a:cubicBezTo>
                    <a:pt x="214" y="222"/>
                    <a:pt x="211" y="249"/>
                    <a:pt x="211" y="249"/>
                  </a:cubicBezTo>
                  <a:cubicBezTo>
                    <a:pt x="233" y="275"/>
                    <a:pt x="233" y="275"/>
                    <a:pt x="233" y="275"/>
                  </a:cubicBezTo>
                  <a:cubicBezTo>
                    <a:pt x="226" y="297"/>
                    <a:pt x="226" y="297"/>
                    <a:pt x="226" y="297"/>
                  </a:cubicBezTo>
                  <a:cubicBezTo>
                    <a:pt x="274" y="299"/>
                    <a:pt x="274" y="299"/>
                    <a:pt x="274" y="299"/>
                  </a:cubicBezTo>
                  <a:cubicBezTo>
                    <a:pt x="271" y="321"/>
                    <a:pt x="271" y="321"/>
                    <a:pt x="271" y="321"/>
                  </a:cubicBezTo>
                  <a:cubicBezTo>
                    <a:pt x="292" y="317"/>
                    <a:pt x="292" y="317"/>
                    <a:pt x="292" y="317"/>
                  </a:cubicBezTo>
                  <a:cubicBezTo>
                    <a:pt x="308" y="332"/>
                    <a:pt x="308" y="332"/>
                    <a:pt x="308" y="332"/>
                  </a:cubicBezTo>
                  <a:cubicBezTo>
                    <a:pt x="312" y="328"/>
                    <a:pt x="312" y="328"/>
                    <a:pt x="312" y="328"/>
                  </a:cubicBezTo>
                  <a:cubicBezTo>
                    <a:pt x="312" y="328"/>
                    <a:pt x="320" y="310"/>
                    <a:pt x="327" y="305"/>
                  </a:cubicBezTo>
                  <a:cubicBezTo>
                    <a:pt x="335" y="301"/>
                    <a:pt x="346" y="294"/>
                    <a:pt x="360" y="285"/>
                  </a:cubicBezTo>
                  <a:cubicBezTo>
                    <a:pt x="375" y="276"/>
                    <a:pt x="368" y="274"/>
                    <a:pt x="375" y="269"/>
                  </a:cubicBezTo>
                  <a:cubicBezTo>
                    <a:pt x="382" y="264"/>
                    <a:pt x="380" y="265"/>
                    <a:pt x="387" y="264"/>
                  </a:cubicBezTo>
                  <a:cubicBezTo>
                    <a:pt x="394" y="262"/>
                    <a:pt x="401" y="254"/>
                    <a:pt x="401" y="254"/>
                  </a:cubicBezTo>
                  <a:cubicBezTo>
                    <a:pt x="412" y="256"/>
                    <a:pt x="412" y="256"/>
                    <a:pt x="412" y="256"/>
                  </a:cubicBezTo>
                  <a:cubicBezTo>
                    <a:pt x="426" y="241"/>
                    <a:pt x="426" y="241"/>
                    <a:pt x="426" y="241"/>
                  </a:cubicBezTo>
                  <a:cubicBezTo>
                    <a:pt x="451" y="242"/>
                    <a:pt x="451" y="242"/>
                    <a:pt x="451" y="242"/>
                  </a:cubicBezTo>
                  <a:cubicBezTo>
                    <a:pt x="466" y="253"/>
                    <a:pt x="466" y="253"/>
                    <a:pt x="466" y="253"/>
                  </a:cubicBezTo>
                  <a:cubicBezTo>
                    <a:pt x="477" y="245"/>
                    <a:pt x="477" y="245"/>
                    <a:pt x="477" y="245"/>
                  </a:cubicBezTo>
                  <a:cubicBezTo>
                    <a:pt x="463" y="230"/>
                    <a:pt x="463" y="230"/>
                    <a:pt x="463" y="230"/>
                  </a:cubicBezTo>
                  <a:cubicBezTo>
                    <a:pt x="473" y="229"/>
                    <a:pt x="473" y="229"/>
                    <a:pt x="473" y="229"/>
                  </a:cubicBezTo>
                  <a:cubicBezTo>
                    <a:pt x="496" y="212"/>
                    <a:pt x="496" y="212"/>
                    <a:pt x="496" y="212"/>
                  </a:cubicBezTo>
                  <a:cubicBezTo>
                    <a:pt x="498" y="213"/>
                    <a:pt x="498" y="213"/>
                    <a:pt x="498" y="213"/>
                  </a:cubicBezTo>
                  <a:cubicBezTo>
                    <a:pt x="498" y="207"/>
                    <a:pt x="498" y="196"/>
                    <a:pt x="498" y="195"/>
                  </a:cubicBezTo>
                  <a:cubicBezTo>
                    <a:pt x="498" y="194"/>
                    <a:pt x="504" y="189"/>
                    <a:pt x="512" y="186"/>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8" name="Freeform 333">
              <a:extLst>
                <a:ext uri="{FF2B5EF4-FFF2-40B4-BE49-F238E27FC236}">
                  <a16:creationId xmlns:a16="http://schemas.microsoft.com/office/drawing/2014/main" id="{5486631B-6671-4025-BC5D-C22B259744B4}"/>
                </a:ext>
              </a:extLst>
            </p:cNvPr>
            <p:cNvSpPr>
              <a:spLocks noChangeAspect="1"/>
            </p:cNvSpPr>
            <p:nvPr/>
          </p:nvSpPr>
          <p:spPr bwMode="auto">
            <a:xfrm>
              <a:off x="13627" y="3344"/>
              <a:ext cx="467" cy="309"/>
            </a:xfrm>
            <a:custGeom>
              <a:avLst/>
              <a:gdLst/>
              <a:ahLst/>
              <a:cxnLst>
                <a:cxn ang="0">
                  <a:pos x="189" y="26"/>
                </a:cxn>
                <a:cxn ang="0">
                  <a:pos x="187" y="5"/>
                </a:cxn>
                <a:cxn ang="0">
                  <a:pos x="182" y="0"/>
                </a:cxn>
                <a:cxn ang="0">
                  <a:pos x="174" y="10"/>
                </a:cxn>
                <a:cxn ang="0">
                  <a:pos x="164" y="10"/>
                </a:cxn>
                <a:cxn ang="0">
                  <a:pos x="165" y="20"/>
                </a:cxn>
                <a:cxn ang="0">
                  <a:pos x="158" y="30"/>
                </a:cxn>
                <a:cxn ang="0">
                  <a:pos x="158" y="44"/>
                </a:cxn>
                <a:cxn ang="0">
                  <a:pos x="150" y="50"/>
                </a:cxn>
                <a:cxn ang="0">
                  <a:pos x="152" y="56"/>
                </a:cxn>
                <a:cxn ang="0">
                  <a:pos x="144" y="60"/>
                </a:cxn>
                <a:cxn ang="0">
                  <a:pos x="107" y="81"/>
                </a:cxn>
                <a:cxn ang="0">
                  <a:pos x="64" y="77"/>
                </a:cxn>
                <a:cxn ang="0">
                  <a:pos x="37" y="91"/>
                </a:cxn>
                <a:cxn ang="0">
                  <a:pos x="20" y="86"/>
                </a:cxn>
                <a:cxn ang="0">
                  <a:pos x="1" y="101"/>
                </a:cxn>
                <a:cxn ang="0">
                  <a:pos x="3" y="100"/>
                </a:cxn>
                <a:cxn ang="0">
                  <a:pos x="8" y="104"/>
                </a:cxn>
                <a:cxn ang="0">
                  <a:pos x="13" y="112"/>
                </a:cxn>
                <a:cxn ang="0">
                  <a:pos x="29" y="109"/>
                </a:cxn>
                <a:cxn ang="0">
                  <a:pos x="36" y="114"/>
                </a:cxn>
                <a:cxn ang="0">
                  <a:pos x="41" y="118"/>
                </a:cxn>
                <a:cxn ang="0">
                  <a:pos x="31" y="124"/>
                </a:cxn>
                <a:cxn ang="0">
                  <a:pos x="14" y="126"/>
                </a:cxn>
                <a:cxn ang="0">
                  <a:pos x="0" y="135"/>
                </a:cxn>
                <a:cxn ang="0">
                  <a:pos x="0" y="153"/>
                </a:cxn>
                <a:cxn ang="0">
                  <a:pos x="6" y="155"/>
                </a:cxn>
                <a:cxn ang="0">
                  <a:pos x="8" y="137"/>
                </a:cxn>
                <a:cxn ang="0">
                  <a:pos x="24" y="138"/>
                </a:cxn>
                <a:cxn ang="0">
                  <a:pos x="32" y="130"/>
                </a:cxn>
                <a:cxn ang="0">
                  <a:pos x="44" y="139"/>
                </a:cxn>
                <a:cxn ang="0">
                  <a:pos x="61" y="132"/>
                </a:cxn>
                <a:cxn ang="0">
                  <a:pos x="70" y="137"/>
                </a:cxn>
                <a:cxn ang="0">
                  <a:pos x="97" y="137"/>
                </a:cxn>
                <a:cxn ang="0">
                  <a:pos x="95" y="126"/>
                </a:cxn>
                <a:cxn ang="0">
                  <a:pos x="104" y="119"/>
                </a:cxn>
                <a:cxn ang="0">
                  <a:pos x="106" y="132"/>
                </a:cxn>
                <a:cxn ang="0">
                  <a:pos x="144" y="129"/>
                </a:cxn>
                <a:cxn ang="0">
                  <a:pos x="165" y="133"/>
                </a:cxn>
                <a:cxn ang="0">
                  <a:pos x="178" y="122"/>
                </a:cxn>
                <a:cxn ang="0">
                  <a:pos x="172" y="109"/>
                </a:cxn>
                <a:cxn ang="0">
                  <a:pos x="192" y="89"/>
                </a:cxn>
                <a:cxn ang="0">
                  <a:pos x="217" y="83"/>
                </a:cxn>
                <a:cxn ang="0">
                  <a:pos x="234" y="72"/>
                </a:cxn>
                <a:cxn ang="0">
                  <a:pos x="228" y="44"/>
                </a:cxn>
                <a:cxn ang="0">
                  <a:pos x="234" y="29"/>
                </a:cxn>
                <a:cxn ang="0">
                  <a:pos x="207" y="29"/>
                </a:cxn>
                <a:cxn ang="0">
                  <a:pos x="189" y="26"/>
                </a:cxn>
              </a:cxnLst>
              <a:rect l="0" t="0" r="r" b="b"/>
              <a:pathLst>
                <a:path w="234" h="155">
                  <a:moveTo>
                    <a:pt x="189" y="26"/>
                  </a:moveTo>
                  <a:cubicBezTo>
                    <a:pt x="189" y="26"/>
                    <a:pt x="187" y="9"/>
                    <a:pt x="187" y="5"/>
                  </a:cubicBezTo>
                  <a:cubicBezTo>
                    <a:pt x="187" y="0"/>
                    <a:pt x="182" y="0"/>
                    <a:pt x="182" y="0"/>
                  </a:cubicBezTo>
                  <a:cubicBezTo>
                    <a:pt x="174" y="10"/>
                    <a:pt x="174" y="10"/>
                    <a:pt x="174" y="10"/>
                  </a:cubicBezTo>
                  <a:cubicBezTo>
                    <a:pt x="164" y="10"/>
                    <a:pt x="164" y="10"/>
                    <a:pt x="164" y="10"/>
                  </a:cubicBezTo>
                  <a:cubicBezTo>
                    <a:pt x="165" y="20"/>
                    <a:pt x="165" y="20"/>
                    <a:pt x="165" y="20"/>
                  </a:cubicBezTo>
                  <a:cubicBezTo>
                    <a:pt x="165" y="20"/>
                    <a:pt x="158" y="28"/>
                    <a:pt x="158" y="30"/>
                  </a:cubicBezTo>
                  <a:cubicBezTo>
                    <a:pt x="158" y="31"/>
                    <a:pt x="158" y="44"/>
                    <a:pt x="158" y="44"/>
                  </a:cubicBezTo>
                  <a:cubicBezTo>
                    <a:pt x="150" y="50"/>
                    <a:pt x="150" y="50"/>
                    <a:pt x="150" y="50"/>
                  </a:cubicBezTo>
                  <a:cubicBezTo>
                    <a:pt x="152" y="56"/>
                    <a:pt x="152" y="56"/>
                    <a:pt x="152" y="56"/>
                  </a:cubicBezTo>
                  <a:cubicBezTo>
                    <a:pt x="152" y="56"/>
                    <a:pt x="152" y="59"/>
                    <a:pt x="144" y="60"/>
                  </a:cubicBezTo>
                  <a:cubicBezTo>
                    <a:pt x="136" y="61"/>
                    <a:pt x="107" y="81"/>
                    <a:pt x="107" y="81"/>
                  </a:cubicBezTo>
                  <a:cubicBezTo>
                    <a:pt x="107" y="81"/>
                    <a:pt x="65" y="77"/>
                    <a:pt x="64" y="77"/>
                  </a:cubicBezTo>
                  <a:cubicBezTo>
                    <a:pt x="62" y="77"/>
                    <a:pt x="38" y="90"/>
                    <a:pt x="37" y="91"/>
                  </a:cubicBezTo>
                  <a:cubicBezTo>
                    <a:pt x="36" y="91"/>
                    <a:pt x="20" y="86"/>
                    <a:pt x="20" y="86"/>
                  </a:cubicBezTo>
                  <a:cubicBezTo>
                    <a:pt x="1" y="101"/>
                    <a:pt x="1" y="101"/>
                    <a:pt x="1" y="101"/>
                  </a:cubicBezTo>
                  <a:cubicBezTo>
                    <a:pt x="3" y="100"/>
                    <a:pt x="3" y="100"/>
                    <a:pt x="3" y="100"/>
                  </a:cubicBezTo>
                  <a:cubicBezTo>
                    <a:pt x="3" y="100"/>
                    <a:pt x="6" y="97"/>
                    <a:pt x="8" y="104"/>
                  </a:cubicBezTo>
                  <a:cubicBezTo>
                    <a:pt x="10" y="111"/>
                    <a:pt x="5" y="112"/>
                    <a:pt x="13" y="112"/>
                  </a:cubicBezTo>
                  <a:cubicBezTo>
                    <a:pt x="21" y="112"/>
                    <a:pt x="29" y="109"/>
                    <a:pt x="29" y="109"/>
                  </a:cubicBezTo>
                  <a:cubicBezTo>
                    <a:pt x="36" y="114"/>
                    <a:pt x="36" y="114"/>
                    <a:pt x="36" y="114"/>
                  </a:cubicBezTo>
                  <a:cubicBezTo>
                    <a:pt x="41" y="118"/>
                    <a:pt x="41" y="118"/>
                    <a:pt x="41" y="118"/>
                  </a:cubicBezTo>
                  <a:cubicBezTo>
                    <a:pt x="41" y="118"/>
                    <a:pt x="34" y="124"/>
                    <a:pt x="31" y="124"/>
                  </a:cubicBezTo>
                  <a:cubicBezTo>
                    <a:pt x="28" y="124"/>
                    <a:pt x="23" y="124"/>
                    <a:pt x="14" y="126"/>
                  </a:cubicBezTo>
                  <a:cubicBezTo>
                    <a:pt x="6" y="129"/>
                    <a:pt x="0" y="134"/>
                    <a:pt x="0" y="135"/>
                  </a:cubicBezTo>
                  <a:cubicBezTo>
                    <a:pt x="0" y="136"/>
                    <a:pt x="0" y="147"/>
                    <a:pt x="0" y="153"/>
                  </a:cubicBezTo>
                  <a:cubicBezTo>
                    <a:pt x="6" y="155"/>
                    <a:pt x="6" y="155"/>
                    <a:pt x="6" y="155"/>
                  </a:cubicBezTo>
                  <a:cubicBezTo>
                    <a:pt x="8" y="137"/>
                    <a:pt x="8" y="137"/>
                    <a:pt x="8" y="137"/>
                  </a:cubicBezTo>
                  <a:cubicBezTo>
                    <a:pt x="24" y="138"/>
                    <a:pt x="24" y="138"/>
                    <a:pt x="24" y="138"/>
                  </a:cubicBezTo>
                  <a:cubicBezTo>
                    <a:pt x="32" y="130"/>
                    <a:pt x="32" y="130"/>
                    <a:pt x="32" y="130"/>
                  </a:cubicBezTo>
                  <a:cubicBezTo>
                    <a:pt x="32" y="130"/>
                    <a:pt x="44" y="139"/>
                    <a:pt x="44" y="139"/>
                  </a:cubicBezTo>
                  <a:cubicBezTo>
                    <a:pt x="45" y="140"/>
                    <a:pt x="50" y="132"/>
                    <a:pt x="61" y="132"/>
                  </a:cubicBezTo>
                  <a:cubicBezTo>
                    <a:pt x="72" y="132"/>
                    <a:pt x="70" y="137"/>
                    <a:pt x="70" y="137"/>
                  </a:cubicBezTo>
                  <a:cubicBezTo>
                    <a:pt x="97" y="137"/>
                    <a:pt x="97" y="137"/>
                    <a:pt x="97" y="137"/>
                  </a:cubicBezTo>
                  <a:cubicBezTo>
                    <a:pt x="95" y="126"/>
                    <a:pt x="95" y="126"/>
                    <a:pt x="95" y="126"/>
                  </a:cubicBezTo>
                  <a:cubicBezTo>
                    <a:pt x="104" y="119"/>
                    <a:pt x="104" y="119"/>
                    <a:pt x="104" y="119"/>
                  </a:cubicBezTo>
                  <a:cubicBezTo>
                    <a:pt x="106" y="132"/>
                    <a:pt x="106" y="132"/>
                    <a:pt x="106" y="132"/>
                  </a:cubicBezTo>
                  <a:cubicBezTo>
                    <a:pt x="106" y="132"/>
                    <a:pt x="131" y="130"/>
                    <a:pt x="144" y="129"/>
                  </a:cubicBezTo>
                  <a:cubicBezTo>
                    <a:pt x="157" y="129"/>
                    <a:pt x="165" y="133"/>
                    <a:pt x="165" y="133"/>
                  </a:cubicBezTo>
                  <a:cubicBezTo>
                    <a:pt x="178" y="122"/>
                    <a:pt x="178" y="122"/>
                    <a:pt x="178" y="122"/>
                  </a:cubicBezTo>
                  <a:cubicBezTo>
                    <a:pt x="172" y="109"/>
                    <a:pt x="172" y="109"/>
                    <a:pt x="172" y="109"/>
                  </a:cubicBezTo>
                  <a:cubicBezTo>
                    <a:pt x="172" y="109"/>
                    <a:pt x="190" y="89"/>
                    <a:pt x="192" y="89"/>
                  </a:cubicBezTo>
                  <a:cubicBezTo>
                    <a:pt x="194" y="89"/>
                    <a:pt x="207" y="87"/>
                    <a:pt x="217" y="83"/>
                  </a:cubicBezTo>
                  <a:cubicBezTo>
                    <a:pt x="228" y="79"/>
                    <a:pt x="234" y="72"/>
                    <a:pt x="234" y="72"/>
                  </a:cubicBezTo>
                  <a:cubicBezTo>
                    <a:pt x="228" y="44"/>
                    <a:pt x="228" y="44"/>
                    <a:pt x="228" y="44"/>
                  </a:cubicBezTo>
                  <a:cubicBezTo>
                    <a:pt x="234" y="29"/>
                    <a:pt x="234" y="29"/>
                    <a:pt x="234" y="29"/>
                  </a:cubicBezTo>
                  <a:cubicBezTo>
                    <a:pt x="207" y="29"/>
                    <a:pt x="207" y="29"/>
                    <a:pt x="207" y="29"/>
                  </a:cubicBezTo>
                  <a:lnTo>
                    <a:pt x="189" y="2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29" name="Freeform 334">
              <a:extLst>
                <a:ext uri="{FF2B5EF4-FFF2-40B4-BE49-F238E27FC236}">
                  <a16:creationId xmlns:a16="http://schemas.microsoft.com/office/drawing/2014/main" id="{F9811640-2658-4205-A896-ECD08080C4D7}"/>
                </a:ext>
              </a:extLst>
            </p:cNvPr>
            <p:cNvSpPr>
              <a:spLocks noChangeAspect="1"/>
            </p:cNvSpPr>
            <p:nvPr/>
          </p:nvSpPr>
          <p:spPr bwMode="auto">
            <a:xfrm>
              <a:off x="12877" y="2540"/>
              <a:ext cx="1350" cy="1063"/>
            </a:xfrm>
            <a:custGeom>
              <a:avLst/>
              <a:gdLst/>
              <a:ahLst/>
              <a:cxnLst>
                <a:cxn ang="0">
                  <a:pos x="561" y="367"/>
                </a:cxn>
                <a:cxn ang="0">
                  <a:pos x="593" y="349"/>
                </a:cxn>
                <a:cxn ang="0">
                  <a:pos x="611" y="304"/>
                </a:cxn>
                <a:cxn ang="0">
                  <a:pos x="605" y="273"/>
                </a:cxn>
                <a:cxn ang="0">
                  <a:pos x="607" y="241"/>
                </a:cxn>
                <a:cxn ang="0">
                  <a:pos x="629" y="236"/>
                </a:cxn>
                <a:cxn ang="0">
                  <a:pos x="657" y="224"/>
                </a:cxn>
                <a:cxn ang="0">
                  <a:pos x="653" y="170"/>
                </a:cxn>
                <a:cxn ang="0">
                  <a:pos x="657" y="149"/>
                </a:cxn>
                <a:cxn ang="0">
                  <a:pos x="603" y="98"/>
                </a:cxn>
                <a:cxn ang="0">
                  <a:pos x="552" y="59"/>
                </a:cxn>
                <a:cxn ang="0">
                  <a:pos x="476" y="34"/>
                </a:cxn>
                <a:cxn ang="0">
                  <a:pos x="434" y="12"/>
                </a:cxn>
                <a:cxn ang="0">
                  <a:pos x="326" y="52"/>
                </a:cxn>
                <a:cxn ang="0">
                  <a:pos x="309" y="55"/>
                </a:cxn>
                <a:cxn ang="0">
                  <a:pos x="289" y="49"/>
                </a:cxn>
                <a:cxn ang="0">
                  <a:pos x="249" y="54"/>
                </a:cxn>
                <a:cxn ang="0">
                  <a:pos x="258" y="108"/>
                </a:cxn>
                <a:cxn ang="0">
                  <a:pos x="227" y="130"/>
                </a:cxn>
                <a:cxn ang="0">
                  <a:pos x="233" y="175"/>
                </a:cxn>
                <a:cxn ang="0">
                  <a:pos x="217" y="226"/>
                </a:cxn>
                <a:cxn ang="0">
                  <a:pos x="166" y="252"/>
                </a:cxn>
                <a:cxn ang="0">
                  <a:pos x="138" y="258"/>
                </a:cxn>
                <a:cxn ang="0">
                  <a:pos x="91" y="263"/>
                </a:cxn>
                <a:cxn ang="0">
                  <a:pos x="30" y="306"/>
                </a:cxn>
                <a:cxn ang="0">
                  <a:pos x="1" y="336"/>
                </a:cxn>
                <a:cxn ang="0">
                  <a:pos x="24" y="351"/>
                </a:cxn>
                <a:cxn ang="0">
                  <a:pos x="49" y="346"/>
                </a:cxn>
                <a:cxn ang="0">
                  <a:pos x="79" y="349"/>
                </a:cxn>
                <a:cxn ang="0">
                  <a:pos x="102" y="364"/>
                </a:cxn>
                <a:cxn ang="0">
                  <a:pos x="125" y="370"/>
                </a:cxn>
                <a:cxn ang="0">
                  <a:pos x="137" y="361"/>
                </a:cxn>
                <a:cxn ang="0">
                  <a:pos x="169" y="358"/>
                </a:cxn>
                <a:cxn ang="0">
                  <a:pos x="190" y="361"/>
                </a:cxn>
                <a:cxn ang="0">
                  <a:pos x="212" y="355"/>
                </a:cxn>
                <a:cxn ang="0">
                  <a:pos x="223" y="380"/>
                </a:cxn>
                <a:cxn ang="0">
                  <a:pos x="234" y="420"/>
                </a:cxn>
                <a:cxn ang="0">
                  <a:pos x="260" y="438"/>
                </a:cxn>
                <a:cxn ang="0">
                  <a:pos x="267" y="473"/>
                </a:cxn>
                <a:cxn ang="0">
                  <a:pos x="260" y="493"/>
                </a:cxn>
                <a:cxn ang="0">
                  <a:pos x="276" y="519"/>
                </a:cxn>
                <a:cxn ang="0">
                  <a:pos x="305" y="525"/>
                </a:cxn>
                <a:cxn ang="0">
                  <a:pos x="329" y="514"/>
                </a:cxn>
                <a:cxn ang="0">
                  <a:pos x="360" y="503"/>
                </a:cxn>
                <a:cxn ang="0">
                  <a:pos x="411" y="492"/>
                </a:cxn>
                <a:cxn ang="0">
                  <a:pos x="518" y="461"/>
                </a:cxn>
                <a:cxn ang="0">
                  <a:pos x="532" y="445"/>
                </a:cxn>
                <a:cxn ang="0">
                  <a:pos x="538" y="411"/>
                </a:cxn>
                <a:cxn ang="0">
                  <a:pos x="555" y="393"/>
                </a:cxn>
              </a:cxnLst>
              <a:rect l="0" t="0" r="r" b="b"/>
              <a:pathLst>
                <a:path w="675" h="531">
                  <a:moveTo>
                    <a:pt x="560" y="385"/>
                  </a:moveTo>
                  <a:cubicBezTo>
                    <a:pt x="553" y="377"/>
                    <a:pt x="553" y="377"/>
                    <a:pt x="553" y="377"/>
                  </a:cubicBezTo>
                  <a:cubicBezTo>
                    <a:pt x="561" y="367"/>
                    <a:pt x="561" y="367"/>
                    <a:pt x="561" y="367"/>
                  </a:cubicBezTo>
                  <a:cubicBezTo>
                    <a:pt x="586" y="366"/>
                    <a:pt x="586" y="366"/>
                    <a:pt x="586" y="366"/>
                  </a:cubicBezTo>
                  <a:cubicBezTo>
                    <a:pt x="587" y="353"/>
                    <a:pt x="587" y="353"/>
                    <a:pt x="587" y="353"/>
                  </a:cubicBezTo>
                  <a:cubicBezTo>
                    <a:pt x="593" y="349"/>
                    <a:pt x="593" y="349"/>
                    <a:pt x="593" y="349"/>
                  </a:cubicBezTo>
                  <a:cubicBezTo>
                    <a:pt x="597" y="334"/>
                    <a:pt x="597" y="334"/>
                    <a:pt x="597" y="334"/>
                  </a:cubicBezTo>
                  <a:cubicBezTo>
                    <a:pt x="597" y="334"/>
                    <a:pt x="612" y="328"/>
                    <a:pt x="612" y="322"/>
                  </a:cubicBezTo>
                  <a:cubicBezTo>
                    <a:pt x="612" y="316"/>
                    <a:pt x="620" y="309"/>
                    <a:pt x="611" y="304"/>
                  </a:cubicBezTo>
                  <a:cubicBezTo>
                    <a:pt x="602" y="299"/>
                    <a:pt x="591" y="285"/>
                    <a:pt x="591" y="285"/>
                  </a:cubicBezTo>
                  <a:cubicBezTo>
                    <a:pt x="612" y="283"/>
                    <a:pt x="612" y="283"/>
                    <a:pt x="612" y="283"/>
                  </a:cubicBezTo>
                  <a:cubicBezTo>
                    <a:pt x="612" y="283"/>
                    <a:pt x="605" y="275"/>
                    <a:pt x="605" y="273"/>
                  </a:cubicBezTo>
                  <a:cubicBezTo>
                    <a:pt x="605" y="272"/>
                    <a:pt x="608" y="265"/>
                    <a:pt x="608" y="265"/>
                  </a:cubicBezTo>
                  <a:cubicBezTo>
                    <a:pt x="598" y="258"/>
                    <a:pt x="598" y="258"/>
                    <a:pt x="598" y="258"/>
                  </a:cubicBezTo>
                  <a:cubicBezTo>
                    <a:pt x="598" y="258"/>
                    <a:pt x="599" y="241"/>
                    <a:pt x="607" y="241"/>
                  </a:cubicBezTo>
                  <a:cubicBezTo>
                    <a:pt x="615" y="241"/>
                    <a:pt x="617" y="241"/>
                    <a:pt x="617" y="241"/>
                  </a:cubicBezTo>
                  <a:cubicBezTo>
                    <a:pt x="617" y="241"/>
                    <a:pt x="616" y="236"/>
                    <a:pt x="617" y="236"/>
                  </a:cubicBezTo>
                  <a:cubicBezTo>
                    <a:pt x="619" y="236"/>
                    <a:pt x="629" y="236"/>
                    <a:pt x="629" y="236"/>
                  </a:cubicBezTo>
                  <a:cubicBezTo>
                    <a:pt x="629" y="230"/>
                    <a:pt x="629" y="230"/>
                    <a:pt x="629" y="230"/>
                  </a:cubicBezTo>
                  <a:cubicBezTo>
                    <a:pt x="654" y="229"/>
                    <a:pt x="654" y="229"/>
                    <a:pt x="654" y="229"/>
                  </a:cubicBezTo>
                  <a:cubicBezTo>
                    <a:pt x="657" y="224"/>
                    <a:pt x="657" y="224"/>
                    <a:pt x="657" y="224"/>
                  </a:cubicBezTo>
                  <a:cubicBezTo>
                    <a:pt x="629" y="197"/>
                    <a:pt x="629" y="197"/>
                    <a:pt x="629" y="197"/>
                  </a:cubicBezTo>
                  <a:cubicBezTo>
                    <a:pt x="635" y="171"/>
                    <a:pt x="635" y="171"/>
                    <a:pt x="635" y="171"/>
                  </a:cubicBezTo>
                  <a:cubicBezTo>
                    <a:pt x="653" y="170"/>
                    <a:pt x="653" y="170"/>
                    <a:pt x="653" y="170"/>
                  </a:cubicBezTo>
                  <a:cubicBezTo>
                    <a:pt x="645" y="160"/>
                    <a:pt x="645" y="160"/>
                    <a:pt x="645" y="160"/>
                  </a:cubicBezTo>
                  <a:cubicBezTo>
                    <a:pt x="650" y="149"/>
                    <a:pt x="650" y="149"/>
                    <a:pt x="650" y="149"/>
                  </a:cubicBezTo>
                  <a:cubicBezTo>
                    <a:pt x="657" y="149"/>
                    <a:pt x="657" y="149"/>
                    <a:pt x="657" y="149"/>
                  </a:cubicBezTo>
                  <a:cubicBezTo>
                    <a:pt x="657" y="149"/>
                    <a:pt x="670" y="132"/>
                    <a:pt x="672" y="123"/>
                  </a:cubicBezTo>
                  <a:cubicBezTo>
                    <a:pt x="675" y="114"/>
                    <a:pt x="622" y="94"/>
                    <a:pt x="614" y="92"/>
                  </a:cubicBezTo>
                  <a:cubicBezTo>
                    <a:pt x="606" y="89"/>
                    <a:pt x="603" y="98"/>
                    <a:pt x="603" y="98"/>
                  </a:cubicBezTo>
                  <a:cubicBezTo>
                    <a:pt x="586" y="98"/>
                    <a:pt x="586" y="98"/>
                    <a:pt x="586" y="98"/>
                  </a:cubicBezTo>
                  <a:cubicBezTo>
                    <a:pt x="586" y="85"/>
                    <a:pt x="586" y="85"/>
                    <a:pt x="586" y="85"/>
                  </a:cubicBezTo>
                  <a:cubicBezTo>
                    <a:pt x="552" y="59"/>
                    <a:pt x="552" y="59"/>
                    <a:pt x="552" y="59"/>
                  </a:cubicBezTo>
                  <a:cubicBezTo>
                    <a:pt x="552" y="59"/>
                    <a:pt x="548" y="65"/>
                    <a:pt x="547" y="66"/>
                  </a:cubicBezTo>
                  <a:cubicBezTo>
                    <a:pt x="546" y="68"/>
                    <a:pt x="521" y="62"/>
                    <a:pt x="521" y="62"/>
                  </a:cubicBezTo>
                  <a:cubicBezTo>
                    <a:pt x="521" y="62"/>
                    <a:pt x="487" y="36"/>
                    <a:pt x="476" y="34"/>
                  </a:cubicBezTo>
                  <a:cubicBezTo>
                    <a:pt x="465" y="32"/>
                    <a:pt x="457" y="41"/>
                    <a:pt x="457" y="41"/>
                  </a:cubicBezTo>
                  <a:cubicBezTo>
                    <a:pt x="429" y="28"/>
                    <a:pt x="429" y="28"/>
                    <a:pt x="429" y="28"/>
                  </a:cubicBezTo>
                  <a:cubicBezTo>
                    <a:pt x="429" y="28"/>
                    <a:pt x="434" y="25"/>
                    <a:pt x="434" y="12"/>
                  </a:cubicBezTo>
                  <a:cubicBezTo>
                    <a:pt x="433" y="0"/>
                    <a:pt x="393" y="13"/>
                    <a:pt x="393" y="13"/>
                  </a:cubicBezTo>
                  <a:cubicBezTo>
                    <a:pt x="393" y="13"/>
                    <a:pt x="369" y="28"/>
                    <a:pt x="364" y="34"/>
                  </a:cubicBezTo>
                  <a:cubicBezTo>
                    <a:pt x="358" y="40"/>
                    <a:pt x="332" y="51"/>
                    <a:pt x="326" y="52"/>
                  </a:cubicBezTo>
                  <a:cubicBezTo>
                    <a:pt x="320" y="52"/>
                    <a:pt x="300" y="71"/>
                    <a:pt x="300" y="71"/>
                  </a:cubicBezTo>
                  <a:cubicBezTo>
                    <a:pt x="300" y="71"/>
                    <a:pt x="297" y="64"/>
                    <a:pt x="297" y="63"/>
                  </a:cubicBezTo>
                  <a:cubicBezTo>
                    <a:pt x="297" y="62"/>
                    <a:pt x="309" y="55"/>
                    <a:pt x="309" y="55"/>
                  </a:cubicBezTo>
                  <a:cubicBezTo>
                    <a:pt x="301" y="49"/>
                    <a:pt x="301" y="49"/>
                    <a:pt x="301" y="49"/>
                  </a:cubicBezTo>
                  <a:cubicBezTo>
                    <a:pt x="301" y="46"/>
                    <a:pt x="301" y="46"/>
                    <a:pt x="301" y="46"/>
                  </a:cubicBezTo>
                  <a:cubicBezTo>
                    <a:pt x="289" y="49"/>
                    <a:pt x="289" y="49"/>
                    <a:pt x="289" y="49"/>
                  </a:cubicBezTo>
                  <a:cubicBezTo>
                    <a:pt x="289" y="49"/>
                    <a:pt x="287" y="44"/>
                    <a:pt x="274" y="38"/>
                  </a:cubicBezTo>
                  <a:cubicBezTo>
                    <a:pt x="261" y="32"/>
                    <a:pt x="272" y="59"/>
                    <a:pt x="272" y="60"/>
                  </a:cubicBezTo>
                  <a:cubicBezTo>
                    <a:pt x="272" y="62"/>
                    <a:pt x="252" y="52"/>
                    <a:pt x="249" y="54"/>
                  </a:cubicBezTo>
                  <a:cubicBezTo>
                    <a:pt x="245" y="57"/>
                    <a:pt x="254" y="78"/>
                    <a:pt x="254" y="78"/>
                  </a:cubicBezTo>
                  <a:cubicBezTo>
                    <a:pt x="244" y="84"/>
                    <a:pt x="244" y="84"/>
                    <a:pt x="244" y="84"/>
                  </a:cubicBezTo>
                  <a:cubicBezTo>
                    <a:pt x="258" y="108"/>
                    <a:pt x="258" y="108"/>
                    <a:pt x="258" y="108"/>
                  </a:cubicBezTo>
                  <a:cubicBezTo>
                    <a:pt x="237" y="109"/>
                    <a:pt x="237" y="109"/>
                    <a:pt x="237" y="109"/>
                  </a:cubicBezTo>
                  <a:cubicBezTo>
                    <a:pt x="225" y="116"/>
                    <a:pt x="225" y="116"/>
                    <a:pt x="225" y="116"/>
                  </a:cubicBezTo>
                  <a:cubicBezTo>
                    <a:pt x="225" y="116"/>
                    <a:pt x="227" y="130"/>
                    <a:pt x="227" y="130"/>
                  </a:cubicBezTo>
                  <a:cubicBezTo>
                    <a:pt x="227" y="131"/>
                    <a:pt x="221" y="134"/>
                    <a:pt x="218" y="139"/>
                  </a:cubicBezTo>
                  <a:cubicBezTo>
                    <a:pt x="214" y="145"/>
                    <a:pt x="229" y="157"/>
                    <a:pt x="231" y="158"/>
                  </a:cubicBezTo>
                  <a:cubicBezTo>
                    <a:pt x="232" y="159"/>
                    <a:pt x="235" y="170"/>
                    <a:pt x="233" y="175"/>
                  </a:cubicBezTo>
                  <a:cubicBezTo>
                    <a:pt x="231" y="179"/>
                    <a:pt x="213" y="199"/>
                    <a:pt x="212" y="201"/>
                  </a:cubicBezTo>
                  <a:cubicBezTo>
                    <a:pt x="211" y="203"/>
                    <a:pt x="220" y="206"/>
                    <a:pt x="228" y="211"/>
                  </a:cubicBezTo>
                  <a:cubicBezTo>
                    <a:pt x="236" y="216"/>
                    <a:pt x="217" y="226"/>
                    <a:pt x="217" y="226"/>
                  </a:cubicBezTo>
                  <a:cubicBezTo>
                    <a:pt x="227" y="236"/>
                    <a:pt x="227" y="236"/>
                    <a:pt x="227" y="236"/>
                  </a:cubicBezTo>
                  <a:cubicBezTo>
                    <a:pt x="227" y="236"/>
                    <a:pt x="189" y="263"/>
                    <a:pt x="188" y="264"/>
                  </a:cubicBezTo>
                  <a:cubicBezTo>
                    <a:pt x="188" y="265"/>
                    <a:pt x="166" y="252"/>
                    <a:pt x="166" y="252"/>
                  </a:cubicBezTo>
                  <a:cubicBezTo>
                    <a:pt x="154" y="258"/>
                    <a:pt x="154" y="258"/>
                    <a:pt x="154" y="258"/>
                  </a:cubicBezTo>
                  <a:cubicBezTo>
                    <a:pt x="146" y="252"/>
                    <a:pt x="146" y="252"/>
                    <a:pt x="146" y="252"/>
                  </a:cubicBezTo>
                  <a:cubicBezTo>
                    <a:pt x="138" y="258"/>
                    <a:pt x="138" y="258"/>
                    <a:pt x="138" y="258"/>
                  </a:cubicBezTo>
                  <a:cubicBezTo>
                    <a:pt x="119" y="255"/>
                    <a:pt x="119" y="255"/>
                    <a:pt x="119" y="255"/>
                  </a:cubicBezTo>
                  <a:cubicBezTo>
                    <a:pt x="98" y="274"/>
                    <a:pt x="98" y="274"/>
                    <a:pt x="98" y="274"/>
                  </a:cubicBezTo>
                  <a:cubicBezTo>
                    <a:pt x="91" y="263"/>
                    <a:pt x="91" y="263"/>
                    <a:pt x="91" y="263"/>
                  </a:cubicBezTo>
                  <a:cubicBezTo>
                    <a:pt x="91" y="263"/>
                    <a:pt x="78" y="271"/>
                    <a:pt x="76" y="273"/>
                  </a:cubicBezTo>
                  <a:cubicBezTo>
                    <a:pt x="74" y="274"/>
                    <a:pt x="68" y="274"/>
                    <a:pt x="44" y="277"/>
                  </a:cubicBezTo>
                  <a:cubicBezTo>
                    <a:pt x="19" y="281"/>
                    <a:pt x="30" y="306"/>
                    <a:pt x="30" y="306"/>
                  </a:cubicBezTo>
                  <a:cubicBezTo>
                    <a:pt x="30" y="306"/>
                    <a:pt x="20" y="306"/>
                    <a:pt x="17" y="306"/>
                  </a:cubicBezTo>
                  <a:cubicBezTo>
                    <a:pt x="14" y="306"/>
                    <a:pt x="9" y="330"/>
                    <a:pt x="9" y="331"/>
                  </a:cubicBezTo>
                  <a:cubicBezTo>
                    <a:pt x="9" y="332"/>
                    <a:pt x="1" y="336"/>
                    <a:pt x="1" y="336"/>
                  </a:cubicBezTo>
                  <a:cubicBezTo>
                    <a:pt x="0" y="360"/>
                    <a:pt x="0" y="360"/>
                    <a:pt x="0" y="360"/>
                  </a:cubicBezTo>
                  <a:cubicBezTo>
                    <a:pt x="6" y="356"/>
                    <a:pt x="15" y="349"/>
                    <a:pt x="15" y="349"/>
                  </a:cubicBezTo>
                  <a:cubicBezTo>
                    <a:pt x="24" y="351"/>
                    <a:pt x="24" y="351"/>
                    <a:pt x="24" y="351"/>
                  </a:cubicBezTo>
                  <a:cubicBezTo>
                    <a:pt x="24" y="351"/>
                    <a:pt x="33" y="341"/>
                    <a:pt x="34" y="341"/>
                  </a:cubicBezTo>
                  <a:cubicBezTo>
                    <a:pt x="35" y="342"/>
                    <a:pt x="40" y="349"/>
                    <a:pt x="40" y="349"/>
                  </a:cubicBezTo>
                  <a:cubicBezTo>
                    <a:pt x="49" y="346"/>
                    <a:pt x="49" y="346"/>
                    <a:pt x="49" y="346"/>
                  </a:cubicBezTo>
                  <a:cubicBezTo>
                    <a:pt x="49" y="346"/>
                    <a:pt x="50" y="353"/>
                    <a:pt x="51" y="353"/>
                  </a:cubicBezTo>
                  <a:cubicBezTo>
                    <a:pt x="52" y="353"/>
                    <a:pt x="72" y="353"/>
                    <a:pt x="72" y="353"/>
                  </a:cubicBezTo>
                  <a:cubicBezTo>
                    <a:pt x="79" y="349"/>
                    <a:pt x="79" y="349"/>
                    <a:pt x="79" y="349"/>
                  </a:cubicBezTo>
                  <a:cubicBezTo>
                    <a:pt x="93" y="350"/>
                    <a:pt x="93" y="350"/>
                    <a:pt x="93" y="350"/>
                  </a:cubicBezTo>
                  <a:cubicBezTo>
                    <a:pt x="93" y="350"/>
                    <a:pt x="96" y="355"/>
                    <a:pt x="97" y="355"/>
                  </a:cubicBezTo>
                  <a:cubicBezTo>
                    <a:pt x="98" y="355"/>
                    <a:pt x="102" y="364"/>
                    <a:pt x="102" y="364"/>
                  </a:cubicBezTo>
                  <a:cubicBezTo>
                    <a:pt x="102" y="364"/>
                    <a:pt x="105" y="374"/>
                    <a:pt x="112" y="374"/>
                  </a:cubicBezTo>
                  <a:cubicBezTo>
                    <a:pt x="118" y="374"/>
                    <a:pt x="120" y="364"/>
                    <a:pt x="120" y="364"/>
                  </a:cubicBezTo>
                  <a:cubicBezTo>
                    <a:pt x="120" y="364"/>
                    <a:pt x="125" y="365"/>
                    <a:pt x="125" y="370"/>
                  </a:cubicBezTo>
                  <a:cubicBezTo>
                    <a:pt x="125" y="375"/>
                    <a:pt x="123" y="383"/>
                    <a:pt x="127" y="383"/>
                  </a:cubicBezTo>
                  <a:cubicBezTo>
                    <a:pt x="132" y="383"/>
                    <a:pt x="132" y="367"/>
                    <a:pt x="132" y="367"/>
                  </a:cubicBezTo>
                  <a:cubicBezTo>
                    <a:pt x="137" y="361"/>
                    <a:pt x="137" y="361"/>
                    <a:pt x="137" y="361"/>
                  </a:cubicBezTo>
                  <a:cubicBezTo>
                    <a:pt x="137" y="361"/>
                    <a:pt x="143" y="369"/>
                    <a:pt x="146" y="366"/>
                  </a:cubicBezTo>
                  <a:cubicBezTo>
                    <a:pt x="149" y="362"/>
                    <a:pt x="169" y="363"/>
                    <a:pt x="169" y="363"/>
                  </a:cubicBezTo>
                  <a:cubicBezTo>
                    <a:pt x="169" y="358"/>
                    <a:pt x="169" y="358"/>
                    <a:pt x="169" y="358"/>
                  </a:cubicBezTo>
                  <a:cubicBezTo>
                    <a:pt x="169" y="358"/>
                    <a:pt x="176" y="364"/>
                    <a:pt x="180" y="363"/>
                  </a:cubicBezTo>
                  <a:cubicBezTo>
                    <a:pt x="183" y="363"/>
                    <a:pt x="183" y="359"/>
                    <a:pt x="183" y="359"/>
                  </a:cubicBezTo>
                  <a:cubicBezTo>
                    <a:pt x="190" y="361"/>
                    <a:pt x="190" y="361"/>
                    <a:pt x="190" y="361"/>
                  </a:cubicBezTo>
                  <a:cubicBezTo>
                    <a:pt x="190" y="361"/>
                    <a:pt x="191" y="353"/>
                    <a:pt x="197" y="353"/>
                  </a:cubicBezTo>
                  <a:cubicBezTo>
                    <a:pt x="204" y="354"/>
                    <a:pt x="206" y="359"/>
                    <a:pt x="206" y="359"/>
                  </a:cubicBezTo>
                  <a:cubicBezTo>
                    <a:pt x="212" y="355"/>
                    <a:pt x="212" y="355"/>
                    <a:pt x="212" y="355"/>
                  </a:cubicBezTo>
                  <a:cubicBezTo>
                    <a:pt x="212" y="355"/>
                    <a:pt x="215" y="359"/>
                    <a:pt x="219" y="361"/>
                  </a:cubicBezTo>
                  <a:cubicBezTo>
                    <a:pt x="222" y="362"/>
                    <a:pt x="229" y="368"/>
                    <a:pt x="229" y="368"/>
                  </a:cubicBezTo>
                  <a:cubicBezTo>
                    <a:pt x="223" y="380"/>
                    <a:pt x="223" y="380"/>
                    <a:pt x="223" y="380"/>
                  </a:cubicBezTo>
                  <a:cubicBezTo>
                    <a:pt x="223" y="380"/>
                    <a:pt x="238" y="394"/>
                    <a:pt x="237" y="396"/>
                  </a:cubicBezTo>
                  <a:cubicBezTo>
                    <a:pt x="236" y="397"/>
                    <a:pt x="227" y="399"/>
                    <a:pt x="228" y="407"/>
                  </a:cubicBezTo>
                  <a:cubicBezTo>
                    <a:pt x="229" y="414"/>
                    <a:pt x="233" y="413"/>
                    <a:pt x="234" y="420"/>
                  </a:cubicBezTo>
                  <a:cubicBezTo>
                    <a:pt x="234" y="427"/>
                    <a:pt x="239" y="427"/>
                    <a:pt x="241" y="431"/>
                  </a:cubicBezTo>
                  <a:cubicBezTo>
                    <a:pt x="243" y="435"/>
                    <a:pt x="243" y="443"/>
                    <a:pt x="243" y="443"/>
                  </a:cubicBezTo>
                  <a:cubicBezTo>
                    <a:pt x="243" y="443"/>
                    <a:pt x="247" y="435"/>
                    <a:pt x="260" y="438"/>
                  </a:cubicBezTo>
                  <a:cubicBezTo>
                    <a:pt x="273" y="440"/>
                    <a:pt x="273" y="452"/>
                    <a:pt x="271" y="454"/>
                  </a:cubicBezTo>
                  <a:cubicBezTo>
                    <a:pt x="269" y="456"/>
                    <a:pt x="262" y="468"/>
                    <a:pt x="262" y="468"/>
                  </a:cubicBezTo>
                  <a:cubicBezTo>
                    <a:pt x="267" y="473"/>
                    <a:pt x="267" y="473"/>
                    <a:pt x="267" y="473"/>
                  </a:cubicBezTo>
                  <a:cubicBezTo>
                    <a:pt x="259" y="477"/>
                    <a:pt x="259" y="477"/>
                    <a:pt x="259" y="477"/>
                  </a:cubicBezTo>
                  <a:cubicBezTo>
                    <a:pt x="268" y="482"/>
                    <a:pt x="268" y="482"/>
                    <a:pt x="268" y="482"/>
                  </a:cubicBezTo>
                  <a:cubicBezTo>
                    <a:pt x="268" y="482"/>
                    <a:pt x="264" y="493"/>
                    <a:pt x="260" y="493"/>
                  </a:cubicBezTo>
                  <a:cubicBezTo>
                    <a:pt x="256" y="493"/>
                    <a:pt x="258" y="500"/>
                    <a:pt x="264" y="502"/>
                  </a:cubicBezTo>
                  <a:cubicBezTo>
                    <a:pt x="269" y="503"/>
                    <a:pt x="276" y="507"/>
                    <a:pt x="276" y="507"/>
                  </a:cubicBezTo>
                  <a:cubicBezTo>
                    <a:pt x="276" y="519"/>
                    <a:pt x="276" y="519"/>
                    <a:pt x="276" y="519"/>
                  </a:cubicBezTo>
                  <a:cubicBezTo>
                    <a:pt x="286" y="530"/>
                    <a:pt x="286" y="530"/>
                    <a:pt x="286" y="530"/>
                  </a:cubicBezTo>
                  <a:cubicBezTo>
                    <a:pt x="300" y="531"/>
                    <a:pt x="300" y="531"/>
                    <a:pt x="300" y="531"/>
                  </a:cubicBezTo>
                  <a:cubicBezTo>
                    <a:pt x="305" y="525"/>
                    <a:pt x="305" y="525"/>
                    <a:pt x="305" y="525"/>
                  </a:cubicBezTo>
                  <a:cubicBezTo>
                    <a:pt x="316" y="525"/>
                    <a:pt x="316" y="525"/>
                    <a:pt x="316" y="525"/>
                  </a:cubicBezTo>
                  <a:cubicBezTo>
                    <a:pt x="322" y="511"/>
                    <a:pt x="322" y="511"/>
                    <a:pt x="322" y="511"/>
                  </a:cubicBezTo>
                  <a:cubicBezTo>
                    <a:pt x="329" y="514"/>
                    <a:pt x="329" y="514"/>
                    <a:pt x="329" y="514"/>
                  </a:cubicBezTo>
                  <a:cubicBezTo>
                    <a:pt x="331" y="510"/>
                    <a:pt x="331" y="510"/>
                    <a:pt x="331" y="510"/>
                  </a:cubicBezTo>
                  <a:cubicBezTo>
                    <a:pt x="331" y="510"/>
                    <a:pt x="340" y="516"/>
                    <a:pt x="347" y="514"/>
                  </a:cubicBezTo>
                  <a:cubicBezTo>
                    <a:pt x="353" y="511"/>
                    <a:pt x="360" y="503"/>
                    <a:pt x="360" y="503"/>
                  </a:cubicBezTo>
                  <a:cubicBezTo>
                    <a:pt x="375" y="502"/>
                    <a:pt x="375" y="502"/>
                    <a:pt x="375" y="502"/>
                  </a:cubicBezTo>
                  <a:cubicBezTo>
                    <a:pt x="394" y="487"/>
                    <a:pt x="394" y="487"/>
                    <a:pt x="394" y="487"/>
                  </a:cubicBezTo>
                  <a:cubicBezTo>
                    <a:pt x="394" y="487"/>
                    <a:pt x="410" y="492"/>
                    <a:pt x="411" y="492"/>
                  </a:cubicBezTo>
                  <a:cubicBezTo>
                    <a:pt x="412" y="491"/>
                    <a:pt x="436" y="478"/>
                    <a:pt x="438" y="478"/>
                  </a:cubicBezTo>
                  <a:cubicBezTo>
                    <a:pt x="439" y="478"/>
                    <a:pt x="481" y="482"/>
                    <a:pt x="481" y="482"/>
                  </a:cubicBezTo>
                  <a:cubicBezTo>
                    <a:pt x="481" y="482"/>
                    <a:pt x="510" y="462"/>
                    <a:pt x="518" y="461"/>
                  </a:cubicBezTo>
                  <a:cubicBezTo>
                    <a:pt x="526" y="460"/>
                    <a:pt x="526" y="457"/>
                    <a:pt x="526" y="457"/>
                  </a:cubicBezTo>
                  <a:cubicBezTo>
                    <a:pt x="524" y="451"/>
                    <a:pt x="524" y="451"/>
                    <a:pt x="524" y="451"/>
                  </a:cubicBezTo>
                  <a:cubicBezTo>
                    <a:pt x="532" y="445"/>
                    <a:pt x="532" y="445"/>
                    <a:pt x="532" y="445"/>
                  </a:cubicBezTo>
                  <a:cubicBezTo>
                    <a:pt x="532" y="445"/>
                    <a:pt x="532" y="432"/>
                    <a:pt x="532" y="431"/>
                  </a:cubicBezTo>
                  <a:cubicBezTo>
                    <a:pt x="532" y="429"/>
                    <a:pt x="539" y="421"/>
                    <a:pt x="539" y="421"/>
                  </a:cubicBezTo>
                  <a:cubicBezTo>
                    <a:pt x="538" y="411"/>
                    <a:pt x="538" y="411"/>
                    <a:pt x="538" y="411"/>
                  </a:cubicBezTo>
                  <a:cubicBezTo>
                    <a:pt x="548" y="411"/>
                    <a:pt x="548" y="411"/>
                    <a:pt x="548" y="411"/>
                  </a:cubicBezTo>
                  <a:cubicBezTo>
                    <a:pt x="556" y="401"/>
                    <a:pt x="556" y="401"/>
                    <a:pt x="556" y="401"/>
                  </a:cubicBezTo>
                  <a:cubicBezTo>
                    <a:pt x="556" y="397"/>
                    <a:pt x="555" y="393"/>
                    <a:pt x="555" y="393"/>
                  </a:cubicBezTo>
                  <a:lnTo>
                    <a:pt x="560" y="38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30" name="Freeform 335">
              <a:extLst>
                <a:ext uri="{FF2B5EF4-FFF2-40B4-BE49-F238E27FC236}">
                  <a16:creationId xmlns:a16="http://schemas.microsoft.com/office/drawing/2014/main" id="{E1FBE77B-F75D-4D95-9959-C97DFD2226A1}"/>
                </a:ext>
              </a:extLst>
            </p:cNvPr>
            <p:cNvSpPr>
              <a:spLocks noChangeAspect="1"/>
            </p:cNvSpPr>
            <p:nvPr/>
          </p:nvSpPr>
          <p:spPr bwMode="auto">
            <a:xfrm>
              <a:off x="13984" y="3001"/>
              <a:ext cx="257" cy="401"/>
            </a:xfrm>
            <a:custGeom>
              <a:avLst/>
              <a:gdLst/>
              <a:ahLst/>
              <a:cxnLst>
                <a:cxn ang="0">
                  <a:pos x="8" y="177"/>
                </a:cxn>
                <a:cxn ang="0">
                  <a:pos x="10" y="198"/>
                </a:cxn>
                <a:cxn ang="0">
                  <a:pos x="28" y="201"/>
                </a:cxn>
                <a:cxn ang="0">
                  <a:pos x="55" y="201"/>
                </a:cxn>
                <a:cxn ang="0">
                  <a:pos x="65" y="177"/>
                </a:cxn>
                <a:cxn ang="0">
                  <a:pos x="77" y="178"/>
                </a:cxn>
                <a:cxn ang="0">
                  <a:pos x="78" y="165"/>
                </a:cxn>
                <a:cxn ang="0">
                  <a:pos x="87" y="165"/>
                </a:cxn>
                <a:cxn ang="0">
                  <a:pos x="102" y="140"/>
                </a:cxn>
                <a:cxn ang="0">
                  <a:pos x="102" y="124"/>
                </a:cxn>
                <a:cxn ang="0">
                  <a:pos x="115" y="107"/>
                </a:cxn>
                <a:cxn ang="0">
                  <a:pos x="123" y="109"/>
                </a:cxn>
                <a:cxn ang="0">
                  <a:pos x="129" y="92"/>
                </a:cxn>
                <a:cxn ang="0">
                  <a:pos x="129" y="22"/>
                </a:cxn>
                <a:cxn ang="0">
                  <a:pos x="99" y="4"/>
                </a:cxn>
                <a:cxn ang="0">
                  <a:pos x="101" y="0"/>
                </a:cxn>
                <a:cxn ang="0">
                  <a:pos x="76" y="1"/>
                </a:cxn>
                <a:cxn ang="0">
                  <a:pos x="76" y="7"/>
                </a:cxn>
                <a:cxn ang="0">
                  <a:pos x="64" y="7"/>
                </a:cxn>
                <a:cxn ang="0">
                  <a:pos x="64" y="12"/>
                </a:cxn>
                <a:cxn ang="0">
                  <a:pos x="54" y="12"/>
                </a:cxn>
                <a:cxn ang="0">
                  <a:pos x="45" y="29"/>
                </a:cxn>
                <a:cxn ang="0">
                  <a:pos x="55" y="36"/>
                </a:cxn>
                <a:cxn ang="0">
                  <a:pos x="52" y="44"/>
                </a:cxn>
                <a:cxn ang="0">
                  <a:pos x="59" y="54"/>
                </a:cxn>
                <a:cxn ang="0">
                  <a:pos x="38" y="56"/>
                </a:cxn>
                <a:cxn ang="0">
                  <a:pos x="58" y="75"/>
                </a:cxn>
                <a:cxn ang="0">
                  <a:pos x="59" y="93"/>
                </a:cxn>
                <a:cxn ang="0">
                  <a:pos x="44" y="105"/>
                </a:cxn>
                <a:cxn ang="0">
                  <a:pos x="40" y="120"/>
                </a:cxn>
                <a:cxn ang="0">
                  <a:pos x="34" y="124"/>
                </a:cxn>
                <a:cxn ang="0">
                  <a:pos x="33" y="137"/>
                </a:cxn>
                <a:cxn ang="0">
                  <a:pos x="8" y="138"/>
                </a:cxn>
                <a:cxn ang="0">
                  <a:pos x="0" y="148"/>
                </a:cxn>
                <a:cxn ang="0">
                  <a:pos x="7" y="156"/>
                </a:cxn>
                <a:cxn ang="0">
                  <a:pos x="2" y="164"/>
                </a:cxn>
                <a:cxn ang="0">
                  <a:pos x="3" y="172"/>
                </a:cxn>
                <a:cxn ang="0">
                  <a:pos x="3" y="172"/>
                </a:cxn>
                <a:cxn ang="0">
                  <a:pos x="8" y="177"/>
                </a:cxn>
              </a:cxnLst>
              <a:rect l="0" t="0" r="r" b="b"/>
              <a:pathLst>
                <a:path w="129" h="201">
                  <a:moveTo>
                    <a:pt x="8" y="177"/>
                  </a:moveTo>
                  <a:cubicBezTo>
                    <a:pt x="8" y="181"/>
                    <a:pt x="10" y="198"/>
                    <a:pt x="10" y="198"/>
                  </a:cubicBezTo>
                  <a:cubicBezTo>
                    <a:pt x="28" y="201"/>
                    <a:pt x="28" y="201"/>
                    <a:pt x="28" y="201"/>
                  </a:cubicBezTo>
                  <a:cubicBezTo>
                    <a:pt x="55" y="201"/>
                    <a:pt x="55" y="201"/>
                    <a:pt x="55" y="201"/>
                  </a:cubicBezTo>
                  <a:cubicBezTo>
                    <a:pt x="65" y="177"/>
                    <a:pt x="65" y="177"/>
                    <a:pt x="65" y="177"/>
                  </a:cubicBezTo>
                  <a:cubicBezTo>
                    <a:pt x="77" y="178"/>
                    <a:pt x="77" y="178"/>
                    <a:pt x="77" y="178"/>
                  </a:cubicBezTo>
                  <a:cubicBezTo>
                    <a:pt x="78" y="165"/>
                    <a:pt x="78" y="165"/>
                    <a:pt x="78" y="165"/>
                  </a:cubicBezTo>
                  <a:cubicBezTo>
                    <a:pt x="87" y="165"/>
                    <a:pt x="87" y="165"/>
                    <a:pt x="87" y="165"/>
                  </a:cubicBezTo>
                  <a:cubicBezTo>
                    <a:pt x="102" y="140"/>
                    <a:pt x="102" y="140"/>
                    <a:pt x="102" y="140"/>
                  </a:cubicBezTo>
                  <a:cubicBezTo>
                    <a:pt x="102" y="140"/>
                    <a:pt x="102" y="126"/>
                    <a:pt x="102" y="124"/>
                  </a:cubicBezTo>
                  <a:cubicBezTo>
                    <a:pt x="102" y="121"/>
                    <a:pt x="107" y="114"/>
                    <a:pt x="115" y="107"/>
                  </a:cubicBezTo>
                  <a:cubicBezTo>
                    <a:pt x="123" y="101"/>
                    <a:pt x="123" y="109"/>
                    <a:pt x="123" y="109"/>
                  </a:cubicBezTo>
                  <a:cubicBezTo>
                    <a:pt x="129" y="92"/>
                    <a:pt x="129" y="92"/>
                    <a:pt x="129" y="92"/>
                  </a:cubicBezTo>
                  <a:cubicBezTo>
                    <a:pt x="129" y="22"/>
                    <a:pt x="129" y="22"/>
                    <a:pt x="129" y="22"/>
                  </a:cubicBezTo>
                  <a:cubicBezTo>
                    <a:pt x="99" y="4"/>
                    <a:pt x="99" y="4"/>
                    <a:pt x="99" y="4"/>
                  </a:cubicBezTo>
                  <a:cubicBezTo>
                    <a:pt x="101" y="0"/>
                    <a:pt x="101" y="0"/>
                    <a:pt x="101" y="0"/>
                  </a:cubicBezTo>
                  <a:cubicBezTo>
                    <a:pt x="76" y="1"/>
                    <a:pt x="76" y="1"/>
                    <a:pt x="76" y="1"/>
                  </a:cubicBezTo>
                  <a:cubicBezTo>
                    <a:pt x="76" y="7"/>
                    <a:pt x="76" y="7"/>
                    <a:pt x="76" y="7"/>
                  </a:cubicBezTo>
                  <a:cubicBezTo>
                    <a:pt x="76" y="7"/>
                    <a:pt x="66" y="7"/>
                    <a:pt x="64" y="7"/>
                  </a:cubicBezTo>
                  <a:cubicBezTo>
                    <a:pt x="63" y="7"/>
                    <a:pt x="64" y="12"/>
                    <a:pt x="64" y="12"/>
                  </a:cubicBezTo>
                  <a:cubicBezTo>
                    <a:pt x="64" y="12"/>
                    <a:pt x="62" y="12"/>
                    <a:pt x="54" y="12"/>
                  </a:cubicBezTo>
                  <a:cubicBezTo>
                    <a:pt x="46" y="12"/>
                    <a:pt x="45" y="29"/>
                    <a:pt x="45" y="29"/>
                  </a:cubicBezTo>
                  <a:cubicBezTo>
                    <a:pt x="55" y="36"/>
                    <a:pt x="55" y="36"/>
                    <a:pt x="55" y="36"/>
                  </a:cubicBezTo>
                  <a:cubicBezTo>
                    <a:pt x="55" y="36"/>
                    <a:pt x="52" y="43"/>
                    <a:pt x="52" y="44"/>
                  </a:cubicBezTo>
                  <a:cubicBezTo>
                    <a:pt x="52" y="46"/>
                    <a:pt x="59" y="54"/>
                    <a:pt x="59" y="54"/>
                  </a:cubicBezTo>
                  <a:cubicBezTo>
                    <a:pt x="38" y="56"/>
                    <a:pt x="38" y="56"/>
                    <a:pt x="38" y="56"/>
                  </a:cubicBezTo>
                  <a:cubicBezTo>
                    <a:pt x="38" y="56"/>
                    <a:pt x="49" y="70"/>
                    <a:pt x="58" y="75"/>
                  </a:cubicBezTo>
                  <a:cubicBezTo>
                    <a:pt x="67" y="80"/>
                    <a:pt x="59" y="87"/>
                    <a:pt x="59" y="93"/>
                  </a:cubicBezTo>
                  <a:cubicBezTo>
                    <a:pt x="59" y="99"/>
                    <a:pt x="44" y="105"/>
                    <a:pt x="44" y="105"/>
                  </a:cubicBezTo>
                  <a:cubicBezTo>
                    <a:pt x="40" y="120"/>
                    <a:pt x="40" y="120"/>
                    <a:pt x="40" y="120"/>
                  </a:cubicBezTo>
                  <a:cubicBezTo>
                    <a:pt x="34" y="124"/>
                    <a:pt x="34" y="124"/>
                    <a:pt x="34" y="124"/>
                  </a:cubicBezTo>
                  <a:cubicBezTo>
                    <a:pt x="33" y="137"/>
                    <a:pt x="33" y="137"/>
                    <a:pt x="33" y="137"/>
                  </a:cubicBezTo>
                  <a:cubicBezTo>
                    <a:pt x="8" y="138"/>
                    <a:pt x="8" y="138"/>
                    <a:pt x="8" y="138"/>
                  </a:cubicBezTo>
                  <a:cubicBezTo>
                    <a:pt x="0" y="148"/>
                    <a:pt x="0" y="148"/>
                    <a:pt x="0" y="148"/>
                  </a:cubicBezTo>
                  <a:cubicBezTo>
                    <a:pt x="7" y="156"/>
                    <a:pt x="7" y="156"/>
                    <a:pt x="7" y="156"/>
                  </a:cubicBezTo>
                  <a:cubicBezTo>
                    <a:pt x="2" y="164"/>
                    <a:pt x="2" y="164"/>
                    <a:pt x="2" y="164"/>
                  </a:cubicBezTo>
                  <a:cubicBezTo>
                    <a:pt x="2" y="164"/>
                    <a:pt x="3" y="168"/>
                    <a:pt x="3" y="172"/>
                  </a:cubicBezTo>
                  <a:cubicBezTo>
                    <a:pt x="3" y="172"/>
                    <a:pt x="3" y="172"/>
                    <a:pt x="3" y="172"/>
                  </a:cubicBezTo>
                  <a:cubicBezTo>
                    <a:pt x="3" y="172"/>
                    <a:pt x="8" y="172"/>
                    <a:pt x="8" y="177"/>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1" name="Freeform 337">
              <a:extLst>
                <a:ext uri="{FF2B5EF4-FFF2-40B4-BE49-F238E27FC236}">
                  <a16:creationId xmlns:a16="http://schemas.microsoft.com/office/drawing/2014/main" id="{B5B77225-0458-478E-A933-7CE4CBC6C341}"/>
                </a:ext>
              </a:extLst>
            </p:cNvPr>
            <p:cNvSpPr>
              <a:spLocks noChangeAspect="1"/>
            </p:cNvSpPr>
            <p:nvPr/>
          </p:nvSpPr>
          <p:spPr bwMode="auto">
            <a:xfrm>
              <a:off x="13479" y="1161"/>
              <a:ext cx="687" cy="1000"/>
            </a:xfrm>
            <a:custGeom>
              <a:avLst/>
              <a:gdLst/>
              <a:ahLst/>
              <a:cxnLst>
                <a:cxn ang="0">
                  <a:pos x="46" y="488"/>
                </a:cxn>
                <a:cxn ang="0">
                  <a:pos x="88" y="478"/>
                </a:cxn>
                <a:cxn ang="0">
                  <a:pos x="102" y="474"/>
                </a:cxn>
                <a:cxn ang="0">
                  <a:pos x="124" y="465"/>
                </a:cxn>
                <a:cxn ang="0">
                  <a:pos x="142" y="435"/>
                </a:cxn>
                <a:cxn ang="0">
                  <a:pos x="154" y="395"/>
                </a:cxn>
                <a:cxn ang="0">
                  <a:pos x="183" y="404"/>
                </a:cxn>
                <a:cxn ang="0">
                  <a:pos x="231" y="396"/>
                </a:cxn>
                <a:cxn ang="0">
                  <a:pos x="283" y="384"/>
                </a:cxn>
                <a:cxn ang="0">
                  <a:pos x="321" y="318"/>
                </a:cxn>
                <a:cxn ang="0">
                  <a:pos x="322" y="288"/>
                </a:cxn>
                <a:cxn ang="0">
                  <a:pos x="336" y="268"/>
                </a:cxn>
                <a:cxn ang="0">
                  <a:pos x="336" y="254"/>
                </a:cxn>
                <a:cxn ang="0">
                  <a:pos x="333" y="242"/>
                </a:cxn>
                <a:cxn ang="0">
                  <a:pos x="310" y="203"/>
                </a:cxn>
                <a:cxn ang="0">
                  <a:pos x="289" y="135"/>
                </a:cxn>
                <a:cxn ang="0">
                  <a:pos x="288" y="113"/>
                </a:cxn>
                <a:cxn ang="0">
                  <a:pos x="295" y="79"/>
                </a:cxn>
                <a:cxn ang="0">
                  <a:pos x="285" y="67"/>
                </a:cxn>
                <a:cxn ang="0">
                  <a:pos x="284" y="57"/>
                </a:cxn>
                <a:cxn ang="0">
                  <a:pos x="280" y="43"/>
                </a:cxn>
                <a:cxn ang="0">
                  <a:pos x="289" y="23"/>
                </a:cxn>
                <a:cxn ang="0">
                  <a:pos x="265" y="12"/>
                </a:cxn>
                <a:cxn ang="0">
                  <a:pos x="252" y="0"/>
                </a:cxn>
                <a:cxn ang="0">
                  <a:pos x="250" y="30"/>
                </a:cxn>
                <a:cxn ang="0">
                  <a:pos x="235" y="45"/>
                </a:cxn>
                <a:cxn ang="0">
                  <a:pos x="202" y="74"/>
                </a:cxn>
                <a:cxn ang="0">
                  <a:pos x="194" y="107"/>
                </a:cxn>
                <a:cxn ang="0">
                  <a:pos x="191" y="142"/>
                </a:cxn>
                <a:cxn ang="0">
                  <a:pos x="186" y="164"/>
                </a:cxn>
                <a:cxn ang="0">
                  <a:pos x="177" y="179"/>
                </a:cxn>
                <a:cxn ang="0">
                  <a:pos x="176" y="196"/>
                </a:cxn>
                <a:cxn ang="0">
                  <a:pos x="194" y="217"/>
                </a:cxn>
                <a:cxn ang="0">
                  <a:pos x="166" y="246"/>
                </a:cxn>
                <a:cxn ang="0">
                  <a:pos x="146" y="243"/>
                </a:cxn>
                <a:cxn ang="0">
                  <a:pos x="110" y="262"/>
                </a:cxn>
                <a:cxn ang="0">
                  <a:pos x="81" y="284"/>
                </a:cxn>
                <a:cxn ang="0">
                  <a:pos x="65" y="291"/>
                </a:cxn>
                <a:cxn ang="0">
                  <a:pos x="35" y="304"/>
                </a:cxn>
                <a:cxn ang="0">
                  <a:pos x="16" y="343"/>
                </a:cxn>
                <a:cxn ang="0">
                  <a:pos x="3" y="373"/>
                </a:cxn>
                <a:cxn ang="0">
                  <a:pos x="9" y="403"/>
                </a:cxn>
                <a:cxn ang="0">
                  <a:pos x="11" y="411"/>
                </a:cxn>
                <a:cxn ang="0">
                  <a:pos x="0" y="454"/>
                </a:cxn>
                <a:cxn ang="0">
                  <a:pos x="8" y="459"/>
                </a:cxn>
                <a:cxn ang="0">
                  <a:pos x="23" y="453"/>
                </a:cxn>
                <a:cxn ang="0">
                  <a:pos x="37" y="464"/>
                </a:cxn>
              </a:cxnLst>
              <a:rect l="0" t="0" r="r" b="b"/>
              <a:pathLst>
                <a:path w="343" h="499">
                  <a:moveTo>
                    <a:pt x="37" y="464"/>
                  </a:moveTo>
                  <a:cubicBezTo>
                    <a:pt x="37" y="471"/>
                    <a:pt x="36" y="487"/>
                    <a:pt x="46" y="488"/>
                  </a:cubicBezTo>
                  <a:cubicBezTo>
                    <a:pt x="56" y="489"/>
                    <a:pt x="56" y="499"/>
                    <a:pt x="69" y="496"/>
                  </a:cubicBezTo>
                  <a:cubicBezTo>
                    <a:pt x="82" y="493"/>
                    <a:pt x="88" y="478"/>
                    <a:pt x="88" y="478"/>
                  </a:cubicBezTo>
                  <a:cubicBezTo>
                    <a:pt x="100" y="481"/>
                    <a:pt x="100" y="481"/>
                    <a:pt x="100" y="481"/>
                  </a:cubicBezTo>
                  <a:cubicBezTo>
                    <a:pt x="102" y="474"/>
                    <a:pt x="102" y="474"/>
                    <a:pt x="102" y="474"/>
                  </a:cubicBezTo>
                  <a:cubicBezTo>
                    <a:pt x="102" y="474"/>
                    <a:pt x="114" y="481"/>
                    <a:pt x="115" y="479"/>
                  </a:cubicBezTo>
                  <a:cubicBezTo>
                    <a:pt x="115" y="478"/>
                    <a:pt x="124" y="465"/>
                    <a:pt x="124" y="465"/>
                  </a:cubicBezTo>
                  <a:cubicBezTo>
                    <a:pt x="124" y="465"/>
                    <a:pt x="135" y="465"/>
                    <a:pt x="135" y="463"/>
                  </a:cubicBezTo>
                  <a:cubicBezTo>
                    <a:pt x="135" y="461"/>
                    <a:pt x="144" y="443"/>
                    <a:pt x="142" y="435"/>
                  </a:cubicBezTo>
                  <a:cubicBezTo>
                    <a:pt x="140" y="427"/>
                    <a:pt x="129" y="422"/>
                    <a:pt x="133" y="416"/>
                  </a:cubicBezTo>
                  <a:cubicBezTo>
                    <a:pt x="137" y="410"/>
                    <a:pt x="154" y="395"/>
                    <a:pt x="154" y="395"/>
                  </a:cubicBezTo>
                  <a:cubicBezTo>
                    <a:pt x="173" y="407"/>
                    <a:pt x="173" y="407"/>
                    <a:pt x="173" y="407"/>
                  </a:cubicBezTo>
                  <a:cubicBezTo>
                    <a:pt x="183" y="404"/>
                    <a:pt x="183" y="404"/>
                    <a:pt x="183" y="404"/>
                  </a:cubicBezTo>
                  <a:cubicBezTo>
                    <a:pt x="183" y="404"/>
                    <a:pt x="185" y="415"/>
                    <a:pt x="194" y="414"/>
                  </a:cubicBezTo>
                  <a:cubicBezTo>
                    <a:pt x="203" y="413"/>
                    <a:pt x="231" y="396"/>
                    <a:pt x="231" y="396"/>
                  </a:cubicBezTo>
                  <a:cubicBezTo>
                    <a:pt x="256" y="394"/>
                    <a:pt x="256" y="394"/>
                    <a:pt x="256" y="394"/>
                  </a:cubicBezTo>
                  <a:cubicBezTo>
                    <a:pt x="256" y="394"/>
                    <a:pt x="276" y="389"/>
                    <a:pt x="283" y="384"/>
                  </a:cubicBezTo>
                  <a:cubicBezTo>
                    <a:pt x="291" y="379"/>
                    <a:pt x="313" y="365"/>
                    <a:pt x="313" y="365"/>
                  </a:cubicBezTo>
                  <a:cubicBezTo>
                    <a:pt x="313" y="365"/>
                    <a:pt x="321" y="328"/>
                    <a:pt x="321" y="318"/>
                  </a:cubicBezTo>
                  <a:cubicBezTo>
                    <a:pt x="321" y="308"/>
                    <a:pt x="327" y="302"/>
                    <a:pt x="326" y="298"/>
                  </a:cubicBezTo>
                  <a:cubicBezTo>
                    <a:pt x="324" y="294"/>
                    <a:pt x="322" y="289"/>
                    <a:pt x="322" y="288"/>
                  </a:cubicBezTo>
                  <a:cubicBezTo>
                    <a:pt x="322" y="288"/>
                    <a:pt x="335" y="281"/>
                    <a:pt x="335" y="281"/>
                  </a:cubicBezTo>
                  <a:cubicBezTo>
                    <a:pt x="335" y="281"/>
                    <a:pt x="329" y="272"/>
                    <a:pt x="336" y="268"/>
                  </a:cubicBezTo>
                  <a:cubicBezTo>
                    <a:pt x="342" y="264"/>
                    <a:pt x="339" y="258"/>
                    <a:pt x="339" y="258"/>
                  </a:cubicBezTo>
                  <a:cubicBezTo>
                    <a:pt x="336" y="254"/>
                    <a:pt x="336" y="254"/>
                    <a:pt x="336" y="254"/>
                  </a:cubicBezTo>
                  <a:cubicBezTo>
                    <a:pt x="336" y="254"/>
                    <a:pt x="343" y="251"/>
                    <a:pt x="340" y="249"/>
                  </a:cubicBezTo>
                  <a:cubicBezTo>
                    <a:pt x="337" y="246"/>
                    <a:pt x="333" y="242"/>
                    <a:pt x="333" y="242"/>
                  </a:cubicBezTo>
                  <a:cubicBezTo>
                    <a:pt x="322" y="243"/>
                    <a:pt x="322" y="243"/>
                    <a:pt x="322" y="243"/>
                  </a:cubicBezTo>
                  <a:cubicBezTo>
                    <a:pt x="310" y="203"/>
                    <a:pt x="310" y="203"/>
                    <a:pt x="310" y="203"/>
                  </a:cubicBezTo>
                  <a:cubicBezTo>
                    <a:pt x="309" y="151"/>
                    <a:pt x="309" y="151"/>
                    <a:pt x="309" y="151"/>
                  </a:cubicBezTo>
                  <a:cubicBezTo>
                    <a:pt x="289" y="135"/>
                    <a:pt x="289" y="135"/>
                    <a:pt x="289" y="135"/>
                  </a:cubicBezTo>
                  <a:cubicBezTo>
                    <a:pt x="293" y="123"/>
                    <a:pt x="293" y="123"/>
                    <a:pt x="293" y="123"/>
                  </a:cubicBezTo>
                  <a:cubicBezTo>
                    <a:pt x="293" y="123"/>
                    <a:pt x="288" y="114"/>
                    <a:pt x="288" y="113"/>
                  </a:cubicBezTo>
                  <a:cubicBezTo>
                    <a:pt x="288" y="112"/>
                    <a:pt x="297" y="98"/>
                    <a:pt x="297" y="98"/>
                  </a:cubicBezTo>
                  <a:cubicBezTo>
                    <a:pt x="295" y="79"/>
                    <a:pt x="295" y="79"/>
                    <a:pt x="295" y="79"/>
                  </a:cubicBezTo>
                  <a:cubicBezTo>
                    <a:pt x="288" y="78"/>
                    <a:pt x="288" y="78"/>
                    <a:pt x="288" y="78"/>
                  </a:cubicBezTo>
                  <a:cubicBezTo>
                    <a:pt x="285" y="67"/>
                    <a:pt x="285" y="67"/>
                    <a:pt x="285" y="67"/>
                  </a:cubicBezTo>
                  <a:cubicBezTo>
                    <a:pt x="290" y="61"/>
                    <a:pt x="290" y="61"/>
                    <a:pt x="290" y="61"/>
                  </a:cubicBezTo>
                  <a:cubicBezTo>
                    <a:pt x="284" y="57"/>
                    <a:pt x="284" y="57"/>
                    <a:pt x="284" y="57"/>
                  </a:cubicBezTo>
                  <a:cubicBezTo>
                    <a:pt x="284" y="44"/>
                    <a:pt x="284" y="44"/>
                    <a:pt x="284" y="44"/>
                  </a:cubicBezTo>
                  <a:cubicBezTo>
                    <a:pt x="280" y="43"/>
                    <a:pt x="280" y="43"/>
                    <a:pt x="280" y="43"/>
                  </a:cubicBezTo>
                  <a:cubicBezTo>
                    <a:pt x="281" y="29"/>
                    <a:pt x="281" y="29"/>
                    <a:pt x="281" y="29"/>
                  </a:cubicBezTo>
                  <a:cubicBezTo>
                    <a:pt x="289" y="23"/>
                    <a:pt x="289" y="23"/>
                    <a:pt x="289" y="23"/>
                  </a:cubicBezTo>
                  <a:cubicBezTo>
                    <a:pt x="287" y="12"/>
                    <a:pt x="287" y="12"/>
                    <a:pt x="287" y="12"/>
                  </a:cubicBezTo>
                  <a:cubicBezTo>
                    <a:pt x="275" y="12"/>
                    <a:pt x="265" y="12"/>
                    <a:pt x="265" y="12"/>
                  </a:cubicBezTo>
                  <a:cubicBezTo>
                    <a:pt x="255" y="2"/>
                    <a:pt x="255" y="2"/>
                    <a:pt x="255" y="2"/>
                  </a:cubicBezTo>
                  <a:cubicBezTo>
                    <a:pt x="252" y="0"/>
                    <a:pt x="252" y="0"/>
                    <a:pt x="252" y="0"/>
                  </a:cubicBezTo>
                  <a:cubicBezTo>
                    <a:pt x="256" y="17"/>
                    <a:pt x="256" y="17"/>
                    <a:pt x="256" y="17"/>
                  </a:cubicBezTo>
                  <a:cubicBezTo>
                    <a:pt x="250" y="30"/>
                    <a:pt x="250" y="30"/>
                    <a:pt x="250" y="30"/>
                  </a:cubicBezTo>
                  <a:cubicBezTo>
                    <a:pt x="239" y="31"/>
                    <a:pt x="239" y="31"/>
                    <a:pt x="239" y="31"/>
                  </a:cubicBezTo>
                  <a:cubicBezTo>
                    <a:pt x="239" y="31"/>
                    <a:pt x="238" y="39"/>
                    <a:pt x="235" y="45"/>
                  </a:cubicBezTo>
                  <a:cubicBezTo>
                    <a:pt x="232" y="50"/>
                    <a:pt x="215" y="47"/>
                    <a:pt x="211" y="49"/>
                  </a:cubicBezTo>
                  <a:cubicBezTo>
                    <a:pt x="206" y="51"/>
                    <a:pt x="203" y="72"/>
                    <a:pt x="202" y="74"/>
                  </a:cubicBezTo>
                  <a:cubicBezTo>
                    <a:pt x="202" y="76"/>
                    <a:pt x="184" y="90"/>
                    <a:pt x="185" y="94"/>
                  </a:cubicBezTo>
                  <a:cubicBezTo>
                    <a:pt x="185" y="98"/>
                    <a:pt x="194" y="107"/>
                    <a:pt x="194" y="107"/>
                  </a:cubicBezTo>
                  <a:cubicBezTo>
                    <a:pt x="194" y="107"/>
                    <a:pt x="187" y="116"/>
                    <a:pt x="187" y="123"/>
                  </a:cubicBezTo>
                  <a:cubicBezTo>
                    <a:pt x="186" y="131"/>
                    <a:pt x="191" y="142"/>
                    <a:pt x="191" y="142"/>
                  </a:cubicBezTo>
                  <a:cubicBezTo>
                    <a:pt x="194" y="160"/>
                    <a:pt x="194" y="160"/>
                    <a:pt x="194" y="160"/>
                  </a:cubicBezTo>
                  <a:cubicBezTo>
                    <a:pt x="186" y="164"/>
                    <a:pt x="186" y="164"/>
                    <a:pt x="186" y="164"/>
                  </a:cubicBezTo>
                  <a:cubicBezTo>
                    <a:pt x="186" y="171"/>
                    <a:pt x="186" y="171"/>
                    <a:pt x="186" y="171"/>
                  </a:cubicBezTo>
                  <a:cubicBezTo>
                    <a:pt x="186" y="171"/>
                    <a:pt x="181" y="175"/>
                    <a:pt x="177" y="179"/>
                  </a:cubicBezTo>
                  <a:cubicBezTo>
                    <a:pt x="173" y="183"/>
                    <a:pt x="182" y="191"/>
                    <a:pt x="182" y="191"/>
                  </a:cubicBezTo>
                  <a:cubicBezTo>
                    <a:pt x="176" y="196"/>
                    <a:pt x="176" y="196"/>
                    <a:pt x="176" y="196"/>
                  </a:cubicBezTo>
                  <a:cubicBezTo>
                    <a:pt x="181" y="206"/>
                    <a:pt x="181" y="206"/>
                    <a:pt x="181" y="206"/>
                  </a:cubicBezTo>
                  <a:cubicBezTo>
                    <a:pt x="194" y="217"/>
                    <a:pt x="194" y="217"/>
                    <a:pt x="194" y="217"/>
                  </a:cubicBezTo>
                  <a:cubicBezTo>
                    <a:pt x="194" y="217"/>
                    <a:pt x="186" y="241"/>
                    <a:pt x="185" y="244"/>
                  </a:cubicBezTo>
                  <a:cubicBezTo>
                    <a:pt x="184" y="248"/>
                    <a:pt x="170" y="246"/>
                    <a:pt x="166" y="246"/>
                  </a:cubicBezTo>
                  <a:cubicBezTo>
                    <a:pt x="162" y="246"/>
                    <a:pt x="154" y="250"/>
                    <a:pt x="154" y="250"/>
                  </a:cubicBezTo>
                  <a:cubicBezTo>
                    <a:pt x="154" y="250"/>
                    <a:pt x="149" y="246"/>
                    <a:pt x="146" y="243"/>
                  </a:cubicBezTo>
                  <a:cubicBezTo>
                    <a:pt x="143" y="241"/>
                    <a:pt x="123" y="244"/>
                    <a:pt x="123" y="244"/>
                  </a:cubicBezTo>
                  <a:cubicBezTo>
                    <a:pt x="123" y="244"/>
                    <a:pt x="118" y="251"/>
                    <a:pt x="110" y="262"/>
                  </a:cubicBezTo>
                  <a:cubicBezTo>
                    <a:pt x="102" y="274"/>
                    <a:pt x="89" y="271"/>
                    <a:pt x="88" y="273"/>
                  </a:cubicBezTo>
                  <a:cubicBezTo>
                    <a:pt x="87" y="275"/>
                    <a:pt x="81" y="284"/>
                    <a:pt x="81" y="284"/>
                  </a:cubicBezTo>
                  <a:cubicBezTo>
                    <a:pt x="70" y="284"/>
                    <a:pt x="70" y="284"/>
                    <a:pt x="70" y="284"/>
                  </a:cubicBezTo>
                  <a:cubicBezTo>
                    <a:pt x="65" y="291"/>
                    <a:pt x="65" y="291"/>
                    <a:pt x="65" y="291"/>
                  </a:cubicBezTo>
                  <a:cubicBezTo>
                    <a:pt x="52" y="291"/>
                    <a:pt x="52" y="291"/>
                    <a:pt x="52" y="291"/>
                  </a:cubicBezTo>
                  <a:cubicBezTo>
                    <a:pt x="52" y="291"/>
                    <a:pt x="45" y="295"/>
                    <a:pt x="35" y="304"/>
                  </a:cubicBezTo>
                  <a:cubicBezTo>
                    <a:pt x="25" y="312"/>
                    <a:pt x="30" y="328"/>
                    <a:pt x="30" y="328"/>
                  </a:cubicBezTo>
                  <a:cubicBezTo>
                    <a:pt x="30" y="328"/>
                    <a:pt x="19" y="341"/>
                    <a:pt x="16" y="343"/>
                  </a:cubicBezTo>
                  <a:cubicBezTo>
                    <a:pt x="14" y="346"/>
                    <a:pt x="12" y="364"/>
                    <a:pt x="12" y="364"/>
                  </a:cubicBezTo>
                  <a:cubicBezTo>
                    <a:pt x="12" y="364"/>
                    <a:pt x="4" y="369"/>
                    <a:pt x="3" y="373"/>
                  </a:cubicBezTo>
                  <a:cubicBezTo>
                    <a:pt x="2" y="378"/>
                    <a:pt x="8" y="390"/>
                    <a:pt x="8" y="390"/>
                  </a:cubicBezTo>
                  <a:cubicBezTo>
                    <a:pt x="8" y="390"/>
                    <a:pt x="9" y="402"/>
                    <a:pt x="9" y="403"/>
                  </a:cubicBezTo>
                  <a:cubicBezTo>
                    <a:pt x="10" y="404"/>
                    <a:pt x="18" y="408"/>
                    <a:pt x="18" y="408"/>
                  </a:cubicBezTo>
                  <a:cubicBezTo>
                    <a:pt x="11" y="411"/>
                    <a:pt x="11" y="411"/>
                    <a:pt x="11" y="411"/>
                  </a:cubicBezTo>
                  <a:cubicBezTo>
                    <a:pt x="11" y="440"/>
                    <a:pt x="11" y="440"/>
                    <a:pt x="11" y="440"/>
                  </a:cubicBezTo>
                  <a:cubicBezTo>
                    <a:pt x="0" y="454"/>
                    <a:pt x="0" y="454"/>
                    <a:pt x="0" y="454"/>
                  </a:cubicBezTo>
                  <a:cubicBezTo>
                    <a:pt x="1" y="454"/>
                    <a:pt x="2" y="454"/>
                    <a:pt x="2" y="454"/>
                  </a:cubicBezTo>
                  <a:cubicBezTo>
                    <a:pt x="8" y="459"/>
                    <a:pt x="8" y="459"/>
                    <a:pt x="8" y="459"/>
                  </a:cubicBezTo>
                  <a:cubicBezTo>
                    <a:pt x="22" y="449"/>
                    <a:pt x="22" y="449"/>
                    <a:pt x="22" y="449"/>
                  </a:cubicBezTo>
                  <a:cubicBezTo>
                    <a:pt x="23" y="453"/>
                    <a:pt x="23" y="453"/>
                    <a:pt x="23" y="453"/>
                  </a:cubicBezTo>
                  <a:cubicBezTo>
                    <a:pt x="29" y="450"/>
                    <a:pt x="29" y="450"/>
                    <a:pt x="29" y="450"/>
                  </a:cubicBezTo>
                  <a:cubicBezTo>
                    <a:pt x="29" y="450"/>
                    <a:pt x="37" y="458"/>
                    <a:pt x="37" y="464"/>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2" name="Freeform 338">
              <a:extLst>
                <a:ext uri="{FF2B5EF4-FFF2-40B4-BE49-F238E27FC236}">
                  <a16:creationId xmlns:a16="http://schemas.microsoft.com/office/drawing/2014/main" id="{6A4D2FAE-94A3-4536-84B0-55F5E283288C}"/>
                </a:ext>
              </a:extLst>
            </p:cNvPr>
            <p:cNvSpPr>
              <a:spLocks noChangeAspect="1"/>
            </p:cNvSpPr>
            <p:nvPr/>
          </p:nvSpPr>
          <p:spPr bwMode="auto">
            <a:xfrm>
              <a:off x="14040" y="1167"/>
              <a:ext cx="500" cy="617"/>
            </a:xfrm>
            <a:custGeom>
              <a:avLst/>
              <a:gdLst/>
              <a:ahLst/>
              <a:cxnLst>
                <a:cxn ang="0">
                  <a:pos x="76" y="284"/>
                </a:cxn>
                <a:cxn ang="0">
                  <a:pos x="98" y="274"/>
                </a:cxn>
                <a:cxn ang="0">
                  <a:pos x="113" y="285"/>
                </a:cxn>
                <a:cxn ang="0">
                  <a:pos x="125" y="289"/>
                </a:cxn>
                <a:cxn ang="0">
                  <a:pos x="129" y="299"/>
                </a:cxn>
                <a:cxn ang="0">
                  <a:pos x="132" y="296"/>
                </a:cxn>
                <a:cxn ang="0">
                  <a:pos x="148" y="308"/>
                </a:cxn>
                <a:cxn ang="0">
                  <a:pos x="154" y="296"/>
                </a:cxn>
                <a:cxn ang="0">
                  <a:pos x="161" y="294"/>
                </a:cxn>
                <a:cxn ang="0">
                  <a:pos x="167" y="284"/>
                </a:cxn>
                <a:cxn ang="0">
                  <a:pos x="172" y="275"/>
                </a:cxn>
                <a:cxn ang="0">
                  <a:pos x="164" y="262"/>
                </a:cxn>
                <a:cxn ang="0">
                  <a:pos x="157" y="254"/>
                </a:cxn>
                <a:cxn ang="0">
                  <a:pos x="167" y="246"/>
                </a:cxn>
                <a:cxn ang="0">
                  <a:pos x="167" y="230"/>
                </a:cxn>
                <a:cxn ang="0">
                  <a:pos x="175" y="220"/>
                </a:cxn>
                <a:cxn ang="0">
                  <a:pos x="179" y="200"/>
                </a:cxn>
                <a:cxn ang="0">
                  <a:pos x="194" y="195"/>
                </a:cxn>
                <a:cxn ang="0">
                  <a:pos x="201" y="183"/>
                </a:cxn>
                <a:cxn ang="0">
                  <a:pos x="205" y="172"/>
                </a:cxn>
                <a:cxn ang="0">
                  <a:pos x="214" y="166"/>
                </a:cxn>
                <a:cxn ang="0">
                  <a:pos x="214" y="155"/>
                </a:cxn>
                <a:cxn ang="0">
                  <a:pos x="220" y="151"/>
                </a:cxn>
                <a:cxn ang="0">
                  <a:pos x="224" y="134"/>
                </a:cxn>
                <a:cxn ang="0">
                  <a:pos x="250" y="127"/>
                </a:cxn>
                <a:cxn ang="0">
                  <a:pos x="250" y="126"/>
                </a:cxn>
                <a:cxn ang="0">
                  <a:pos x="240" y="113"/>
                </a:cxn>
                <a:cxn ang="0">
                  <a:pos x="229" y="115"/>
                </a:cxn>
                <a:cxn ang="0">
                  <a:pos x="183" y="67"/>
                </a:cxn>
                <a:cxn ang="0">
                  <a:pos x="179" y="57"/>
                </a:cxn>
                <a:cxn ang="0">
                  <a:pos x="160" y="55"/>
                </a:cxn>
                <a:cxn ang="0">
                  <a:pos x="158" y="47"/>
                </a:cxn>
                <a:cxn ang="0">
                  <a:pos x="148" y="41"/>
                </a:cxn>
                <a:cxn ang="0">
                  <a:pos x="128" y="30"/>
                </a:cxn>
                <a:cxn ang="0">
                  <a:pos x="102" y="16"/>
                </a:cxn>
                <a:cxn ang="0">
                  <a:pos x="90" y="5"/>
                </a:cxn>
                <a:cxn ang="0">
                  <a:pos x="56" y="2"/>
                </a:cxn>
                <a:cxn ang="0">
                  <a:pos x="33" y="9"/>
                </a:cxn>
                <a:cxn ang="0">
                  <a:pos x="7" y="9"/>
                </a:cxn>
                <a:cxn ang="0">
                  <a:pos x="9" y="20"/>
                </a:cxn>
                <a:cxn ang="0">
                  <a:pos x="1" y="26"/>
                </a:cxn>
                <a:cxn ang="0">
                  <a:pos x="0" y="40"/>
                </a:cxn>
                <a:cxn ang="0">
                  <a:pos x="4" y="41"/>
                </a:cxn>
                <a:cxn ang="0">
                  <a:pos x="4" y="54"/>
                </a:cxn>
                <a:cxn ang="0">
                  <a:pos x="10" y="58"/>
                </a:cxn>
                <a:cxn ang="0">
                  <a:pos x="5" y="64"/>
                </a:cxn>
                <a:cxn ang="0">
                  <a:pos x="8" y="75"/>
                </a:cxn>
                <a:cxn ang="0">
                  <a:pos x="15" y="76"/>
                </a:cxn>
                <a:cxn ang="0">
                  <a:pos x="17" y="95"/>
                </a:cxn>
                <a:cxn ang="0">
                  <a:pos x="8" y="110"/>
                </a:cxn>
                <a:cxn ang="0">
                  <a:pos x="13" y="120"/>
                </a:cxn>
                <a:cxn ang="0">
                  <a:pos x="9" y="132"/>
                </a:cxn>
                <a:cxn ang="0">
                  <a:pos x="29" y="148"/>
                </a:cxn>
                <a:cxn ang="0">
                  <a:pos x="30" y="200"/>
                </a:cxn>
                <a:cxn ang="0">
                  <a:pos x="42" y="240"/>
                </a:cxn>
                <a:cxn ang="0">
                  <a:pos x="53" y="239"/>
                </a:cxn>
                <a:cxn ang="0">
                  <a:pos x="60" y="246"/>
                </a:cxn>
                <a:cxn ang="0">
                  <a:pos x="56" y="251"/>
                </a:cxn>
                <a:cxn ang="0">
                  <a:pos x="59" y="255"/>
                </a:cxn>
                <a:cxn ang="0">
                  <a:pos x="56" y="265"/>
                </a:cxn>
                <a:cxn ang="0">
                  <a:pos x="54" y="277"/>
                </a:cxn>
                <a:cxn ang="0">
                  <a:pos x="70" y="281"/>
                </a:cxn>
                <a:cxn ang="0">
                  <a:pos x="76" y="284"/>
                </a:cxn>
              </a:cxnLst>
              <a:rect l="0" t="0" r="r" b="b"/>
              <a:pathLst>
                <a:path w="250" h="308">
                  <a:moveTo>
                    <a:pt x="76" y="284"/>
                  </a:moveTo>
                  <a:cubicBezTo>
                    <a:pt x="76" y="284"/>
                    <a:pt x="86" y="274"/>
                    <a:pt x="98" y="274"/>
                  </a:cubicBezTo>
                  <a:cubicBezTo>
                    <a:pt x="109" y="275"/>
                    <a:pt x="113" y="285"/>
                    <a:pt x="113" y="285"/>
                  </a:cubicBezTo>
                  <a:cubicBezTo>
                    <a:pt x="113" y="285"/>
                    <a:pt x="123" y="281"/>
                    <a:pt x="125" y="289"/>
                  </a:cubicBezTo>
                  <a:cubicBezTo>
                    <a:pt x="127" y="297"/>
                    <a:pt x="129" y="299"/>
                    <a:pt x="129" y="299"/>
                  </a:cubicBezTo>
                  <a:cubicBezTo>
                    <a:pt x="132" y="296"/>
                    <a:pt x="132" y="296"/>
                    <a:pt x="132" y="296"/>
                  </a:cubicBezTo>
                  <a:cubicBezTo>
                    <a:pt x="148" y="308"/>
                    <a:pt x="148" y="308"/>
                    <a:pt x="148" y="308"/>
                  </a:cubicBezTo>
                  <a:cubicBezTo>
                    <a:pt x="148" y="308"/>
                    <a:pt x="148" y="297"/>
                    <a:pt x="154" y="296"/>
                  </a:cubicBezTo>
                  <a:cubicBezTo>
                    <a:pt x="159" y="295"/>
                    <a:pt x="161" y="294"/>
                    <a:pt x="161" y="294"/>
                  </a:cubicBezTo>
                  <a:cubicBezTo>
                    <a:pt x="161" y="294"/>
                    <a:pt x="165" y="287"/>
                    <a:pt x="167" y="284"/>
                  </a:cubicBezTo>
                  <a:cubicBezTo>
                    <a:pt x="169" y="282"/>
                    <a:pt x="175" y="281"/>
                    <a:pt x="172" y="275"/>
                  </a:cubicBezTo>
                  <a:cubicBezTo>
                    <a:pt x="170" y="269"/>
                    <a:pt x="165" y="263"/>
                    <a:pt x="164" y="262"/>
                  </a:cubicBezTo>
                  <a:cubicBezTo>
                    <a:pt x="164" y="261"/>
                    <a:pt x="157" y="255"/>
                    <a:pt x="157" y="254"/>
                  </a:cubicBezTo>
                  <a:cubicBezTo>
                    <a:pt x="157" y="254"/>
                    <a:pt x="167" y="247"/>
                    <a:pt x="167" y="246"/>
                  </a:cubicBezTo>
                  <a:cubicBezTo>
                    <a:pt x="167" y="245"/>
                    <a:pt x="167" y="230"/>
                    <a:pt x="167" y="230"/>
                  </a:cubicBezTo>
                  <a:cubicBezTo>
                    <a:pt x="167" y="230"/>
                    <a:pt x="175" y="223"/>
                    <a:pt x="175" y="220"/>
                  </a:cubicBezTo>
                  <a:cubicBezTo>
                    <a:pt x="174" y="217"/>
                    <a:pt x="173" y="201"/>
                    <a:pt x="179" y="200"/>
                  </a:cubicBezTo>
                  <a:cubicBezTo>
                    <a:pt x="185" y="199"/>
                    <a:pt x="192" y="197"/>
                    <a:pt x="194" y="195"/>
                  </a:cubicBezTo>
                  <a:cubicBezTo>
                    <a:pt x="196" y="193"/>
                    <a:pt x="201" y="188"/>
                    <a:pt x="201" y="183"/>
                  </a:cubicBezTo>
                  <a:cubicBezTo>
                    <a:pt x="201" y="178"/>
                    <a:pt x="200" y="176"/>
                    <a:pt x="205" y="172"/>
                  </a:cubicBezTo>
                  <a:cubicBezTo>
                    <a:pt x="211" y="168"/>
                    <a:pt x="214" y="166"/>
                    <a:pt x="214" y="166"/>
                  </a:cubicBezTo>
                  <a:cubicBezTo>
                    <a:pt x="214" y="165"/>
                    <a:pt x="214" y="155"/>
                    <a:pt x="214" y="155"/>
                  </a:cubicBezTo>
                  <a:cubicBezTo>
                    <a:pt x="220" y="151"/>
                    <a:pt x="220" y="151"/>
                    <a:pt x="220" y="151"/>
                  </a:cubicBezTo>
                  <a:cubicBezTo>
                    <a:pt x="220" y="151"/>
                    <a:pt x="217" y="136"/>
                    <a:pt x="224" y="134"/>
                  </a:cubicBezTo>
                  <a:cubicBezTo>
                    <a:pt x="232" y="132"/>
                    <a:pt x="250" y="127"/>
                    <a:pt x="250" y="127"/>
                  </a:cubicBezTo>
                  <a:cubicBezTo>
                    <a:pt x="250" y="127"/>
                    <a:pt x="250" y="127"/>
                    <a:pt x="250" y="126"/>
                  </a:cubicBezTo>
                  <a:cubicBezTo>
                    <a:pt x="240" y="113"/>
                    <a:pt x="240" y="113"/>
                    <a:pt x="240" y="113"/>
                  </a:cubicBezTo>
                  <a:cubicBezTo>
                    <a:pt x="229" y="115"/>
                    <a:pt x="229" y="115"/>
                    <a:pt x="229" y="115"/>
                  </a:cubicBezTo>
                  <a:cubicBezTo>
                    <a:pt x="229" y="115"/>
                    <a:pt x="192" y="72"/>
                    <a:pt x="183" y="67"/>
                  </a:cubicBezTo>
                  <a:cubicBezTo>
                    <a:pt x="174" y="62"/>
                    <a:pt x="179" y="57"/>
                    <a:pt x="179" y="57"/>
                  </a:cubicBezTo>
                  <a:cubicBezTo>
                    <a:pt x="160" y="55"/>
                    <a:pt x="160" y="55"/>
                    <a:pt x="160" y="55"/>
                  </a:cubicBezTo>
                  <a:cubicBezTo>
                    <a:pt x="158" y="47"/>
                    <a:pt x="158" y="47"/>
                    <a:pt x="158" y="47"/>
                  </a:cubicBezTo>
                  <a:cubicBezTo>
                    <a:pt x="148" y="41"/>
                    <a:pt x="148" y="41"/>
                    <a:pt x="148" y="41"/>
                  </a:cubicBezTo>
                  <a:cubicBezTo>
                    <a:pt x="148" y="41"/>
                    <a:pt x="139" y="40"/>
                    <a:pt x="128" y="30"/>
                  </a:cubicBezTo>
                  <a:cubicBezTo>
                    <a:pt x="117" y="20"/>
                    <a:pt x="109" y="17"/>
                    <a:pt x="102" y="16"/>
                  </a:cubicBezTo>
                  <a:cubicBezTo>
                    <a:pt x="95" y="15"/>
                    <a:pt x="90" y="5"/>
                    <a:pt x="90" y="5"/>
                  </a:cubicBezTo>
                  <a:cubicBezTo>
                    <a:pt x="90" y="5"/>
                    <a:pt x="58" y="0"/>
                    <a:pt x="56" y="2"/>
                  </a:cubicBezTo>
                  <a:cubicBezTo>
                    <a:pt x="54" y="4"/>
                    <a:pt x="34" y="9"/>
                    <a:pt x="33" y="9"/>
                  </a:cubicBezTo>
                  <a:cubicBezTo>
                    <a:pt x="33" y="10"/>
                    <a:pt x="19" y="10"/>
                    <a:pt x="7" y="9"/>
                  </a:cubicBezTo>
                  <a:cubicBezTo>
                    <a:pt x="9" y="20"/>
                    <a:pt x="9" y="20"/>
                    <a:pt x="9" y="20"/>
                  </a:cubicBezTo>
                  <a:cubicBezTo>
                    <a:pt x="1" y="26"/>
                    <a:pt x="1" y="26"/>
                    <a:pt x="1" y="26"/>
                  </a:cubicBezTo>
                  <a:cubicBezTo>
                    <a:pt x="0" y="40"/>
                    <a:pt x="0" y="40"/>
                    <a:pt x="0" y="40"/>
                  </a:cubicBezTo>
                  <a:cubicBezTo>
                    <a:pt x="4" y="41"/>
                    <a:pt x="4" y="41"/>
                    <a:pt x="4" y="41"/>
                  </a:cubicBezTo>
                  <a:cubicBezTo>
                    <a:pt x="4" y="54"/>
                    <a:pt x="4" y="54"/>
                    <a:pt x="4" y="54"/>
                  </a:cubicBezTo>
                  <a:cubicBezTo>
                    <a:pt x="10" y="58"/>
                    <a:pt x="10" y="58"/>
                    <a:pt x="10" y="58"/>
                  </a:cubicBezTo>
                  <a:cubicBezTo>
                    <a:pt x="5" y="64"/>
                    <a:pt x="5" y="64"/>
                    <a:pt x="5" y="64"/>
                  </a:cubicBezTo>
                  <a:cubicBezTo>
                    <a:pt x="8" y="75"/>
                    <a:pt x="8" y="75"/>
                    <a:pt x="8" y="75"/>
                  </a:cubicBezTo>
                  <a:cubicBezTo>
                    <a:pt x="15" y="76"/>
                    <a:pt x="15" y="76"/>
                    <a:pt x="15" y="76"/>
                  </a:cubicBezTo>
                  <a:cubicBezTo>
                    <a:pt x="17" y="95"/>
                    <a:pt x="17" y="95"/>
                    <a:pt x="17" y="95"/>
                  </a:cubicBezTo>
                  <a:cubicBezTo>
                    <a:pt x="17" y="95"/>
                    <a:pt x="8" y="109"/>
                    <a:pt x="8" y="110"/>
                  </a:cubicBezTo>
                  <a:cubicBezTo>
                    <a:pt x="8" y="111"/>
                    <a:pt x="13" y="120"/>
                    <a:pt x="13" y="120"/>
                  </a:cubicBezTo>
                  <a:cubicBezTo>
                    <a:pt x="9" y="132"/>
                    <a:pt x="9" y="132"/>
                    <a:pt x="9" y="132"/>
                  </a:cubicBezTo>
                  <a:cubicBezTo>
                    <a:pt x="29" y="148"/>
                    <a:pt x="29" y="148"/>
                    <a:pt x="29" y="148"/>
                  </a:cubicBezTo>
                  <a:cubicBezTo>
                    <a:pt x="30" y="200"/>
                    <a:pt x="30" y="200"/>
                    <a:pt x="30" y="200"/>
                  </a:cubicBezTo>
                  <a:cubicBezTo>
                    <a:pt x="42" y="240"/>
                    <a:pt x="42" y="240"/>
                    <a:pt x="42" y="240"/>
                  </a:cubicBezTo>
                  <a:cubicBezTo>
                    <a:pt x="53" y="239"/>
                    <a:pt x="53" y="239"/>
                    <a:pt x="53" y="239"/>
                  </a:cubicBezTo>
                  <a:cubicBezTo>
                    <a:pt x="53" y="239"/>
                    <a:pt x="57" y="243"/>
                    <a:pt x="60" y="246"/>
                  </a:cubicBezTo>
                  <a:cubicBezTo>
                    <a:pt x="63" y="248"/>
                    <a:pt x="56" y="251"/>
                    <a:pt x="56" y="251"/>
                  </a:cubicBezTo>
                  <a:cubicBezTo>
                    <a:pt x="59" y="255"/>
                    <a:pt x="59" y="255"/>
                    <a:pt x="59" y="255"/>
                  </a:cubicBezTo>
                  <a:cubicBezTo>
                    <a:pt x="59" y="255"/>
                    <a:pt x="62" y="261"/>
                    <a:pt x="56" y="265"/>
                  </a:cubicBezTo>
                  <a:cubicBezTo>
                    <a:pt x="51" y="268"/>
                    <a:pt x="53" y="275"/>
                    <a:pt x="54" y="277"/>
                  </a:cubicBezTo>
                  <a:cubicBezTo>
                    <a:pt x="70" y="281"/>
                    <a:pt x="70" y="281"/>
                    <a:pt x="70" y="281"/>
                  </a:cubicBezTo>
                  <a:lnTo>
                    <a:pt x="76" y="284"/>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3" name="Freeform 339">
              <a:extLst>
                <a:ext uri="{FF2B5EF4-FFF2-40B4-BE49-F238E27FC236}">
                  <a16:creationId xmlns:a16="http://schemas.microsoft.com/office/drawing/2014/main" id="{3EA8F626-2B33-440B-A600-A61A1AAA0003}"/>
                </a:ext>
              </a:extLst>
            </p:cNvPr>
            <p:cNvSpPr>
              <a:spLocks noChangeAspect="1"/>
            </p:cNvSpPr>
            <p:nvPr/>
          </p:nvSpPr>
          <p:spPr bwMode="auto">
            <a:xfrm>
              <a:off x="14386" y="1419"/>
              <a:ext cx="433" cy="261"/>
            </a:xfrm>
            <a:custGeom>
              <a:avLst/>
              <a:gdLst/>
              <a:ahLst/>
              <a:cxnLst>
                <a:cxn ang="0">
                  <a:pos x="16" y="104"/>
                </a:cxn>
                <a:cxn ang="0">
                  <a:pos x="19" y="98"/>
                </a:cxn>
                <a:cxn ang="0">
                  <a:pos x="25" y="103"/>
                </a:cxn>
                <a:cxn ang="0">
                  <a:pos x="32" y="96"/>
                </a:cxn>
                <a:cxn ang="0">
                  <a:pos x="41" y="94"/>
                </a:cxn>
                <a:cxn ang="0">
                  <a:pos x="48" y="82"/>
                </a:cxn>
                <a:cxn ang="0">
                  <a:pos x="63" y="80"/>
                </a:cxn>
                <a:cxn ang="0">
                  <a:pos x="78" y="70"/>
                </a:cxn>
                <a:cxn ang="0">
                  <a:pos x="83" y="79"/>
                </a:cxn>
                <a:cxn ang="0">
                  <a:pos x="77" y="82"/>
                </a:cxn>
                <a:cxn ang="0">
                  <a:pos x="69" y="92"/>
                </a:cxn>
                <a:cxn ang="0">
                  <a:pos x="71" y="98"/>
                </a:cxn>
                <a:cxn ang="0">
                  <a:pos x="64" y="104"/>
                </a:cxn>
                <a:cxn ang="0">
                  <a:pos x="63" y="112"/>
                </a:cxn>
                <a:cxn ang="0">
                  <a:pos x="81" y="119"/>
                </a:cxn>
                <a:cxn ang="0">
                  <a:pos x="103" y="115"/>
                </a:cxn>
                <a:cxn ang="0">
                  <a:pos x="108" y="130"/>
                </a:cxn>
                <a:cxn ang="0">
                  <a:pos x="123" y="119"/>
                </a:cxn>
                <a:cxn ang="0">
                  <a:pos x="121" y="112"/>
                </a:cxn>
                <a:cxn ang="0">
                  <a:pos x="125" y="108"/>
                </a:cxn>
                <a:cxn ang="0">
                  <a:pos x="120" y="99"/>
                </a:cxn>
                <a:cxn ang="0">
                  <a:pos x="131" y="90"/>
                </a:cxn>
                <a:cxn ang="0">
                  <a:pos x="153" y="97"/>
                </a:cxn>
                <a:cxn ang="0">
                  <a:pos x="188" y="97"/>
                </a:cxn>
                <a:cxn ang="0">
                  <a:pos x="193" y="102"/>
                </a:cxn>
                <a:cxn ang="0">
                  <a:pos x="216" y="102"/>
                </a:cxn>
                <a:cxn ang="0">
                  <a:pos x="215" y="98"/>
                </a:cxn>
                <a:cxn ang="0">
                  <a:pos x="209" y="87"/>
                </a:cxn>
                <a:cxn ang="0">
                  <a:pos x="208" y="69"/>
                </a:cxn>
                <a:cxn ang="0">
                  <a:pos x="201" y="46"/>
                </a:cxn>
                <a:cxn ang="0">
                  <a:pos x="181" y="19"/>
                </a:cxn>
                <a:cxn ang="0">
                  <a:pos x="160" y="12"/>
                </a:cxn>
                <a:cxn ang="0">
                  <a:pos x="138" y="18"/>
                </a:cxn>
                <a:cxn ang="0">
                  <a:pos x="128" y="12"/>
                </a:cxn>
                <a:cxn ang="0">
                  <a:pos x="115" y="19"/>
                </a:cxn>
                <a:cxn ang="0">
                  <a:pos x="101" y="7"/>
                </a:cxn>
                <a:cxn ang="0">
                  <a:pos x="82" y="7"/>
                </a:cxn>
                <a:cxn ang="0">
                  <a:pos x="77" y="0"/>
                </a:cxn>
                <a:cxn ang="0">
                  <a:pos x="77" y="1"/>
                </a:cxn>
                <a:cxn ang="0">
                  <a:pos x="51" y="8"/>
                </a:cxn>
                <a:cxn ang="0">
                  <a:pos x="47" y="25"/>
                </a:cxn>
                <a:cxn ang="0">
                  <a:pos x="41" y="29"/>
                </a:cxn>
                <a:cxn ang="0">
                  <a:pos x="41" y="40"/>
                </a:cxn>
                <a:cxn ang="0">
                  <a:pos x="32" y="46"/>
                </a:cxn>
                <a:cxn ang="0">
                  <a:pos x="28" y="57"/>
                </a:cxn>
                <a:cxn ang="0">
                  <a:pos x="21" y="69"/>
                </a:cxn>
                <a:cxn ang="0">
                  <a:pos x="6" y="74"/>
                </a:cxn>
                <a:cxn ang="0">
                  <a:pos x="2" y="94"/>
                </a:cxn>
                <a:cxn ang="0">
                  <a:pos x="2" y="94"/>
                </a:cxn>
                <a:cxn ang="0">
                  <a:pos x="10" y="97"/>
                </a:cxn>
                <a:cxn ang="0">
                  <a:pos x="16" y="104"/>
                </a:cxn>
              </a:cxnLst>
              <a:rect l="0" t="0" r="r" b="b"/>
              <a:pathLst>
                <a:path w="216" h="131">
                  <a:moveTo>
                    <a:pt x="16" y="104"/>
                  </a:moveTo>
                  <a:cubicBezTo>
                    <a:pt x="19" y="98"/>
                    <a:pt x="19" y="98"/>
                    <a:pt x="19" y="98"/>
                  </a:cubicBezTo>
                  <a:cubicBezTo>
                    <a:pt x="25" y="103"/>
                    <a:pt x="25" y="103"/>
                    <a:pt x="25" y="103"/>
                  </a:cubicBezTo>
                  <a:cubicBezTo>
                    <a:pt x="25" y="103"/>
                    <a:pt x="33" y="96"/>
                    <a:pt x="32" y="96"/>
                  </a:cubicBezTo>
                  <a:cubicBezTo>
                    <a:pt x="31" y="95"/>
                    <a:pt x="35" y="94"/>
                    <a:pt x="41" y="94"/>
                  </a:cubicBezTo>
                  <a:cubicBezTo>
                    <a:pt x="46" y="94"/>
                    <a:pt x="47" y="86"/>
                    <a:pt x="48" y="82"/>
                  </a:cubicBezTo>
                  <a:cubicBezTo>
                    <a:pt x="50" y="79"/>
                    <a:pt x="58" y="81"/>
                    <a:pt x="63" y="80"/>
                  </a:cubicBezTo>
                  <a:cubicBezTo>
                    <a:pt x="68" y="80"/>
                    <a:pt x="78" y="70"/>
                    <a:pt x="78" y="70"/>
                  </a:cubicBezTo>
                  <a:cubicBezTo>
                    <a:pt x="78" y="70"/>
                    <a:pt x="83" y="78"/>
                    <a:pt x="83" y="79"/>
                  </a:cubicBezTo>
                  <a:cubicBezTo>
                    <a:pt x="83" y="79"/>
                    <a:pt x="77" y="82"/>
                    <a:pt x="77" y="82"/>
                  </a:cubicBezTo>
                  <a:cubicBezTo>
                    <a:pt x="69" y="92"/>
                    <a:pt x="69" y="92"/>
                    <a:pt x="69" y="92"/>
                  </a:cubicBezTo>
                  <a:cubicBezTo>
                    <a:pt x="71" y="98"/>
                    <a:pt x="71" y="98"/>
                    <a:pt x="71" y="98"/>
                  </a:cubicBezTo>
                  <a:cubicBezTo>
                    <a:pt x="71" y="98"/>
                    <a:pt x="65" y="103"/>
                    <a:pt x="64" y="104"/>
                  </a:cubicBezTo>
                  <a:cubicBezTo>
                    <a:pt x="64" y="105"/>
                    <a:pt x="63" y="112"/>
                    <a:pt x="63" y="112"/>
                  </a:cubicBezTo>
                  <a:cubicBezTo>
                    <a:pt x="63" y="112"/>
                    <a:pt x="79" y="119"/>
                    <a:pt x="81" y="119"/>
                  </a:cubicBezTo>
                  <a:cubicBezTo>
                    <a:pt x="83" y="120"/>
                    <a:pt x="95" y="114"/>
                    <a:pt x="103" y="115"/>
                  </a:cubicBezTo>
                  <a:cubicBezTo>
                    <a:pt x="112" y="115"/>
                    <a:pt x="108" y="129"/>
                    <a:pt x="108" y="130"/>
                  </a:cubicBezTo>
                  <a:cubicBezTo>
                    <a:pt x="108" y="131"/>
                    <a:pt x="123" y="119"/>
                    <a:pt x="123" y="119"/>
                  </a:cubicBezTo>
                  <a:cubicBezTo>
                    <a:pt x="121" y="112"/>
                    <a:pt x="121" y="112"/>
                    <a:pt x="121" y="112"/>
                  </a:cubicBezTo>
                  <a:cubicBezTo>
                    <a:pt x="125" y="108"/>
                    <a:pt x="125" y="108"/>
                    <a:pt x="125" y="108"/>
                  </a:cubicBezTo>
                  <a:cubicBezTo>
                    <a:pt x="120" y="99"/>
                    <a:pt x="120" y="99"/>
                    <a:pt x="120" y="99"/>
                  </a:cubicBezTo>
                  <a:cubicBezTo>
                    <a:pt x="120" y="99"/>
                    <a:pt x="125" y="90"/>
                    <a:pt x="131" y="90"/>
                  </a:cubicBezTo>
                  <a:cubicBezTo>
                    <a:pt x="138" y="89"/>
                    <a:pt x="153" y="97"/>
                    <a:pt x="153" y="97"/>
                  </a:cubicBezTo>
                  <a:cubicBezTo>
                    <a:pt x="153" y="97"/>
                    <a:pt x="188" y="97"/>
                    <a:pt x="188" y="97"/>
                  </a:cubicBezTo>
                  <a:cubicBezTo>
                    <a:pt x="189" y="97"/>
                    <a:pt x="193" y="102"/>
                    <a:pt x="193" y="102"/>
                  </a:cubicBezTo>
                  <a:cubicBezTo>
                    <a:pt x="216" y="102"/>
                    <a:pt x="216" y="102"/>
                    <a:pt x="216" y="102"/>
                  </a:cubicBezTo>
                  <a:cubicBezTo>
                    <a:pt x="216" y="100"/>
                    <a:pt x="215" y="98"/>
                    <a:pt x="215" y="98"/>
                  </a:cubicBezTo>
                  <a:cubicBezTo>
                    <a:pt x="209" y="87"/>
                    <a:pt x="209" y="87"/>
                    <a:pt x="209" y="87"/>
                  </a:cubicBezTo>
                  <a:cubicBezTo>
                    <a:pt x="208" y="69"/>
                    <a:pt x="208" y="69"/>
                    <a:pt x="208" y="69"/>
                  </a:cubicBezTo>
                  <a:cubicBezTo>
                    <a:pt x="208" y="69"/>
                    <a:pt x="201" y="55"/>
                    <a:pt x="201" y="46"/>
                  </a:cubicBezTo>
                  <a:cubicBezTo>
                    <a:pt x="201" y="36"/>
                    <a:pt x="190" y="26"/>
                    <a:pt x="181" y="19"/>
                  </a:cubicBezTo>
                  <a:cubicBezTo>
                    <a:pt x="173" y="11"/>
                    <a:pt x="160" y="12"/>
                    <a:pt x="160" y="12"/>
                  </a:cubicBezTo>
                  <a:cubicBezTo>
                    <a:pt x="160" y="12"/>
                    <a:pt x="143" y="17"/>
                    <a:pt x="138" y="18"/>
                  </a:cubicBezTo>
                  <a:cubicBezTo>
                    <a:pt x="134" y="19"/>
                    <a:pt x="128" y="12"/>
                    <a:pt x="128" y="12"/>
                  </a:cubicBezTo>
                  <a:cubicBezTo>
                    <a:pt x="115" y="19"/>
                    <a:pt x="115" y="19"/>
                    <a:pt x="115" y="19"/>
                  </a:cubicBezTo>
                  <a:cubicBezTo>
                    <a:pt x="101" y="7"/>
                    <a:pt x="101" y="7"/>
                    <a:pt x="101" y="7"/>
                  </a:cubicBezTo>
                  <a:cubicBezTo>
                    <a:pt x="82" y="7"/>
                    <a:pt x="82" y="7"/>
                    <a:pt x="82" y="7"/>
                  </a:cubicBezTo>
                  <a:cubicBezTo>
                    <a:pt x="77" y="0"/>
                    <a:pt x="77" y="0"/>
                    <a:pt x="77" y="0"/>
                  </a:cubicBezTo>
                  <a:cubicBezTo>
                    <a:pt x="77" y="1"/>
                    <a:pt x="77" y="1"/>
                    <a:pt x="77" y="1"/>
                  </a:cubicBezTo>
                  <a:cubicBezTo>
                    <a:pt x="77" y="1"/>
                    <a:pt x="59" y="6"/>
                    <a:pt x="51" y="8"/>
                  </a:cubicBezTo>
                  <a:cubicBezTo>
                    <a:pt x="44" y="10"/>
                    <a:pt x="47" y="25"/>
                    <a:pt x="47" y="25"/>
                  </a:cubicBezTo>
                  <a:cubicBezTo>
                    <a:pt x="41" y="29"/>
                    <a:pt x="41" y="29"/>
                    <a:pt x="41" y="29"/>
                  </a:cubicBezTo>
                  <a:cubicBezTo>
                    <a:pt x="41" y="29"/>
                    <a:pt x="41" y="39"/>
                    <a:pt x="41" y="40"/>
                  </a:cubicBezTo>
                  <a:cubicBezTo>
                    <a:pt x="41" y="40"/>
                    <a:pt x="38" y="42"/>
                    <a:pt x="32" y="46"/>
                  </a:cubicBezTo>
                  <a:cubicBezTo>
                    <a:pt x="27" y="50"/>
                    <a:pt x="28" y="52"/>
                    <a:pt x="28" y="57"/>
                  </a:cubicBezTo>
                  <a:cubicBezTo>
                    <a:pt x="28" y="62"/>
                    <a:pt x="23" y="67"/>
                    <a:pt x="21" y="69"/>
                  </a:cubicBezTo>
                  <a:cubicBezTo>
                    <a:pt x="19" y="71"/>
                    <a:pt x="12" y="73"/>
                    <a:pt x="6" y="74"/>
                  </a:cubicBezTo>
                  <a:cubicBezTo>
                    <a:pt x="0" y="75"/>
                    <a:pt x="1" y="91"/>
                    <a:pt x="2" y="94"/>
                  </a:cubicBezTo>
                  <a:cubicBezTo>
                    <a:pt x="2" y="94"/>
                    <a:pt x="2" y="94"/>
                    <a:pt x="2" y="94"/>
                  </a:cubicBezTo>
                  <a:cubicBezTo>
                    <a:pt x="10" y="97"/>
                    <a:pt x="10" y="97"/>
                    <a:pt x="10" y="97"/>
                  </a:cubicBezTo>
                  <a:lnTo>
                    <a:pt x="16" y="104"/>
                  </a:lnTo>
                  <a:close/>
                </a:path>
              </a:pathLst>
            </a:custGeom>
            <a:solidFill>
              <a:srgbClr val="00B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4" name="Freeform 340">
              <a:extLst>
                <a:ext uri="{FF2B5EF4-FFF2-40B4-BE49-F238E27FC236}">
                  <a16:creationId xmlns:a16="http://schemas.microsoft.com/office/drawing/2014/main" id="{7158C56A-4675-4607-BD3A-74280A60E10F}"/>
                </a:ext>
              </a:extLst>
            </p:cNvPr>
            <p:cNvSpPr>
              <a:spLocks noChangeAspect="1"/>
            </p:cNvSpPr>
            <p:nvPr/>
          </p:nvSpPr>
          <p:spPr bwMode="auto">
            <a:xfrm>
              <a:off x="14352" y="1559"/>
              <a:ext cx="479" cy="283"/>
            </a:xfrm>
            <a:custGeom>
              <a:avLst/>
              <a:gdLst/>
              <a:ahLst/>
              <a:cxnLst>
                <a:cxn ang="0">
                  <a:pos x="34" y="111"/>
                </a:cxn>
                <a:cxn ang="0">
                  <a:pos x="48" y="109"/>
                </a:cxn>
                <a:cxn ang="0">
                  <a:pos x="71" y="92"/>
                </a:cxn>
                <a:cxn ang="0">
                  <a:pos x="93" y="75"/>
                </a:cxn>
                <a:cxn ang="0">
                  <a:pos x="97" y="97"/>
                </a:cxn>
                <a:cxn ang="0">
                  <a:pos x="93" y="110"/>
                </a:cxn>
                <a:cxn ang="0">
                  <a:pos x="100" y="120"/>
                </a:cxn>
                <a:cxn ang="0">
                  <a:pos x="112" y="140"/>
                </a:cxn>
                <a:cxn ang="0">
                  <a:pos x="131" y="130"/>
                </a:cxn>
                <a:cxn ang="0">
                  <a:pos x="142" y="115"/>
                </a:cxn>
                <a:cxn ang="0">
                  <a:pos x="176" y="107"/>
                </a:cxn>
                <a:cxn ang="0">
                  <a:pos x="202" y="98"/>
                </a:cxn>
                <a:cxn ang="0">
                  <a:pos x="219" y="84"/>
                </a:cxn>
                <a:cxn ang="0">
                  <a:pos x="237" y="62"/>
                </a:cxn>
                <a:cxn ang="0">
                  <a:pos x="209" y="32"/>
                </a:cxn>
                <a:cxn ang="0">
                  <a:pos x="169" y="27"/>
                </a:cxn>
                <a:cxn ang="0">
                  <a:pos x="136" y="29"/>
                </a:cxn>
                <a:cxn ang="0">
                  <a:pos x="137" y="42"/>
                </a:cxn>
                <a:cxn ang="0">
                  <a:pos x="124" y="60"/>
                </a:cxn>
                <a:cxn ang="0">
                  <a:pos x="97" y="49"/>
                </a:cxn>
                <a:cxn ang="0">
                  <a:pos x="80" y="34"/>
                </a:cxn>
                <a:cxn ang="0">
                  <a:pos x="85" y="22"/>
                </a:cxn>
                <a:cxn ang="0">
                  <a:pos x="99" y="9"/>
                </a:cxn>
                <a:cxn ang="0">
                  <a:pos x="79" y="10"/>
                </a:cxn>
                <a:cxn ang="0">
                  <a:pos x="57" y="24"/>
                </a:cxn>
                <a:cxn ang="0">
                  <a:pos x="41" y="33"/>
                </a:cxn>
                <a:cxn ang="0">
                  <a:pos x="32" y="34"/>
                </a:cxn>
                <a:cxn ang="0">
                  <a:pos x="18" y="24"/>
                </a:cxn>
                <a:cxn ang="0">
                  <a:pos x="10" y="50"/>
                </a:cxn>
                <a:cxn ang="0">
                  <a:pos x="7" y="66"/>
                </a:cxn>
                <a:cxn ang="0">
                  <a:pos x="10" y="88"/>
                </a:cxn>
                <a:cxn ang="0">
                  <a:pos x="16" y="108"/>
                </a:cxn>
              </a:cxnLst>
              <a:rect l="0" t="0" r="r" b="b"/>
              <a:pathLst>
                <a:path w="239" h="141">
                  <a:moveTo>
                    <a:pt x="27" y="100"/>
                  </a:moveTo>
                  <a:cubicBezTo>
                    <a:pt x="27" y="100"/>
                    <a:pt x="33" y="111"/>
                    <a:pt x="34" y="111"/>
                  </a:cubicBezTo>
                  <a:cubicBezTo>
                    <a:pt x="35" y="110"/>
                    <a:pt x="43" y="104"/>
                    <a:pt x="43" y="104"/>
                  </a:cubicBezTo>
                  <a:cubicBezTo>
                    <a:pt x="43" y="104"/>
                    <a:pt x="47" y="110"/>
                    <a:pt x="48" y="109"/>
                  </a:cubicBezTo>
                  <a:cubicBezTo>
                    <a:pt x="48" y="108"/>
                    <a:pt x="58" y="101"/>
                    <a:pt x="62" y="99"/>
                  </a:cubicBezTo>
                  <a:cubicBezTo>
                    <a:pt x="66" y="96"/>
                    <a:pt x="68" y="92"/>
                    <a:pt x="71" y="92"/>
                  </a:cubicBezTo>
                  <a:cubicBezTo>
                    <a:pt x="74" y="92"/>
                    <a:pt x="78" y="91"/>
                    <a:pt x="78" y="90"/>
                  </a:cubicBezTo>
                  <a:cubicBezTo>
                    <a:pt x="78" y="89"/>
                    <a:pt x="93" y="75"/>
                    <a:pt x="93" y="75"/>
                  </a:cubicBezTo>
                  <a:cubicBezTo>
                    <a:pt x="93" y="75"/>
                    <a:pt x="113" y="85"/>
                    <a:pt x="110" y="89"/>
                  </a:cubicBezTo>
                  <a:cubicBezTo>
                    <a:pt x="108" y="93"/>
                    <a:pt x="97" y="97"/>
                    <a:pt x="97" y="97"/>
                  </a:cubicBezTo>
                  <a:cubicBezTo>
                    <a:pt x="100" y="106"/>
                    <a:pt x="100" y="106"/>
                    <a:pt x="100" y="106"/>
                  </a:cubicBezTo>
                  <a:cubicBezTo>
                    <a:pt x="93" y="110"/>
                    <a:pt x="93" y="110"/>
                    <a:pt x="93" y="110"/>
                  </a:cubicBezTo>
                  <a:cubicBezTo>
                    <a:pt x="90" y="120"/>
                    <a:pt x="90" y="120"/>
                    <a:pt x="90" y="120"/>
                  </a:cubicBezTo>
                  <a:cubicBezTo>
                    <a:pt x="100" y="120"/>
                    <a:pt x="100" y="120"/>
                    <a:pt x="100" y="120"/>
                  </a:cubicBezTo>
                  <a:cubicBezTo>
                    <a:pt x="99" y="133"/>
                    <a:pt x="99" y="133"/>
                    <a:pt x="99" y="133"/>
                  </a:cubicBezTo>
                  <a:cubicBezTo>
                    <a:pt x="99" y="133"/>
                    <a:pt x="112" y="141"/>
                    <a:pt x="112" y="140"/>
                  </a:cubicBezTo>
                  <a:cubicBezTo>
                    <a:pt x="112" y="139"/>
                    <a:pt x="123" y="130"/>
                    <a:pt x="123" y="130"/>
                  </a:cubicBezTo>
                  <a:cubicBezTo>
                    <a:pt x="131" y="130"/>
                    <a:pt x="131" y="130"/>
                    <a:pt x="131" y="130"/>
                  </a:cubicBezTo>
                  <a:cubicBezTo>
                    <a:pt x="130" y="117"/>
                    <a:pt x="130" y="117"/>
                    <a:pt x="130" y="117"/>
                  </a:cubicBezTo>
                  <a:cubicBezTo>
                    <a:pt x="142" y="115"/>
                    <a:pt x="142" y="115"/>
                    <a:pt x="142" y="115"/>
                  </a:cubicBezTo>
                  <a:cubicBezTo>
                    <a:pt x="142" y="115"/>
                    <a:pt x="144" y="109"/>
                    <a:pt x="145" y="109"/>
                  </a:cubicBezTo>
                  <a:cubicBezTo>
                    <a:pt x="145" y="109"/>
                    <a:pt x="176" y="107"/>
                    <a:pt x="176" y="107"/>
                  </a:cubicBezTo>
                  <a:cubicBezTo>
                    <a:pt x="176" y="107"/>
                    <a:pt x="179" y="101"/>
                    <a:pt x="190" y="100"/>
                  </a:cubicBezTo>
                  <a:cubicBezTo>
                    <a:pt x="200" y="99"/>
                    <a:pt x="202" y="98"/>
                    <a:pt x="202" y="98"/>
                  </a:cubicBezTo>
                  <a:cubicBezTo>
                    <a:pt x="202" y="98"/>
                    <a:pt x="201" y="88"/>
                    <a:pt x="202" y="88"/>
                  </a:cubicBezTo>
                  <a:cubicBezTo>
                    <a:pt x="202" y="87"/>
                    <a:pt x="219" y="84"/>
                    <a:pt x="219" y="84"/>
                  </a:cubicBezTo>
                  <a:cubicBezTo>
                    <a:pt x="239" y="102"/>
                    <a:pt x="239" y="102"/>
                    <a:pt x="239" y="102"/>
                  </a:cubicBezTo>
                  <a:cubicBezTo>
                    <a:pt x="239" y="86"/>
                    <a:pt x="238" y="65"/>
                    <a:pt x="237" y="62"/>
                  </a:cubicBezTo>
                  <a:cubicBezTo>
                    <a:pt x="237" y="59"/>
                    <a:pt x="234" y="41"/>
                    <a:pt x="232" y="32"/>
                  </a:cubicBezTo>
                  <a:cubicBezTo>
                    <a:pt x="209" y="32"/>
                    <a:pt x="209" y="32"/>
                    <a:pt x="209" y="32"/>
                  </a:cubicBezTo>
                  <a:cubicBezTo>
                    <a:pt x="209" y="32"/>
                    <a:pt x="205" y="27"/>
                    <a:pt x="204" y="27"/>
                  </a:cubicBezTo>
                  <a:cubicBezTo>
                    <a:pt x="204" y="27"/>
                    <a:pt x="169" y="27"/>
                    <a:pt x="169" y="27"/>
                  </a:cubicBezTo>
                  <a:cubicBezTo>
                    <a:pt x="169" y="27"/>
                    <a:pt x="154" y="19"/>
                    <a:pt x="147" y="20"/>
                  </a:cubicBezTo>
                  <a:cubicBezTo>
                    <a:pt x="141" y="20"/>
                    <a:pt x="136" y="29"/>
                    <a:pt x="136" y="29"/>
                  </a:cubicBezTo>
                  <a:cubicBezTo>
                    <a:pt x="141" y="38"/>
                    <a:pt x="141" y="38"/>
                    <a:pt x="141" y="38"/>
                  </a:cubicBezTo>
                  <a:cubicBezTo>
                    <a:pt x="137" y="42"/>
                    <a:pt x="137" y="42"/>
                    <a:pt x="137" y="42"/>
                  </a:cubicBezTo>
                  <a:cubicBezTo>
                    <a:pt x="139" y="49"/>
                    <a:pt x="139" y="49"/>
                    <a:pt x="139" y="49"/>
                  </a:cubicBezTo>
                  <a:cubicBezTo>
                    <a:pt x="139" y="49"/>
                    <a:pt x="124" y="61"/>
                    <a:pt x="124" y="60"/>
                  </a:cubicBezTo>
                  <a:cubicBezTo>
                    <a:pt x="124" y="59"/>
                    <a:pt x="128" y="45"/>
                    <a:pt x="119" y="45"/>
                  </a:cubicBezTo>
                  <a:cubicBezTo>
                    <a:pt x="111" y="44"/>
                    <a:pt x="99" y="50"/>
                    <a:pt x="97" y="49"/>
                  </a:cubicBezTo>
                  <a:cubicBezTo>
                    <a:pt x="95" y="49"/>
                    <a:pt x="79" y="42"/>
                    <a:pt x="79" y="42"/>
                  </a:cubicBezTo>
                  <a:cubicBezTo>
                    <a:pt x="79" y="42"/>
                    <a:pt x="80" y="35"/>
                    <a:pt x="80" y="34"/>
                  </a:cubicBezTo>
                  <a:cubicBezTo>
                    <a:pt x="81" y="33"/>
                    <a:pt x="87" y="28"/>
                    <a:pt x="87" y="28"/>
                  </a:cubicBezTo>
                  <a:cubicBezTo>
                    <a:pt x="85" y="22"/>
                    <a:pt x="85" y="22"/>
                    <a:pt x="85" y="22"/>
                  </a:cubicBezTo>
                  <a:cubicBezTo>
                    <a:pt x="93" y="12"/>
                    <a:pt x="93" y="12"/>
                    <a:pt x="93" y="12"/>
                  </a:cubicBezTo>
                  <a:cubicBezTo>
                    <a:pt x="93" y="12"/>
                    <a:pt x="99" y="9"/>
                    <a:pt x="99" y="9"/>
                  </a:cubicBezTo>
                  <a:cubicBezTo>
                    <a:pt x="99" y="8"/>
                    <a:pt x="94" y="0"/>
                    <a:pt x="94" y="0"/>
                  </a:cubicBezTo>
                  <a:cubicBezTo>
                    <a:pt x="94" y="0"/>
                    <a:pt x="84" y="10"/>
                    <a:pt x="79" y="10"/>
                  </a:cubicBezTo>
                  <a:cubicBezTo>
                    <a:pt x="74" y="11"/>
                    <a:pt x="66" y="9"/>
                    <a:pt x="64" y="12"/>
                  </a:cubicBezTo>
                  <a:cubicBezTo>
                    <a:pt x="63" y="16"/>
                    <a:pt x="62" y="24"/>
                    <a:pt x="57" y="24"/>
                  </a:cubicBezTo>
                  <a:cubicBezTo>
                    <a:pt x="51" y="24"/>
                    <a:pt x="47" y="25"/>
                    <a:pt x="48" y="26"/>
                  </a:cubicBezTo>
                  <a:cubicBezTo>
                    <a:pt x="49" y="26"/>
                    <a:pt x="41" y="33"/>
                    <a:pt x="41" y="33"/>
                  </a:cubicBezTo>
                  <a:cubicBezTo>
                    <a:pt x="35" y="28"/>
                    <a:pt x="35" y="28"/>
                    <a:pt x="35" y="28"/>
                  </a:cubicBezTo>
                  <a:cubicBezTo>
                    <a:pt x="32" y="34"/>
                    <a:pt x="32" y="34"/>
                    <a:pt x="32" y="34"/>
                  </a:cubicBezTo>
                  <a:cubicBezTo>
                    <a:pt x="26" y="27"/>
                    <a:pt x="26" y="27"/>
                    <a:pt x="26" y="27"/>
                  </a:cubicBezTo>
                  <a:cubicBezTo>
                    <a:pt x="18" y="24"/>
                    <a:pt x="18" y="24"/>
                    <a:pt x="18" y="24"/>
                  </a:cubicBezTo>
                  <a:cubicBezTo>
                    <a:pt x="17" y="27"/>
                    <a:pt x="10" y="34"/>
                    <a:pt x="10" y="34"/>
                  </a:cubicBezTo>
                  <a:cubicBezTo>
                    <a:pt x="10" y="34"/>
                    <a:pt x="10" y="49"/>
                    <a:pt x="10" y="50"/>
                  </a:cubicBezTo>
                  <a:cubicBezTo>
                    <a:pt x="10" y="51"/>
                    <a:pt x="0" y="58"/>
                    <a:pt x="0" y="58"/>
                  </a:cubicBezTo>
                  <a:cubicBezTo>
                    <a:pt x="0" y="59"/>
                    <a:pt x="7" y="65"/>
                    <a:pt x="7" y="66"/>
                  </a:cubicBezTo>
                  <a:cubicBezTo>
                    <a:pt x="8" y="67"/>
                    <a:pt x="13" y="73"/>
                    <a:pt x="15" y="79"/>
                  </a:cubicBezTo>
                  <a:cubicBezTo>
                    <a:pt x="18" y="85"/>
                    <a:pt x="12" y="86"/>
                    <a:pt x="10" y="88"/>
                  </a:cubicBezTo>
                  <a:cubicBezTo>
                    <a:pt x="9" y="90"/>
                    <a:pt x="5" y="96"/>
                    <a:pt x="4" y="97"/>
                  </a:cubicBezTo>
                  <a:cubicBezTo>
                    <a:pt x="16" y="108"/>
                    <a:pt x="16" y="108"/>
                    <a:pt x="16" y="108"/>
                  </a:cubicBezTo>
                  <a:lnTo>
                    <a:pt x="27" y="100"/>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5" name="Freeform 341">
              <a:extLst>
                <a:ext uri="{FF2B5EF4-FFF2-40B4-BE49-F238E27FC236}">
                  <a16:creationId xmlns:a16="http://schemas.microsoft.com/office/drawing/2014/main" id="{FD3972DE-7292-4A4A-9032-57D38B24B1D5}"/>
                </a:ext>
              </a:extLst>
            </p:cNvPr>
            <p:cNvSpPr>
              <a:spLocks noChangeAspect="1"/>
            </p:cNvSpPr>
            <p:nvPr/>
          </p:nvSpPr>
          <p:spPr bwMode="auto">
            <a:xfrm>
              <a:off x="14062" y="1709"/>
              <a:ext cx="773" cy="280"/>
            </a:xfrm>
            <a:custGeom>
              <a:avLst/>
              <a:gdLst>
                <a:gd name="T0" fmla="*/ 773 w 386"/>
                <a:gd name="T1" fmla="*/ 86 h 140"/>
                <a:gd name="T2" fmla="*/ 731 w 386"/>
                <a:gd name="T3" fmla="*/ 18 h 140"/>
                <a:gd name="T4" fmla="*/ 697 w 386"/>
                <a:gd name="T5" fmla="*/ 46 h 140"/>
                <a:gd name="T6" fmla="*/ 645 w 386"/>
                <a:gd name="T7" fmla="*/ 64 h 140"/>
                <a:gd name="T8" fmla="*/ 577 w 386"/>
                <a:gd name="T9" fmla="*/ 80 h 140"/>
                <a:gd name="T10" fmla="*/ 555 w 386"/>
                <a:gd name="T11" fmla="*/ 110 h 140"/>
                <a:gd name="T12" fmla="*/ 517 w 386"/>
                <a:gd name="T13" fmla="*/ 130 h 140"/>
                <a:gd name="T14" fmla="*/ 493 w 386"/>
                <a:gd name="T15" fmla="*/ 90 h 140"/>
                <a:gd name="T16" fmla="*/ 479 w 386"/>
                <a:gd name="T17" fmla="*/ 70 h 140"/>
                <a:gd name="T18" fmla="*/ 487 w 386"/>
                <a:gd name="T19" fmla="*/ 44 h 140"/>
                <a:gd name="T20" fmla="*/ 479 w 386"/>
                <a:gd name="T21" fmla="*/ 0 h 140"/>
                <a:gd name="T22" fmla="*/ 435 w 386"/>
                <a:gd name="T23" fmla="*/ 34 h 140"/>
                <a:gd name="T24" fmla="*/ 389 w 386"/>
                <a:gd name="T25" fmla="*/ 68 h 140"/>
                <a:gd name="T26" fmla="*/ 360 w 386"/>
                <a:gd name="T27" fmla="*/ 72 h 140"/>
                <a:gd name="T28" fmla="*/ 324 w 386"/>
                <a:gd name="T29" fmla="*/ 66 h 140"/>
                <a:gd name="T30" fmla="*/ 300 w 386"/>
                <a:gd name="T31" fmla="*/ 46 h 140"/>
                <a:gd name="T32" fmla="*/ 274 w 386"/>
                <a:gd name="T33" fmla="*/ 74 h 140"/>
                <a:gd name="T34" fmla="*/ 236 w 386"/>
                <a:gd name="T35" fmla="*/ 56 h 140"/>
                <a:gd name="T36" fmla="*/ 204 w 386"/>
                <a:gd name="T37" fmla="*/ 28 h 140"/>
                <a:gd name="T38" fmla="*/ 130 w 386"/>
                <a:gd name="T39" fmla="*/ 26 h 140"/>
                <a:gd name="T40" fmla="*/ 86 w 386"/>
                <a:gd name="T41" fmla="*/ 12 h 140"/>
                <a:gd name="T42" fmla="*/ 62 w 386"/>
                <a:gd name="T43" fmla="*/ 28 h 140"/>
                <a:gd name="T44" fmla="*/ 60 w 386"/>
                <a:gd name="T45" fmla="*/ 88 h 140"/>
                <a:gd name="T46" fmla="*/ 0 w 386"/>
                <a:gd name="T47" fmla="*/ 210 h 140"/>
                <a:gd name="T48" fmla="*/ 70 w 386"/>
                <a:gd name="T49" fmla="*/ 274 h 140"/>
                <a:gd name="T50" fmla="*/ 120 w 386"/>
                <a:gd name="T51" fmla="*/ 222 h 140"/>
                <a:gd name="T52" fmla="*/ 164 w 386"/>
                <a:gd name="T53" fmla="*/ 208 h 140"/>
                <a:gd name="T54" fmla="*/ 182 w 386"/>
                <a:gd name="T55" fmla="*/ 188 h 140"/>
                <a:gd name="T56" fmla="*/ 224 w 386"/>
                <a:gd name="T57" fmla="*/ 154 h 140"/>
                <a:gd name="T58" fmla="*/ 308 w 386"/>
                <a:gd name="T59" fmla="*/ 208 h 140"/>
                <a:gd name="T60" fmla="*/ 334 w 386"/>
                <a:gd name="T61" fmla="*/ 220 h 140"/>
                <a:gd name="T62" fmla="*/ 356 w 386"/>
                <a:gd name="T63" fmla="*/ 222 h 140"/>
                <a:gd name="T64" fmla="*/ 366 w 386"/>
                <a:gd name="T65" fmla="*/ 254 h 140"/>
                <a:gd name="T66" fmla="*/ 415 w 386"/>
                <a:gd name="T67" fmla="*/ 196 h 140"/>
                <a:gd name="T68" fmla="*/ 453 w 386"/>
                <a:gd name="T69" fmla="*/ 210 h 140"/>
                <a:gd name="T70" fmla="*/ 479 w 386"/>
                <a:gd name="T71" fmla="*/ 242 h 140"/>
                <a:gd name="T72" fmla="*/ 517 w 386"/>
                <a:gd name="T73" fmla="*/ 260 h 140"/>
                <a:gd name="T74" fmla="*/ 567 w 386"/>
                <a:gd name="T75" fmla="*/ 250 h 140"/>
                <a:gd name="T76" fmla="*/ 605 w 386"/>
                <a:gd name="T77" fmla="*/ 234 h 140"/>
                <a:gd name="T78" fmla="*/ 649 w 386"/>
                <a:gd name="T79" fmla="*/ 192 h 140"/>
                <a:gd name="T80" fmla="*/ 685 w 386"/>
                <a:gd name="T81" fmla="*/ 194 h 140"/>
                <a:gd name="T82" fmla="*/ 755 w 386"/>
                <a:gd name="T83" fmla="*/ 15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6"/>
                <a:gd name="T127" fmla="*/ 0 h 140"/>
                <a:gd name="T128" fmla="*/ 386 w 38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6" h="140">
                  <a:moveTo>
                    <a:pt x="375" y="65"/>
                  </a:moveTo>
                  <a:cubicBezTo>
                    <a:pt x="386" y="43"/>
                    <a:pt x="386" y="43"/>
                    <a:pt x="386" y="43"/>
                  </a:cubicBezTo>
                  <a:cubicBezTo>
                    <a:pt x="386" y="43"/>
                    <a:pt x="386" y="36"/>
                    <a:pt x="385" y="27"/>
                  </a:cubicBezTo>
                  <a:cubicBezTo>
                    <a:pt x="365" y="9"/>
                    <a:pt x="365" y="9"/>
                    <a:pt x="365" y="9"/>
                  </a:cubicBezTo>
                  <a:cubicBezTo>
                    <a:pt x="365" y="9"/>
                    <a:pt x="348" y="12"/>
                    <a:pt x="348" y="13"/>
                  </a:cubicBezTo>
                  <a:cubicBezTo>
                    <a:pt x="347" y="13"/>
                    <a:pt x="348" y="23"/>
                    <a:pt x="348" y="23"/>
                  </a:cubicBezTo>
                  <a:cubicBezTo>
                    <a:pt x="348" y="23"/>
                    <a:pt x="346" y="24"/>
                    <a:pt x="336" y="25"/>
                  </a:cubicBezTo>
                  <a:cubicBezTo>
                    <a:pt x="325" y="26"/>
                    <a:pt x="322" y="32"/>
                    <a:pt x="322" y="32"/>
                  </a:cubicBezTo>
                  <a:cubicBezTo>
                    <a:pt x="322" y="32"/>
                    <a:pt x="291" y="34"/>
                    <a:pt x="291" y="34"/>
                  </a:cubicBezTo>
                  <a:cubicBezTo>
                    <a:pt x="290" y="34"/>
                    <a:pt x="288" y="40"/>
                    <a:pt x="288" y="40"/>
                  </a:cubicBezTo>
                  <a:cubicBezTo>
                    <a:pt x="276" y="42"/>
                    <a:pt x="276" y="42"/>
                    <a:pt x="276" y="42"/>
                  </a:cubicBezTo>
                  <a:cubicBezTo>
                    <a:pt x="277" y="55"/>
                    <a:pt x="277" y="55"/>
                    <a:pt x="277" y="55"/>
                  </a:cubicBezTo>
                  <a:cubicBezTo>
                    <a:pt x="269" y="55"/>
                    <a:pt x="269" y="55"/>
                    <a:pt x="269" y="55"/>
                  </a:cubicBezTo>
                  <a:cubicBezTo>
                    <a:pt x="269" y="55"/>
                    <a:pt x="258" y="64"/>
                    <a:pt x="258" y="65"/>
                  </a:cubicBezTo>
                  <a:cubicBezTo>
                    <a:pt x="258" y="66"/>
                    <a:pt x="245" y="58"/>
                    <a:pt x="245" y="58"/>
                  </a:cubicBezTo>
                  <a:cubicBezTo>
                    <a:pt x="246" y="45"/>
                    <a:pt x="246" y="45"/>
                    <a:pt x="246" y="45"/>
                  </a:cubicBezTo>
                  <a:cubicBezTo>
                    <a:pt x="236" y="45"/>
                    <a:pt x="236" y="45"/>
                    <a:pt x="236" y="45"/>
                  </a:cubicBezTo>
                  <a:cubicBezTo>
                    <a:pt x="239" y="35"/>
                    <a:pt x="239" y="35"/>
                    <a:pt x="239" y="35"/>
                  </a:cubicBezTo>
                  <a:cubicBezTo>
                    <a:pt x="246" y="31"/>
                    <a:pt x="246" y="31"/>
                    <a:pt x="246" y="31"/>
                  </a:cubicBezTo>
                  <a:cubicBezTo>
                    <a:pt x="243" y="22"/>
                    <a:pt x="243" y="22"/>
                    <a:pt x="243" y="22"/>
                  </a:cubicBezTo>
                  <a:cubicBezTo>
                    <a:pt x="243" y="22"/>
                    <a:pt x="254" y="18"/>
                    <a:pt x="256" y="14"/>
                  </a:cubicBezTo>
                  <a:cubicBezTo>
                    <a:pt x="259" y="10"/>
                    <a:pt x="239" y="0"/>
                    <a:pt x="239" y="0"/>
                  </a:cubicBezTo>
                  <a:cubicBezTo>
                    <a:pt x="239" y="0"/>
                    <a:pt x="224" y="14"/>
                    <a:pt x="224" y="15"/>
                  </a:cubicBezTo>
                  <a:cubicBezTo>
                    <a:pt x="224" y="16"/>
                    <a:pt x="220" y="17"/>
                    <a:pt x="217" y="17"/>
                  </a:cubicBezTo>
                  <a:cubicBezTo>
                    <a:pt x="214" y="17"/>
                    <a:pt x="212" y="21"/>
                    <a:pt x="208" y="24"/>
                  </a:cubicBezTo>
                  <a:cubicBezTo>
                    <a:pt x="204" y="26"/>
                    <a:pt x="194" y="33"/>
                    <a:pt x="194" y="34"/>
                  </a:cubicBezTo>
                  <a:cubicBezTo>
                    <a:pt x="193" y="35"/>
                    <a:pt x="189" y="29"/>
                    <a:pt x="189" y="29"/>
                  </a:cubicBezTo>
                  <a:cubicBezTo>
                    <a:pt x="189" y="29"/>
                    <a:pt x="181" y="35"/>
                    <a:pt x="180" y="36"/>
                  </a:cubicBezTo>
                  <a:cubicBezTo>
                    <a:pt x="179" y="36"/>
                    <a:pt x="173" y="25"/>
                    <a:pt x="173" y="25"/>
                  </a:cubicBezTo>
                  <a:cubicBezTo>
                    <a:pt x="162" y="33"/>
                    <a:pt x="162" y="33"/>
                    <a:pt x="162" y="33"/>
                  </a:cubicBezTo>
                  <a:cubicBezTo>
                    <a:pt x="150" y="22"/>
                    <a:pt x="150" y="22"/>
                    <a:pt x="150" y="22"/>
                  </a:cubicBezTo>
                  <a:cubicBezTo>
                    <a:pt x="150" y="23"/>
                    <a:pt x="150" y="23"/>
                    <a:pt x="150" y="23"/>
                  </a:cubicBezTo>
                  <a:cubicBezTo>
                    <a:pt x="150" y="23"/>
                    <a:pt x="148" y="24"/>
                    <a:pt x="143" y="25"/>
                  </a:cubicBezTo>
                  <a:cubicBezTo>
                    <a:pt x="137" y="26"/>
                    <a:pt x="137" y="37"/>
                    <a:pt x="137" y="37"/>
                  </a:cubicBezTo>
                  <a:cubicBezTo>
                    <a:pt x="121" y="25"/>
                    <a:pt x="121" y="25"/>
                    <a:pt x="121" y="25"/>
                  </a:cubicBezTo>
                  <a:cubicBezTo>
                    <a:pt x="118" y="28"/>
                    <a:pt x="118" y="28"/>
                    <a:pt x="118" y="28"/>
                  </a:cubicBezTo>
                  <a:cubicBezTo>
                    <a:pt x="118" y="28"/>
                    <a:pt x="116" y="26"/>
                    <a:pt x="114" y="18"/>
                  </a:cubicBezTo>
                  <a:cubicBezTo>
                    <a:pt x="112" y="10"/>
                    <a:pt x="102" y="14"/>
                    <a:pt x="102" y="14"/>
                  </a:cubicBezTo>
                  <a:cubicBezTo>
                    <a:pt x="102" y="14"/>
                    <a:pt x="98" y="4"/>
                    <a:pt x="87" y="3"/>
                  </a:cubicBezTo>
                  <a:cubicBezTo>
                    <a:pt x="75" y="3"/>
                    <a:pt x="65" y="13"/>
                    <a:pt x="65" y="13"/>
                  </a:cubicBezTo>
                  <a:cubicBezTo>
                    <a:pt x="59" y="10"/>
                    <a:pt x="59" y="10"/>
                    <a:pt x="59" y="10"/>
                  </a:cubicBezTo>
                  <a:cubicBezTo>
                    <a:pt x="43" y="6"/>
                    <a:pt x="43" y="6"/>
                    <a:pt x="43" y="6"/>
                  </a:cubicBezTo>
                  <a:cubicBezTo>
                    <a:pt x="44" y="7"/>
                    <a:pt x="44" y="7"/>
                    <a:pt x="44" y="7"/>
                  </a:cubicBezTo>
                  <a:cubicBezTo>
                    <a:pt x="44" y="7"/>
                    <a:pt x="31" y="14"/>
                    <a:pt x="31" y="14"/>
                  </a:cubicBezTo>
                  <a:cubicBezTo>
                    <a:pt x="31" y="15"/>
                    <a:pt x="33" y="20"/>
                    <a:pt x="35" y="24"/>
                  </a:cubicBezTo>
                  <a:cubicBezTo>
                    <a:pt x="36" y="28"/>
                    <a:pt x="30" y="34"/>
                    <a:pt x="30" y="44"/>
                  </a:cubicBezTo>
                  <a:cubicBezTo>
                    <a:pt x="30" y="54"/>
                    <a:pt x="22" y="91"/>
                    <a:pt x="22" y="91"/>
                  </a:cubicBezTo>
                  <a:cubicBezTo>
                    <a:pt x="22" y="91"/>
                    <a:pt x="10" y="98"/>
                    <a:pt x="0" y="105"/>
                  </a:cubicBezTo>
                  <a:cubicBezTo>
                    <a:pt x="9" y="106"/>
                    <a:pt x="18" y="108"/>
                    <a:pt x="20" y="115"/>
                  </a:cubicBezTo>
                  <a:cubicBezTo>
                    <a:pt x="24" y="126"/>
                    <a:pt x="28" y="140"/>
                    <a:pt x="35" y="137"/>
                  </a:cubicBezTo>
                  <a:cubicBezTo>
                    <a:pt x="41" y="135"/>
                    <a:pt x="55" y="123"/>
                    <a:pt x="56" y="118"/>
                  </a:cubicBezTo>
                  <a:cubicBezTo>
                    <a:pt x="58" y="114"/>
                    <a:pt x="60" y="111"/>
                    <a:pt x="60" y="111"/>
                  </a:cubicBezTo>
                  <a:cubicBezTo>
                    <a:pt x="60" y="111"/>
                    <a:pt x="60" y="114"/>
                    <a:pt x="68" y="111"/>
                  </a:cubicBezTo>
                  <a:cubicBezTo>
                    <a:pt x="75" y="109"/>
                    <a:pt x="82" y="105"/>
                    <a:pt x="82" y="104"/>
                  </a:cubicBezTo>
                  <a:cubicBezTo>
                    <a:pt x="82" y="103"/>
                    <a:pt x="81" y="96"/>
                    <a:pt x="81" y="96"/>
                  </a:cubicBezTo>
                  <a:cubicBezTo>
                    <a:pt x="91" y="94"/>
                    <a:pt x="91" y="94"/>
                    <a:pt x="91" y="94"/>
                  </a:cubicBezTo>
                  <a:cubicBezTo>
                    <a:pt x="91" y="94"/>
                    <a:pt x="92" y="86"/>
                    <a:pt x="92" y="85"/>
                  </a:cubicBezTo>
                  <a:cubicBezTo>
                    <a:pt x="92" y="85"/>
                    <a:pt x="112" y="77"/>
                    <a:pt x="112" y="77"/>
                  </a:cubicBezTo>
                  <a:cubicBezTo>
                    <a:pt x="112" y="77"/>
                    <a:pt x="122" y="87"/>
                    <a:pt x="127" y="89"/>
                  </a:cubicBezTo>
                  <a:cubicBezTo>
                    <a:pt x="133" y="91"/>
                    <a:pt x="154" y="104"/>
                    <a:pt x="154" y="104"/>
                  </a:cubicBezTo>
                  <a:cubicBezTo>
                    <a:pt x="154" y="104"/>
                    <a:pt x="165" y="94"/>
                    <a:pt x="165" y="96"/>
                  </a:cubicBezTo>
                  <a:cubicBezTo>
                    <a:pt x="165" y="97"/>
                    <a:pt x="167" y="110"/>
                    <a:pt x="167" y="110"/>
                  </a:cubicBezTo>
                  <a:cubicBezTo>
                    <a:pt x="176" y="107"/>
                    <a:pt x="176" y="107"/>
                    <a:pt x="176" y="107"/>
                  </a:cubicBezTo>
                  <a:cubicBezTo>
                    <a:pt x="178" y="111"/>
                    <a:pt x="178" y="111"/>
                    <a:pt x="178" y="111"/>
                  </a:cubicBezTo>
                  <a:cubicBezTo>
                    <a:pt x="175" y="117"/>
                    <a:pt x="175" y="117"/>
                    <a:pt x="175" y="117"/>
                  </a:cubicBezTo>
                  <a:cubicBezTo>
                    <a:pt x="183" y="127"/>
                    <a:pt x="183" y="127"/>
                    <a:pt x="183" y="127"/>
                  </a:cubicBezTo>
                  <a:cubicBezTo>
                    <a:pt x="183" y="127"/>
                    <a:pt x="188" y="120"/>
                    <a:pt x="194" y="116"/>
                  </a:cubicBezTo>
                  <a:cubicBezTo>
                    <a:pt x="200" y="112"/>
                    <a:pt x="207" y="98"/>
                    <a:pt x="207" y="98"/>
                  </a:cubicBezTo>
                  <a:cubicBezTo>
                    <a:pt x="207" y="98"/>
                    <a:pt x="214" y="107"/>
                    <a:pt x="215" y="107"/>
                  </a:cubicBezTo>
                  <a:cubicBezTo>
                    <a:pt x="216" y="107"/>
                    <a:pt x="226" y="105"/>
                    <a:pt x="226" y="105"/>
                  </a:cubicBezTo>
                  <a:cubicBezTo>
                    <a:pt x="235" y="114"/>
                    <a:pt x="235" y="114"/>
                    <a:pt x="235" y="114"/>
                  </a:cubicBezTo>
                  <a:cubicBezTo>
                    <a:pt x="239" y="121"/>
                    <a:pt x="239" y="121"/>
                    <a:pt x="239" y="121"/>
                  </a:cubicBezTo>
                  <a:cubicBezTo>
                    <a:pt x="249" y="123"/>
                    <a:pt x="249" y="123"/>
                    <a:pt x="249" y="123"/>
                  </a:cubicBezTo>
                  <a:cubicBezTo>
                    <a:pt x="258" y="130"/>
                    <a:pt x="258" y="130"/>
                    <a:pt x="258" y="130"/>
                  </a:cubicBezTo>
                  <a:cubicBezTo>
                    <a:pt x="263" y="122"/>
                    <a:pt x="263" y="122"/>
                    <a:pt x="263" y="122"/>
                  </a:cubicBezTo>
                  <a:cubicBezTo>
                    <a:pt x="263" y="122"/>
                    <a:pt x="277" y="127"/>
                    <a:pt x="283" y="125"/>
                  </a:cubicBezTo>
                  <a:cubicBezTo>
                    <a:pt x="289" y="122"/>
                    <a:pt x="291" y="117"/>
                    <a:pt x="291" y="117"/>
                  </a:cubicBezTo>
                  <a:cubicBezTo>
                    <a:pt x="302" y="117"/>
                    <a:pt x="302" y="117"/>
                    <a:pt x="302" y="117"/>
                  </a:cubicBezTo>
                  <a:cubicBezTo>
                    <a:pt x="302" y="117"/>
                    <a:pt x="306" y="103"/>
                    <a:pt x="311" y="101"/>
                  </a:cubicBezTo>
                  <a:cubicBezTo>
                    <a:pt x="316" y="100"/>
                    <a:pt x="323" y="96"/>
                    <a:pt x="324" y="96"/>
                  </a:cubicBezTo>
                  <a:cubicBezTo>
                    <a:pt x="324" y="96"/>
                    <a:pt x="334" y="101"/>
                    <a:pt x="334" y="101"/>
                  </a:cubicBezTo>
                  <a:cubicBezTo>
                    <a:pt x="342" y="97"/>
                    <a:pt x="342" y="97"/>
                    <a:pt x="342" y="97"/>
                  </a:cubicBezTo>
                  <a:cubicBezTo>
                    <a:pt x="370" y="97"/>
                    <a:pt x="370" y="97"/>
                    <a:pt x="370" y="97"/>
                  </a:cubicBezTo>
                  <a:cubicBezTo>
                    <a:pt x="377" y="86"/>
                    <a:pt x="377" y="76"/>
                    <a:pt x="377" y="76"/>
                  </a:cubicBezTo>
                  <a:lnTo>
                    <a:pt x="375" y="6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6" name="Freeform 342">
              <a:extLst>
                <a:ext uri="{FF2B5EF4-FFF2-40B4-BE49-F238E27FC236}">
                  <a16:creationId xmlns:a16="http://schemas.microsoft.com/office/drawing/2014/main" id="{456D5C56-5FC9-4530-80D0-AC4948550C69}"/>
                </a:ext>
              </a:extLst>
            </p:cNvPr>
            <p:cNvSpPr>
              <a:spLocks noChangeAspect="1"/>
            </p:cNvSpPr>
            <p:nvPr/>
          </p:nvSpPr>
          <p:spPr bwMode="auto">
            <a:xfrm>
              <a:off x="14426" y="1902"/>
              <a:ext cx="375" cy="203"/>
            </a:xfrm>
            <a:custGeom>
              <a:avLst/>
              <a:gdLst/>
              <a:ahLst/>
              <a:cxnLst>
                <a:cxn ang="0">
                  <a:pos x="109" y="101"/>
                </a:cxn>
                <a:cxn ang="0">
                  <a:pos x="184" y="7"/>
                </a:cxn>
                <a:cxn ang="0">
                  <a:pos x="188" y="1"/>
                </a:cxn>
                <a:cxn ang="0">
                  <a:pos x="160" y="1"/>
                </a:cxn>
                <a:cxn ang="0">
                  <a:pos x="152" y="5"/>
                </a:cxn>
                <a:cxn ang="0">
                  <a:pos x="142" y="0"/>
                </a:cxn>
                <a:cxn ang="0">
                  <a:pos x="129" y="5"/>
                </a:cxn>
                <a:cxn ang="0">
                  <a:pos x="120" y="21"/>
                </a:cxn>
                <a:cxn ang="0">
                  <a:pos x="109" y="21"/>
                </a:cxn>
                <a:cxn ang="0">
                  <a:pos x="101" y="29"/>
                </a:cxn>
                <a:cxn ang="0">
                  <a:pos x="81" y="26"/>
                </a:cxn>
                <a:cxn ang="0">
                  <a:pos x="76" y="34"/>
                </a:cxn>
                <a:cxn ang="0">
                  <a:pos x="67" y="27"/>
                </a:cxn>
                <a:cxn ang="0">
                  <a:pos x="57" y="25"/>
                </a:cxn>
                <a:cxn ang="0">
                  <a:pos x="53" y="18"/>
                </a:cxn>
                <a:cxn ang="0">
                  <a:pos x="44" y="9"/>
                </a:cxn>
                <a:cxn ang="0">
                  <a:pos x="33" y="11"/>
                </a:cxn>
                <a:cxn ang="0">
                  <a:pos x="25" y="2"/>
                </a:cxn>
                <a:cxn ang="0">
                  <a:pos x="12" y="20"/>
                </a:cxn>
                <a:cxn ang="0">
                  <a:pos x="1" y="31"/>
                </a:cxn>
                <a:cxn ang="0">
                  <a:pos x="0" y="30"/>
                </a:cxn>
                <a:cxn ang="0">
                  <a:pos x="0" y="36"/>
                </a:cxn>
                <a:cxn ang="0">
                  <a:pos x="12" y="40"/>
                </a:cxn>
                <a:cxn ang="0">
                  <a:pos x="12" y="45"/>
                </a:cxn>
                <a:cxn ang="0">
                  <a:pos x="26" y="47"/>
                </a:cxn>
                <a:cxn ang="0">
                  <a:pos x="42" y="57"/>
                </a:cxn>
                <a:cxn ang="0">
                  <a:pos x="52" y="59"/>
                </a:cxn>
                <a:cxn ang="0">
                  <a:pos x="63" y="67"/>
                </a:cxn>
                <a:cxn ang="0">
                  <a:pos x="74" y="72"/>
                </a:cxn>
                <a:cxn ang="0">
                  <a:pos x="80" y="84"/>
                </a:cxn>
                <a:cxn ang="0">
                  <a:pos x="98" y="88"/>
                </a:cxn>
                <a:cxn ang="0">
                  <a:pos x="102" y="94"/>
                </a:cxn>
                <a:cxn ang="0">
                  <a:pos x="102" y="100"/>
                </a:cxn>
                <a:cxn ang="0">
                  <a:pos x="109" y="101"/>
                </a:cxn>
              </a:cxnLst>
              <a:rect l="0" t="0" r="r" b="b"/>
              <a:pathLst>
                <a:path w="188" h="101">
                  <a:moveTo>
                    <a:pt x="109" y="101"/>
                  </a:moveTo>
                  <a:cubicBezTo>
                    <a:pt x="109" y="101"/>
                    <a:pt x="174" y="21"/>
                    <a:pt x="184" y="7"/>
                  </a:cubicBezTo>
                  <a:cubicBezTo>
                    <a:pt x="186" y="5"/>
                    <a:pt x="187" y="3"/>
                    <a:pt x="188" y="1"/>
                  </a:cubicBezTo>
                  <a:cubicBezTo>
                    <a:pt x="160" y="1"/>
                    <a:pt x="160" y="1"/>
                    <a:pt x="160" y="1"/>
                  </a:cubicBezTo>
                  <a:cubicBezTo>
                    <a:pt x="152" y="5"/>
                    <a:pt x="152" y="5"/>
                    <a:pt x="152" y="5"/>
                  </a:cubicBezTo>
                  <a:cubicBezTo>
                    <a:pt x="152" y="5"/>
                    <a:pt x="142" y="0"/>
                    <a:pt x="142" y="0"/>
                  </a:cubicBezTo>
                  <a:cubicBezTo>
                    <a:pt x="141" y="0"/>
                    <a:pt x="134" y="4"/>
                    <a:pt x="129" y="5"/>
                  </a:cubicBezTo>
                  <a:cubicBezTo>
                    <a:pt x="124" y="7"/>
                    <a:pt x="120" y="21"/>
                    <a:pt x="120" y="21"/>
                  </a:cubicBezTo>
                  <a:cubicBezTo>
                    <a:pt x="109" y="21"/>
                    <a:pt x="109" y="21"/>
                    <a:pt x="109" y="21"/>
                  </a:cubicBezTo>
                  <a:cubicBezTo>
                    <a:pt x="109" y="21"/>
                    <a:pt x="107" y="26"/>
                    <a:pt x="101" y="29"/>
                  </a:cubicBezTo>
                  <a:cubicBezTo>
                    <a:pt x="95" y="31"/>
                    <a:pt x="81" y="26"/>
                    <a:pt x="81" y="26"/>
                  </a:cubicBezTo>
                  <a:cubicBezTo>
                    <a:pt x="76" y="34"/>
                    <a:pt x="76" y="34"/>
                    <a:pt x="76" y="34"/>
                  </a:cubicBezTo>
                  <a:cubicBezTo>
                    <a:pt x="67" y="27"/>
                    <a:pt x="67" y="27"/>
                    <a:pt x="67" y="27"/>
                  </a:cubicBezTo>
                  <a:cubicBezTo>
                    <a:pt x="57" y="25"/>
                    <a:pt x="57" y="25"/>
                    <a:pt x="57" y="25"/>
                  </a:cubicBezTo>
                  <a:cubicBezTo>
                    <a:pt x="53" y="18"/>
                    <a:pt x="53" y="18"/>
                    <a:pt x="53" y="18"/>
                  </a:cubicBezTo>
                  <a:cubicBezTo>
                    <a:pt x="44" y="9"/>
                    <a:pt x="44" y="9"/>
                    <a:pt x="44" y="9"/>
                  </a:cubicBezTo>
                  <a:cubicBezTo>
                    <a:pt x="44" y="9"/>
                    <a:pt x="34" y="11"/>
                    <a:pt x="33" y="11"/>
                  </a:cubicBezTo>
                  <a:cubicBezTo>
                    <a:pt x="32" y="11"/>
                    <a:pt x="25" y="2"/>
                    <a:pt x="25" y="2"/>
                  </a:cubicBezTo>
                  <a:cubicBezTo>
                    <a:pt x="25" y="2"/>
                    <a:pt x="18" y="16"/>
                    <a:pt x="12" y="20"/>
                  </a:cubicBezTo>
                  <a:cubicBezTo>
                    <a:pt x="6" y="24"/>
                    <a:pt x="1" y="31"/>
                    <a:pt x="1" y="31"/>
                  </a:cubicBezTo>
                  <a:cubicBezTo>
                    <a:pt x="0" y="30"/>
                    <a:pt x="0" y="30"/>
                    <a:pt x="0" y="30"/>
                  </a:cubicBezTo>
                  <a:cubicBezTo>
                    <a:pt x="0" y="36"/>
                    <a:pt x="0" y="36"/>
                    <a:pt x="0" y="36"/>
                  </a:cubicBezTo>
                  <a:cubicBezTo>
                    <a:pt x="0" y="36"/>
                    <a:pt x="12" y="36"/>
                    <a:pt x="12" y="40"/>
                  </a:cubicBezTo>
                  <a:cubicBezTo>
                    <a:pt x="12" y="44"/>
                    <a:pt x="12" y="45"/>
                    <a:pt x="12" y="45"/>
                  </a:cubicBezTo>
                  <a:cubicBezTo>
                    <a:pt x="12" y="45"/>
                    <a:pt x="21" y="45"/>
                    <a:pt x="26" y="47"/>
                  </a:cubicBezTo>
                  <a:cubicBezTo>
                    <a:pt x="31" y="50"/>
                    <a:pt x="42" y="57"/>
                    <a:pt x="42" y="57"/>
                  </a:cubicBezTo>
                  <a:cubicBezTo>
                    <a:pt x="52" y="59"/>
                    <a:pt x="52" y="59"/>
                    <a:pt x="52" y="59"/>
                  </a:cubicBezTo>
                  <a:cubicBezTo>
                    <a:pt x="52" y="59"/>
                    <a:pt x="57" y="66"/>
                    <a:pt x="63" y="67"/>
                  </a:cubicBezTo>
                  <a:cubicBezTo>
                    <a:pt x="68" y="69"/>
                    <a:pt x="74" y="72"/>
                    <a:pt x="74" y="72"/>
                  </a:cubicBezTo>
                  <a:cubicBezTo>
                    <a:pt x="74" y="72"/>
                    <a:pt x="72" y="79"/>
                    <a:pt x="80" y="84"/>
                  </a:cubicBezTo>
                  <a:cubicBezTo>
                    <a:pt x="88" y="88"/>
                    <a:pt x="98" y="88"/>
                    <a:pt x="98" y="88"/>
                  </a:cubicBezTo>
                  <a:cubicBezTo>
                    <a:pt x="98" y="88"/>
                    <a:pt x="103" y="94"/>
                    <a:pt x="102" y="94"/>
                  </a:cubicBezTo>
                  <a:cubicBezTo>
                    <a:pt x="102" y="94"/>
                    <a:pt x="102" y="97"/>
                    <a:pt x="102" y="100"/>
                  </a:cubicBezTo>
                  <a:cubicBezTo>
                    <a:pt x="106" y="99"/>
                    <a:pt x="109" y="101"/>
                    <a:pt x="109" y="101"/>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7" name="Freeform 344">
              <a:extLst>
                <a:ext uri="{FF2B5EF4-FFF2-40B4-BE49-F238E27FC236}">
                  <a16:creationId xmlns:a16="http://schemas.microsoft.com/office/drawing/2014/main" id="{AB592DA2-26B0-46EC-A29C-986508780C8B}"/>
                </a:ext>
              </a:extLst>
            </p:cNvPr>
            <p:cNvSpPr>
              <a:spLocks noChangeAspect="1"/>
            </p:cNvSpPr>
            <p:nvPr/>
          </p:nvSpPr>
          <p:spPr bwMode="auto">
            <a:xfrm>
              <a:off x="14426" y="1984"/>
              <a:ext cx="206" cy="251"/>
            </a:xfrm>
            <a:custGeom>
              <a:avLst/>
              <a:gdLst/>
              <a:ahLst/>
              <a:cxnLst>
                <a:cxn ang="0">
                  <a:pos x="102" y="59"/>
                </a:cxn>
                <a:cxn ang="0">
                  <a:pos x="102" y="53"/>
                </a:cxn>
                <a:cxn ang="0">
                  <a:pos x="98" y="47"/>
                </a:cxn>
                <a:cxn ang="0">
                  <a:pos x="80" y="43"/>
                </a:cxn>
                <a:cxn ang="0">
                  <a:pos x="74" y="31"/>
                </a:cxn>
                <a:cxn ang="0">
                  <a:pos x="63" y="26"/>
                </a:cxn>
                <a:cxn ang="0">
                  <a:pos x="52" y="18"/>
                </a:cxn>
                <a:cxn ang="0">
                  <a:pos x="42" y="16"/>
                </a:cxn>
                <a:cxn ang="0">
                  <a:pos x="26" y="6"/>
                </a:cxn>
                <a:cxn ang="0">
                  <a:pos x="12" y="4"/>
                </a:cxn>
                <a:cxn ang="0">
                  <a:pos x="12" y="0"/>
                </a:cxn>
                <a:cxn ang="0">
                  <a:pos x="8" y="5"/>
                </a:cxn>
                <a:cxn ang="0">
                  <a:pos x="12" y="9"/>
                </a:cxn>
                <a:cxn ang="0">
                  <a:pos x="7" y="13"/>
                </a:cxn>
                <a:cxn ang="0">
                  <a:pos x="12" y="19"/>
                </a:cxn>
                <a:cxn ang="0">
                  <a:pos x="13" y="27"/>
                </a:cxn>
                <a:cxn ang="0">
                  <a:pos x="21" y="31"/>
                </a:cxn>
                <a:cxn ang="0">
                  <a:pos x="31" y="40"/>
                </a:cxn>
                <a:cxn ang="0">
                  <a:pos x="28" y="51"/>
                </a:cxn>
                <a:cxn ang="0">
                  <a:pos x="19" y="56"/>
                </a:cxn>
                <a:cxn ang="0">
                  <a:pos x="24" y="62"/>
                </a:cxn>
                <a:cxn ang="0">
                  <a:pos x="23" y="70"/>
                </a:cxn>
                <a:cxn ang="0">
                  <a:pos x="13" y="76"/>
                </a:cxn>
                <a:cxn ang="0">
                  <a:pos x="7" y="70"/>
                </a:cxn>
                <a:cxn ang="0">
                  <a:pos x="0" y="72"/>
                </a:cxn>
                <a:cxn ang="0">
                  <a:pos x="1" y="88"/>
                </a:cxn>
                <a:cxn ang="0">
                  <a:pos x="4" y="95"/>
                </a:cxn>
                <a:cxn ang="0">
                  <a:pos x="10" y="102"/>
                </a:cxn>
                <a:cxn ang="0">
                  <a:pos x="10" y="114"/>
                </a:cxn>
                <a:cxn ang="0">
                  <a:pos x="21" y="116"/>
                </a:cxn>
                <a:cxn ang="0">
                  <a:pos x="26" y="124"/>
                </a:cxn>
                <a:cxn ang="0">
                  <a:pos x="49" y="125"/>
                </a:cxn>
                <a:cxn ang="0">
                  <a:pos x="89" y="66"/>
                </a:cxn>
                <a:cxn ang="0">
                  <a:pos x="102" y="59"/>
                </a:cxn>
              </a:cxnLst>
              <a:rect l="0" t="0" r="r" b="b"/>
              <a:pathLst>
                <a:path w="103" h="125">
                  <a:moveTo>
                    <a:pt x="102" y="59"/>
                  </a:moveTo>
                  <a:cubicBezTo>
                    <a:pt x="102" y="56"/>
                    <a:pt x="102" y="53"/>
                    <a:pt x="102" y="53"/>
                  </a:cubicBezTo>
                  <a:cubicBezTo>
                    <a:pt x="103" y="53"/>
                    <a:pt x="98" y="47"/>
                    <a:pt x="98" y="47"/>
                  </a:cubicBezTo>
                  <a:cubicBezTo>
                    <a:pt x="98" y="47"/>
                    <a:pt x="88" y="47"/>
                    <a:pt x="80" y="43"/>
                  </a:cubicBezTo>
                  <a:cubicBezTo>
                    <a:pt x="72" y="38"/>
                    <a:pt x="74" y="31"/>
                    <a:pt x="74" y="31"/>
                  </a:cubicBezTo>
                  <a:cubicBezTo>
                    <a:pt x="74" y="31"/>
                    <a:pt x="68" y="28"/>
                    <a:pt x="63" y="26"/>
                  </a:cubicBezTo>
                  <a:cubicBezTo>
                    <a:pt x="57" y="25"/>
                    <a:pt x="52" y="18"/>
                    <a:pt x="52" y="18"/>
                  </a:cubicBezTo>
                  <a:cubicBezTo>
                    <a:pt x="42" y="16"/>
                    <a:pt x="42" y="16"/>
                    <a:pt x="42" y="16"/>
                  </a:cubicBezTo>
                  <a:cubicBezTo>
                    <a:pt x="42" y="16"/>
                    <a:pt x="31" y="9"/>
                    <a:pt x="26" y="6"/>
                  </a:cubicBezTo>
                  <a:cubicBezTo>
                    <a:pt x="21" y="4"/>
                    <a:pt x="12" y="4"/>
                    <a:pt x="12" y="4"/>
                  </a:cubicBezTo>
                  <a:cubicBezTo>
                    <a:pt x="12" y="4"/>
                    <a:pt x="12" y="3"/>
                    <a:pt x="12" y="0"/>
                  </a:cubicBezTo>
                  <a:cubicBezTo>
                    <a:pt x="8" y="5"/>
                    <a:pt x="8" y="5"/>
                    <a:pt x="8" y="5"/>
                  </a:cubicBezTo>
                  <a:cubicBezTo>
                    <a:pt x="12" y="9"/>
                    <a:pt x="12" y="9"/>
                    <a:pt x="12" y="9"/>
                  </a:cubicBezTo>
                  <a:cubicBezTo>
                    <a:pt x="7" y="13"/>
                    <a:pt x="7" y="13"/>
                    <a:pt x="7" y="13"/>
                  </a:cubicBezTo>
                  <a:cubicBezTo>
                    <a:pt x="12" y="19"/>
                    <a:pt x="12" y="19"/>
                    <a:pt x="12" y="19"/>
                  </a:cubicBezTo>
                  <a:cubicBezTo>
                    <a:pt x="13" y="27"/>
                    <a:pt x="13" y="27"/>
                    <a:pt x="13" y="27"/>
                  </a:cubicBezTo>
                  <a:cubicBezTo>
                    <a:pt x="21" y="31"/>
                    <a:pt x="21" y="31"/>
                    <a:pt x="21" y="31"/>
                  </a:cubicBezTo>
                  <a:cubicBezTo>
                    <a:pt x="31" y="40"/>
                    <a:pt x="31" y="40"/>
                    <a:pt x="31" y="40"/>
                  </a:cubicBezTo>
                  <a:cubicBezTo>
                    <a:pt x="28" y="51"/>
                    <a:pt x="28" y="51"/>
                    <a:pt x="28" y="51"/>
                  </a:cubicBezTo>
                  <a:cubicBezTo>
                    <a:pt x="19" y="56"/>
                    <a:pt x="19" y="56"/>
                    <a:pt x="19" y="56"/>
                  </a:cubicBezTo>
                  <a:cubicBezTo>
                    <a:pt x="24" y="62"/>
                    <a:pt x="24" y="62"/>
                    <a:pt x="24" y="62"/>
                  </a:cubicBezTo>
                  <a:cubicBezTo>
                    <a:pt x="23" y="70"/>
                    <a:pt x="23" y="70"/>
                    <a:pt x="23" y="70"/>
                  </a:cubicBezTo>
                  <a:cubicBezTo>
                    <a:pt x="13" y="76"/>
                    <a:pt x="13" y="76"/>
                    <a:pt x="13" y="76"/>
                  </a:cubicBezTo>
                  <a:cubicBezTo>
                    <a:pt x="7" y="70"/>
                    <a:pt x="7" y="70"/>
                    <a:pt x="7" y="70"/>
                  </a:cubicBezTo>
                  <a:cubicBezTo>
                    <a:pt x="0" y="72"/>
                    <a:pt x="0" y="72"/>
                    <a:pt x="0" y="72"/>
                  </a:cubicBezTo>
                  <a:cubicBezTo>
                    <a:pt x="1" y="88"/>
                    <a:pt x="1" y="88"/>
                    <a:pt x="1" y="88"/>
                  </a:cubicBezTo>
                  <a:cubicBezTo>
                    <a:pt x="1" y="88"/>
                    <a:pt x="4" y="93"/>
                    <a:pt x="4" y="95"/>
                  </a:cubicBezTo>
                  <a:cubicBezTo>
                    <a:pt x="4" y="98"/>
                    <a:pt x="10" y="102"/>
                    <a:pt x="10" y="102"/>
                  </a:cubicBezTo>
                  <a:cubicBezTo>
                    <a:pt x="10" y="114"/>
                    <a:pt x="10" y="114"/>
                    <a:pt x="10" y="114"/>
                  </a:cubicBezTo>
                  <a:cubicBezTo>
                    <a:pt x="21" y="116"/>
                    <a:pt x="21" y="116"/>
                    <a:pt x="21" y="116"/>
                  </a:cubicBezTo>
                  <a:cubicBezTo>
                    <a:pt x="26" y="124"/>
                    <a:pt x="26" y="124"/>
                    <a:pt x="26" y="124"/>
                  </a:cubicBezTo>
                  <a:cubicBezTo>
                    <a:pt x="49" y="125"/>
                    <a:pt x="49" y="125"/>
                    <a:pt x="49" y="125"/>
                  </a:cubicBezTo>
                  <a:cubicBezTo>
                    <a:pt x="64" y="100"/>
                    <a:pt x="82" y="74"/>
                    <a:pt x="89" y="66"/>
                  </a:cubicBezTo>
                  <a:cubicBezTo>
                    <a:pt x="94" y="61"/>
                    <a:pt x="98" y="59"/>
                    <a:pt x="102" y="59"/>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38" name="Freeform 323">
              <a:extLst>
                <a:ext uri="{FF2B5EF4-FFF2-40B4-BE49-F238E27FC236}">
                  <a16:creationId xmlns:a16="http://schemas.microsoft.com/office/drawing/2014/main" id="{57A74D08-3C24-46A5-97F4-787538C5700C}"/>
                </a:ext>
              </a:extLst>
            </p:cNvPr>
            <p:cNvSpPr>
              <a:spLocks noChangeAspect="1"/>
            </p:cNvSpPr>
            <p:nvPr/>
          </p:nvSpPr>
          <p:spPr bwMode="auto">
            <a:xfrm>
              <a:off x="11921" y="523"/>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39" name="Freeform 324">
              <a:extLst>
                <a:ext uri="{FF2B5EF4-FFF2-40B4-BE49-F238E27FC236}">
                  <a16:creationId xmlns:a16="http://schemas.microsoft.com/office/drawing/2014/main" id="{F55A4DB2-8B5A-4D2C-8287-48D03D779D4F}"/>
                </a:ext>
              </a:extLst>
            </p:cNvPr>
            <p:cNvSpPr>
              <a:spLocks noChangeAspect="1"/>
            </p:cNvSpPr>
            <p:nvPr/>
          </p:nvSpPr>
          <p:spPr bwMode="auto">
            <a:xfrm>
              <a:off x="12909" y="1460"/>
              <a:ext cx="621" cy="1009"/>
            </a:xfrm>
            <a:custGeom>
              <a:avLst/>
              <a:gdLst/>
              <a:ahLst/>
              <a:cxnLst>
                <a:cxn ang="0">
                  <a:pos x="9" y="363"/>
                </a:cxn>
                <a:cxn ang="0">
                  <a:pos x="2" y="400"/>
                </a:cxn>
                <a:cxn ang="0">
                  <a:pos x="8" y="434"/>
                </a:cxn>
                <a:cxn ang="0">
                  <a:pos x="39" y="437"/>
                </a:cxn>
                <a:cxn ang="0">
                  <a:pos x="52" y="473"/>
                </a:cxn>
                <a:cxn ang="0">
                  <a:pos x="100" y="461"/>
                </a:cxn>
                <a:cxn ang="0">
                  <a:pos x="118" y="465"/>
                </a:cxn>
                <a:cxn ang="0">
                  <a:pos x="129" y="491"/>
                </a:cxn>
                <a:cxn ang="0">
                  <a:pos x="141" y="495"/>
                </a:cxn>
                <a:cxn ang="0">
                  <a:pos x="160" y="493"/>
                </a:cxn>
                <a:cxn ang="0">
                  <a:pos x="187" y="504"/>
                </a:cxn>
                <a:cxn ang="0">
                  <a:pos x="189" y="480"/>
                </a:cxn>
                <a:cxn ang="0">
                  <a:pos x="212" y="483"/>
                </a:cxn>
                <a:cxn ang="0">
                  <a:pos x="237" y="473"/>
                </a:cxn>
                <a:cxn ang="0">
                  <a:pos x="264" y="468"/>
                </a:cxn>
                <a:cxn ang="0">
                  <a:pos x="264" y="429"/>
                </a:cxn>
                <a:cxn ang="0">
                  <a:pos x="278" y="407"/>
                </a:cxn>
                <a:cxn ang="0">
                  <a:pos x="279" y="390"/>
                </a:cxn>
                <a:cxn ang="0">
                  <a:pos x="249" y="370"/>
                </a:cxn>
                <a:cxn ang="0">
                  <a:pos x="272" y="329"/>
                </a:cxn>
                <a:cxn ang="0">
                  <a:pos x="310" y="309"/>
                </a:cxn>
                <a:cxn ang="0">
                  <a:pos x="293" y="311"/>
                </a:cxn>
                <a:cxn ang="0">
                  <a:pos x="264" y="301"/>
                </a:cxn>
                <a:cxn ang="0">
                  <a:pos x="248" y="280"/>
                </a:cxn>
                <a:cxn ang="0">
                  <a:pos x="240" y="254"/>
                </a:cxn>
                <a:cxn ang="0">
                  <a:pos x="221" y="236"/>
                </a:cxn>
                <a:cxn ang="0">
                  <a:pos x="238" y="201"/>
                </a:cxn>
                <a:cxn ang="0">
                  <a:pos x="258" y="170"/>
                </a:cxn>
                <a:cxn ang="0">
                  <a:pos x="179" y="124"/>
                </a:cxn>
                <a:cxn ang="0">
                  <a:pos x="204" y="68"/>
                </a:cxn>
                <a:cxn ang="0">
                  <a:pos x="175" y="14"/>
                </a:cxn>
                <a:cxn ang="0">
                  <a:pos x="161" y="11"/>
                </a:cxn>
                <a:cxn ang="0">
                  <a:pos x="130" y="14"/>
                </a:cxn>
                <a:cxn ang="0">
                  <a:pos x="119" y="14"/>
                </a:cxn>
                <a:cxn ang="0">
                  <a:pos x="146" y="23"/>
                </a:cxn>
                <a:cxn ang="0">
                  <a:pos x="152" y="40"/>
                </a:cxn>
                <a:cxn ang="0">
                  <a:pos x="143" y="51"/>
                </a:cxn>
                <a:cxn ang="0">
                  <a:pos x="140" y="63"/>
                </a:cxn>
                <a:cxn ang="0">
                  <a:pos x="130" y="79"/>
                </a:cxn>
                <a:cxn ang="0">
                  <a:pos x="106" y="97"/>
                </a:cxn>
                <a:cxn ang="0">
                  <a:pos x="96" y="130"/>
                </a:cxn>
                <a:cxn ang="0">
                  <a:pos x="86" y="149"/>
                </a:cxn>
                <a:cxn ang="0">
                  <a:pos x="91" y="173"/>
                </a:cxn>
                <a:cxn ang="0">
                  <a:pos x="69" y="222"/>
                </a:cxn>
                <a:cxn ang="0">
                  <a:pos x="53" y="240"/>
                </a:cxn>
                <a:cxn ang="0">
                  <a:pos x="31" y="283"/>
                </a:cxn>
                <a:cxn ang="0">
                  <a:pos x="10" y="332"/>
                </a:cxn>
              </a:cxnLst>
              <a:rect l="0" t="0" r="r" b="b"/>
              <a:pathLst>
                <a:path w="310" h="504">
                  <a:moveTo>
                    <a:pt x="10" y="332"/>
                  </a:moveTo>
                  <a:cubicBezTo>
                    <a:pt x="7" y="343"/>
                    <a:pt x="9" y="363"/>
                    <a:pt x="9" y="363"/>
                  </a:cubicBezTo>
                  <a:cubicBezTo>
                    <a:pt x="0" y="375"/>
                    <a:pt x="0" y="375"/>
                    <a:pt x="0" y="375"/>
                  </a:cubicBezTo>
                  <a:cubicBezTo>
                    <a:pt x="2" y="400"/>
                    <a:pt x="2" y="400"/>
                    <a:pt x="2" y="400"/>
                  </a:cubicBezTo>
                  <a:cubicBezTo>
                    <a:pt x="3" y="430"/>
                    <a:pt x="3" y="430"/>
                    <a:pt x="3" y="430"/>
                  </a:cubicBezTo>
                  <a:cubicBezTo>
                    <a:pt x="8" y="434"/>
                    <a:pt x="8" y="434"/>
                    <a:pt x="8" y="434"/>
                  </a:cubicBezTo>
                  <a:cubicBezTo>
                    <a:pt x="11" y="463"/>
                    <a:pt x="11" y="463"/>
                    <a:pt x="11" y="463"/>
                  </a:cubicBezTo>
                  <a:cubicBezTo>
                    <a:pt x="39" y="437"/>
                    <a:pt x="39" y="437"/>
                    <a:pt x="39" y="437"/>
                  </a:cubicBezTo>
                  <a:cubicBezTo>
                    <a:pt x="27" y="468"/>
                    <a:pt x="27" y="468"/>
                    <a:pt x="27" y="468"/>
                  </a:cubicBezTo>
                  <a:cubicBezTo>
                    <a:pt x="52" y="473"/>
                    <a:pt x="52" y="473"/>
                    <a:pt x="52" y="473"/>
                  </a:cubicBezTo>
                  <a:cubicBezTo>
                    <a:pt x="85" y="492"/>
                    <a:pt x="85" y="492"/>
                    <a:pt x="85" y="492"/>
                  </a:cubicBezTo>
                  <a:cubicBezTo>
                    <a:pt x="100" y="461"/>
                    <a:pt x="100" y="461"/>
                    <a:pt x="100" y="461"/>
                  </a:cubicBezTo>
                  <a:cubicBezTo>
                    <a:pt x="108" y="472"/>
                    <a:pt x="108" y="472"/>
                    <a:pt x="108" y="472"/>
                  </a:cubicBezTo>
                  <a:cubicBezTo>
                    <a:pt x="118" y="465"/>
                    <a:pt x="118" y="465"/>
                    <a:pt x="118" y="465"/>
                  </a:cubicBezTo>
                  <a:cubicBezTo>
                    <a:pt x="133" y="481"/>
                    <a:pt x="133" y="481"/>
                    <a:pt x="133" y="481"/>
                  </a:cubicBezTo>
                  <a:cubicBezTo>
                    <a:pt x="129" y="491"/>
                    <a:pt x="129" y="491"/>
                    <a:pt x="129" y="491"/>
                  </a:cubicBezTo>
                  <a:cubicBezTo>
                    <a:pt x="140" y="488"/>
                    <a:pt x="140" y="488"/>
                    <a:pt x="140" y="488"/>
                  </a:cubicBezTo>
                  <a:cubicBezTo>
                    <a:pt x="141" y="495"/>
                    <a:pt x="141" y="495"/>
                    <a:pt x="141" y="495"/>
                  </a:cubicBezTo>
                  <a:cubicBezTo>
                    <a:pt x="152" y="486"/>
                    <a:pt x="152" y="486"/>
                    <a:pt x="152" y="486"/>
                  </a:cubicBezTo>
                  <a:cubicBezTo>
                    <a:pt x="160" y="493"/>
                    <a:pt x="160" y="493"/>
                    <a:pt x="160" y="493"/>
                  </a:cubicBezTo>
                  <a:cubicBezTo>
                    <a:pt x="172" y="492"/>
                    <a:pt x="172" y="492"/>
                    <a:pt x="172" y="492"/>
                  </a:cubicBezTo>
                  <a:cubicBezTo>
                    <a:pt x="187" y="504"/>
                    <a:pt x="187" y="504"/>
                    <a:pt x="187" y="504"/>
                  </a:cubicBezTo>
                  <a:cubicBezTo>
                    <a:pt x="193" y="497"/>
                    <a:pt x="193" y="497"/>
                    <a:pt x="193" y="497"/>
                  </a:cubicBezTo>
                  <a:cubicBezTo>
                    <a:pt x="189" y="480"/>
                    <a:pt x="189" y="480"/>
                    <a:pt x="189" y="480"/>
                  </a:cubicBezTo>
                  <a:cubicBezTo>
                    <a:pt x="205" y="489"/>
                    <a:pt x="205" y="489"/>
                    <a:pt x="205" y="489"/>
                  </a:cubicBezTo>
                  <a:cubicBezTo>
                    <a:pt x="212" y="483"/>
                    <a:pt x="212" y="483"/>
                    <a:pt x="212" y="483"/>
                  </a:cubicBezTo>
                  <a:cubicBezTo>
                    <a:pt x="224" y="485"/>
                    <a:pt x="224" y="485"/>
                    <a:pt x="224" y="485"/>
                  </a:cubicBezTo>
                  <a:cubicBezTo>
                    <a:pt x="237" y="473"/>
                    <a:pt x="237" y="473"/>
                    <a:pt x="237" y="473"/>
                  </a:cubicBezTo>
                  <a:cubicBezTo>
                    <a:pt x="266" y="468"/>
                    <a:pt x="266" y="468"/>
                    <a:pt x="266" y="468"/>
                  </a:cubicBezTo>
                  <a:cubicBezTo>
                    <a:pt x="265" y="468"/>
                    <a:pt x="265" y="468"/>
                    <a:pt x="264" y="468"/>
                  </a:cubicBezTo>
                  <a:cubicBezTo>
                    <a:pt x="263" y="468"/>
                    <a:pt x="274" y="453"/>
                    <a:pt x="276" y="444"/>
                  </a:cubicBezTo>
                  <a:cubicBezTo>
                    <a:pt x="279" y="436"/>
                    <a:pt x="264" y="429"/>
                    <a:pt x="264" y="429"/>
                  </a:cubicBezTo>
                  <a:cubicBezTo>
                    <a:pt x="266" y="413"/>
                    <a:pt x="266" y="413"/>
                    <a:pt x="266" y="413"/>
                  </a:cubicBezTo>
                  <a:cubicBezTo>
                    <a:pt x="278" y="407"/>
                    <a:pt x="278" y="407"/>
                    <a:pt x="278" y="407"/>
                  </a:cubicBezTo>
                  <a:cubicBezTo>
                    <a:pt x="268" y="401"/>
                    <a:pt x="268" y="401"/>
                    <a:pt x="268" y="401"/>
                  </a:cubicBezTo>
                  <a:cubicBezTo>
                    <a:pt x="279" y="390"/>
                    <a:pt x="279" y="390"/>
                    <a:pt x="279" y="390"/>
                  </a:cubicBezTo>
                  <a:cubicBezTo>
                    <a:pt x="279" y="390"/>
                    <a:pt x="269" y="387"/>
                    <a:pt x="259" y="386"/>
                  </a:cubicBezTo>
                  <a:cubicBezTo>
                    <a:pt x="250" y="386"/>
                    <a:pt x="249" y="370"/>
                    <a:pt x="249" y="370"/>
                  </a:cubicBezTo>
                  <a:cubicBezTo>
                    <a:pt x="269" y="348"/>
                    <a:pt x="269" y="348"/>
                    <a:pt x="269" y="348"/>
                  </a:cubicBezTo>
                  <a:cubicBezTo>
                    <a:pt x="272" y="329"/>
                    <a:pt x="272" y="329"/>
                    <a:pt x="272" y="329"/>
                  </a:cubicBezTo>
                  <a:cubicBezTo>
                    <a:pt x="272" y="329"/>
                    <a:pt x="275" y="329"/>
                    <a:pt x="281" y="329"/>
                  </a:cubicBezTo>
                  <a:cubicBezTo>
                    <a:pt x="287" y="329"/>
                    <a:pt x="310" y="309"/>
                    <a:pt x="310" y="309"/>
                  </a:cubicBezTo>
                  <a:cubicBezTo>
                    <a:pt x="307" y="301"/>
                    <a:pt x="307" y="301"/>
                    <a:pt x="307" y="301"/>
                  </a:cubicBezTo>
                  <a:cubicBezTo>
                    <a:pt x="293" y="311"/>
                    <a:pt x="293" y="311"/>
                    <a:pt x="293" y="311"/>
                  </a:cubicBezTo>
                  <a:cubicBezTo>
                    <a:pt x="287" y="306"/>
                    <a:pt x="287" y="306"/>
                    <a:pt x="287" y="306"/>
                  </a:cubicBezTo>
                  <a:cubicBezTo>
                    <a:pt x="287" y="306"/>
                    <a:pt x="283" y="310"/>
                    <a:pt x="264" y="301"/>
                  </a:cubicBezTo>
                  <a:cubicBezTo>
                    <a:pt x="244" y="292"/>
                    <a:pt x="258" y="283"/>
                    <a:pt x="258" y="283"/>
                  </a:cubicBezTo>
                  <a:cubicBezTo>
                    <a:pt x="248" y="280"/>
                    <a:pt x="248" y="280"/>
                    <a:pt x="248" y="280"/>
                  </a:cubicBezTo>
                  <a:cubicBezTo>
                    <a:pt x="257" y="267"/>
                    <a:pt x="257" y="267"/>
                    <a:pt x="257" y="267"/>
                  </a:cubicBezTo>
                  <a:cubicBezTo>
                    <a:pt x="240" y="254"/>
                    <a:pt x="240" y="254"/>
                    <a:pt x="240" y="254"/>
                  </a:cubicBezTo>
                  <a:cubicBezTo>
                    <a:pt x="238" y="243"/>
                    <a:pt x="238" y="243"/>
                    <a:pt x="238" y="243"/>
                  </a:cubicBezTo>
                  <a:cubicBezTo>
                    <a:pt x="221" y="236"/>
                    <a:pt x="221" y="236"/>
                    <a:pt x="221" y="236"/>
                  </a:cubicBezTo>
                  <a:cubicBezTo>
                    <a:pt x="233" y="225"/>
                    <a:pt x="233" y="225"/>
                    <a:pt x="233" y="225"/>
                  </a:cubicBezTo>
                  <a:cubicBezTo>
                    <a:pt x="233" y="225"/>
                    <a:pt x="232" y="211"/>
                    <a:pt x="238" y="201"/>
                  </a:cubicBezTo>
                  <a:cubicBezTo>
                    <a:pt x="244" y="192"/>
                    <a:pt x="249" y="195"/>
                    <a:pt x="249" y="195"/>
                  </a:cubicBezTo>
                  <a:cubicBezTo>
                    <a:pt x="249" y="195"/>
                    <a:pt x="263" y="184"/>
                    <a:pt x="258" y="170"/>
                  </a:cubicBezTo>
                  <a:cubicBezTo>
                    <a:pt x="253" y="156"/>
                    <a:pt x="226" y="176"/>
                    <a:pt x="226" y="176"/>
                  </a:cubicBezTo>
                  <a:cubicBezTo>
                    <a:pt x="179" y="124"/>
                    <a:pt x="179" y="124"/>
                    <a:pt x="179" y="124"/>
                  </a:cubicBezTo>
                  <a:cubicBezTo>
                    <a:pt x="179" y="124"/>
                    <a:pt x="183" y="122"/>
                    <a:pt x="189" y="120"/>
                  </a:cubicBezTo>
                  <a:cubicBezTo>
                    <a:pt x="194" y="118"/>
                    <a:pt x="204" y="68"/>
                    <a:pt x="204" y="68"/>
                  </a:cubicBezTo>
                  <a:cubicBezTo>
                    <a:pt x="204" y="68"/>
                    <a:pt x="196" y="22"/>
                    <a:pt x="196" y="20"/>
                  </a:cubicBezTo>
                  <a:cubicBezTo>
                    <a:pt x="196" y="19"/>
                    <a:pt x="175" y="14"/>
                    <a:pt x="175" y="14"/>
                  </a:cubicBezTo>
                  <a:cubicBezTo>
                    <a:pt x="173" y="5"/>
                    <a:pt x="173" y="5"/>
                    <a:pt x="173" y="5"/>
                  </a:cubicBezTo>
                  <a:cubicBezTo>
                    <a:pt x="173" y="5"/>
                    <a:pt x="167" y="9"/>
                    <a:pt x="161" y="11"/>
                  </a:cubicBezTo>
                  <a:cubicBezTo>
                    <a:pt x="155" y="14"/>
                    <a:pt x="144" y="0"/>
                    <a:pt x="144" y="0"/>
                  </a:cubicBezTo>
                  <a:cubicBezTo>
                    <a:pt x="130" y="14"/>
                    <a:pt x="130" y="14"/>
                    <a:pt x="130" y="14"/>
                  </a:cubicBezTo>
                  <a:cubicBezTo>
                    <a:pt x="123" y="10"/>
                    <a:pt x="123" y="10"/>
                    <a:pt x="123" y="10"/>
                  </a:cubicBezTo>
                  <a:cubicBezTo>
                    <a:pt x="120" y="12"/>
                    <a:pt x="119" y="14"/>
                    <a:pt x="119" y="14"/>
                  </a:cubicBezTo>
                  <a:cubicBezTo>
                    <a:pt x="146" y="18"/>
                    <a:pt x="146" y="18"/>
                    <a:pt x="146" y="18"/>
                  </a:cubicBezTo>
                  <a:cubicBezTo>
                    <a:pt x="146" y="23"/>
                    <a:pt x="146" y="23"/>
                    <a:pt x="146" y="23"/>
                  </a:cubicBezTo>
                  <a:cubicBezTo>
                    <a:pt x="159" y="33"/>
                    <a:pt x="159" y="33"/>
                    <a:pt x="159" y="33"/>
                  </a:cubicBezTo>
                  <a:cubicBezTo>
                    <a:pt x="159" y="33"/>
                    <a:pt x="152" y="37"/>
                    <a:pt x="152" y="40"/>
                  </a:cubicBezTo>
                  <a:cubicBezTo>
                    <a:pt x="151" y="44"/>
                    <a:pt x="155" y="50"/>
                    <a:pt x="155" y="50"/>
                  </a:cubicBezTo>
                  <a:cubicBezTo>
                    <a:pt x="143" y="51"/>
                    <a:pt x="143" y="51"/>
                    <a:pt x="143" y="51"/>
                  </a:cubicBezTo>
                  <a:cubicBezTo>
                    <a:pt x="151" y="62"/>
                    <a:pt x="151" y="62"/>
                    <a:pt x="151" y="62"/>
                  </a:cubicBezTo>
                  <a:cubicBezTo>
                    <a:pt x="140" y="63"/>
                    <a:pt x="140" y="63"/>
                    <a:pt x="140" y="63"/>
                  </a:cubicBezTo>
                  <a:cubicBezTo>
                    <a:pt x="140" y="74"/>
                    <a:pt x="140" y="74"/>
                    <a:pt x="140" y="74"/>
                  </a:cubicBezTo>
                  <a:cubicBezTo>
                    <a:pt x="140" y="74"/>
                    <a:pt x="143" y="77"/>
                    <a:pt x="130" y="79"/>
                  </a:cubicBezTo>
                  <a:cubicBezTo>
                    <a:pt x="117" y="81"/>
                    <a:pt x="130" y="87"/>
                    <a:pt x="123" y="93"/>
                  </a:cubicBezTo>
                  <a:cubicBezTo>
                    <a:pt x="116" y="99"/>
                    <a:pt x="106" y="97"/>
                    <a:pt x="106" y="97"/>
                  </a:cubicBezTo>
                  <a:cubicBezTo>
                    <a:pt x="93" y="103"/>
                    <a:pt x="93" y="103"/>
                    <a:pt x="93" y="103"/>
                  </a:cubicBezTo>
                  <a:cubicBezTo>
                    <a:pt x="96" y="130"/>
                    <a:pt x="96" y="130"/>
                    <a:pt x="96" y="130"/>
                  </a:cubicBezTo>
                  <a:cubicBezTo>
                    <a:pt x="86" y="135"/>
                    <a:pt x="86" y="135"/>
                    <a:pt x="86" y="135"/>
                  </a:cubicBezTo>
                  <a:cubicBezTo>
                    <a:pt x="86" y="149"/>
                    <a:pt x="86" y="149"/>
                    <a:pt x="86" y="149"/>
                  </a:cubicBezTo>
                  <a:cubicBezTo>
                    <a:pt x="99" y="162"/>
                    <a:pt x="99" y="162"/>
                    <a:pt x="99" y="162"/>
                  </a:cubicBezTo>
                  <a:cubicBezTo>
                    <a:pt x="91" y="173"/>
                    <a:pt x="91" y="173"/>
                    <a:pt x="91" y="173"/>
                  </a:cubicBezTo>
                  <a:cubicBezTo>
                    <a:pt x="91" y="173"/>
                    <a:pt x="91" y="185"/>
                    <a:pt x="91" y="191"/>
                  </a:cubicBezTo>
                  <a:cubicBezTo>
                    <a:pt x="91" y="197"/>
                    <a:pt x="69" y="222"/>
                    <a:pt x="69" y="222"/>
                  </a:cubicBezTo>
                  <a:cubicBezTo>
                    <a:pt x="66" y="222"/>
                    <a:pt x="66" y="222"/>
                    <a:pt x="66" y="222"/>
                  </a:cubicBezTo>
                  <a:cubicBezTo>
                    <a:pt x="53" y="240"/>
                    <a:pt x="53" y="240"/>
                    <a:pt x="53" y="240"/>
                  </a:cubicBezTo>
                  <a:cubicBezTo>
                    <a:pt x="53" y="240"/>
                    <a:pt x="40" y="255"/>
                    <a:pt x="38" y="270"/>
                  </a:cubicBezTo>
                  <a:cubicBezTo>
                    <a:pt x="37" y="276"/>
                    <a:pt x="34" y="280"/>
                    <a:pt x="31" y="283"/>
                  </a:cubicBezTo>
                  <a:cubicBezTo>
                    <a:pt x="32" y="283"/>
                    <a:pt x="32" y="283"/>
                    <a:pt x="32" y="283"/>
                  </a:cubicBezTo>
                  <a:cubicBezTo>
                    <a:pt x="32" y="283"/>
                    <a:pt x="14" y="321"/>
                    <a:pt x="10" y="332"/>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40" name="Freeform 329">
              <a:extLst>
                <a:ext uri="{FF2B5EF4-FFF2-40B4-BE49-F238E27FC236}">
                  <a16:creationId xmlns:a16="http://schemas.microsoft.com/office/drawing/2014/main" id="{40821BC2-A820-430F-AF34-B3AD39E012EC}"/>
                </a:ext>
              </a:extLst>
            </p:cNvPr>
            <p:cNvSpPr>
              <a:spLocks noChangeAspect="1"/>
            </p:cNvSpPr>
            <p:nvPr/>
          </p:nvSpPr>
          <p:spPr bwMode="auto">
            <a:xfrm>
              <a:off x="12081" y="4108"/>
              <a:ext cx="962" cy="802"/>
            </a:xfrm>
            <a:custGeom>
              <a:avLst/>
              <a:gdLst/>
              <a:ahLst/>
              <a:cxnLst>
                <a:cxn ang="0">
                  <a:pos x="455" y="134"/>
                </a:cxn>
                <a:cxn ang="0">
                  <a:pos x="451" y="129"/>
                </a:cxn>
                <a:cxn ang="0">
                  <a:pos x="460" y="123"/>
                </a:cxn>
                <a:cxn ang="0">
                  <a:pos x="462" y="108"/>
                </a:cxn>
                <a:cxn ang="0">
                  <a:pos x="476" y="92"/>
                </a:cxn>
                <a:cxn ang="0">
                  <a:pos x="477" y="83"/>
                </a:cxn>
                <a:cxn ang="0">
                  <a:pos x="429" y="83"/>
                </a:cxn>
                <a:cxn ang="0">
                  <a:pos x="389" y="42"/>
                </a:cxn>
                <a:cxn ang="0">
                  <a:pos x="371" y="23"/>
                </a:cxn>
                <a:cxn ang="0">
                  <a:pos x="352" y="25"/>
                </a:cxn>
                <a:cxn ang="0">
                  <a:pos x="299" y="8"/>
                </a:cxn>
                <a:cxn ang="0">
                  <a:pos x="283" y="9"/>
                </a:cxn>
                <a:cxn ang="0">
                  <a:pos x="276" y="0"/>
                </a:cxn>
                <a:cxn ang="0">
                  <a:pos x="264" y="8"/>
                </a:cxn>
                <a:cxn ang="0">
                  <a:pos x="256" y="0"/>
                </a:cxn>
                <a:cxn ang="0">
                  <a:pos x="246" y="8"/>
                </a:cxn>
                <a:cxn ang="0">
                  <a:pos x="233" y="0"/>
                </a:cxn>
                <a:cxn ang="0">
                  <a:pos x="228" y="7"/>
                </a:cxn>
                <a:cxn ang="0">
                  <a:pos x="206" y="21"/>
                </a:cxn>
                <a:cxn ang="0">
                  <a:pos x="188" y="21"/>
                </a:cxn>
                <a:cxn ang="0">
                  <a:pos x="181" y="31"/>
                </a:cxn>
                <a:cxn ang="0">
                  <a:pos x="172" y="30"/>
                </a:cxn>
                <a:cxn ang="0">
                  <a:pos x="160" y="48"/>
                </a:cxn>
                <a:cxn ang="0">
                  <a:pos x="151" y="47"/>
                </a:cxn>
                <a:cxn ang="0">
                  <a:pos x="111" y="68"/>
                </a:cxn>
                <a:cxn ang="0">
                  <a:pos x="115" y="79"/>
                </a:cxn>
                <a:cxn ang="0">
                  <a:pos x="100" y="82"/>
                </a:cxn>
                <a:cxn ang="0">
                  <a:pos x="74" y="110"/>
                </a:cxn>
                <a:cxn ang="0">
                  <a:pos x="73" y="123"/>
                </a:cxn>
                <a:cxn ang="0">
                  <a:pos x="60" y="123"/>
                </a:cxn>
                <a:cxn ang="0">
                  <a:pos x="54" y="135"/>
                </a:cxn>
                <a:cxn ang="0">
                  <a:pos x="38" y="155"/>
                </a:cxn>
                <a:cxn ang="0">
                  <a:pos x="18" y="166"/>
                </a:cxn>
                <a:cxn ang="0">
                  <a:pos x="17" y="175"/>
                </a:cxn>
                <a:cxn ang="0">
                  <a:pos x="0" y="187"/>
                </a:cxn>
                <a:cxn ang="0">
                  <a:pos x="8" y="195"/>
                </a:cxn>
                <a:cxn ang="0">
                  <a:pos x="25" y="195"/>
                </a:cxn>
                <a:cxn ang="0">
                  <a:pos x="34" y="179"/>
                </a:cxn>
                <a:cxn ang="0">
                  <a:pos x="48" y="181"/>
                </a:cxn>
                <a:cxn ang="0">
                  <a:pos x="97" y="225"/>
                </a:cxn>
                <a:cxn ang="0">
                  <a:pos x="99" y="242"/>
                </a:cxn>
                <a:cxn ang="0">
                  <a:pos x="123" y="226"/>
                </a:cxn>
                <a:cxn ang="0">
                  <a:pos x="145" y="251"/>
                </a:cxn>
                <a:cxn ang="0">
                  <a:pos x="167" y="263"/>
                </a:cxn>
                <a:cxn ang="0">
                  <a:pos x="190" y="264"/>
                </a:cxn>
                <a:cxn ang="0">
                  <a:pos x="191" y="272"/>
                </a:cxn>
                <a:cxn ang="0">
                  <a:pos x="214" y="290"/>
                </a:cxn>
                <a:cxn ang="0">
                  <a:pos x="236" y="305"/>
                </a:cxn>
                <a:cxn ang="0">
                  <a:pos x="245" y="324"/>
                </a:cxn>
                <a:cxn ang="0">
                  <a:pos x="265" y="333"/>
                </a:cxn>
                <a:cxn ang="0">
                  <a:pos x="277" y="342"/>
                </a:cxn>
                <a:cxn ang="0">
                  <a:pos x="247" y="364"/>
                </a:cxn>
                <a:cxn ang="0">
                  <a:pos x="248" y="396"/>
                </a:cxn>
                <a:cxn ang="0">
                  <a:pos x="259" y="400"/>
                </a:cxn>
                <a:cxn ang="0">
                  <a:pos x="301" y="361"/>
                </a:cxn>
                <a:cxn ang="0">
                  <a:pos x="316" y="325"/>
                </a:cxn>
                <a:cxn ang="0">
                  <a:pos x="344" y="295"/>
                </a:cxn>
                <a:cxn ang="0">
                  <a:pos x="393" y="261"/>
                </a:cxn>
                <a:cxn ang="0">
                  <a:pos x="436" y="210"/>
                </a:cxn>
                <a:cxn ang="0">
                  <a:pos x="471" y="142"/>
                </a:cxn>
                <a:cxn ang="0">
                  <a:pos x="476" y="135"/>
                </a:cxn>
                <a:cxn ang="0">
                  <a:pos x="464" y="128"/>
                </a:cxn>
                <a:cxn ang="0">
                  <a:pos x="455" y="134"/>
                </a:cxn>
              </a:cxnLst>
              <a:rect l="0" t="0" r="r" b="b"/>
              <a:pathLst>
                <a:path w="481" h="400">
                  <a:moveTo>
                    <a:pt x="455" y="134"/>
                  </a:moveTo>
                  <a:cubicBezTo>
                    <a:pt x="451" y="129"/>
                    <a:pt x="451" y="129"/>
                    <a:pt x="451" y="129"/>
                  </a:cubicBezTo>
                  <a:cubicBezTo>
                    <a:pt x="460" y="123"/>
                    <a:pt x="460" y="123"/>
                    <a:pt x="460" y="123"/>
                  </a:cubicBezTo>
                  <a:cubicBezTo>
                    <a:pt x="462" y="108"/>
                    <a:pt x="462" y="108"/>
                    <a:pt x="462" y="108"/>
                  </a:cubicBezTo>
                  <a:cubicBezTo>
                    <a:pt x="462" y="108"/>
                    <a:pt x="471" y="94"/>
                    <a:pt x="476" y="92"/>
                  </a:cubicBezTo>
                  <a:cubicBezTo>
                    <a:pt x="481" y="90"/>
                    <a:pt x="477" y="84"/>
                    <a:pt x="477" y="83"/>
                  </a:cubicBezTo>
                  <a:cubicBezTo>
                    <a:pt x="478" y="83"/>
                    <a:pt x="429" y="83"/>
                    <a:pt x="429" y="83"/>
                  </a:cubicBezTo>
                  <a:cubicBezTo>
                    <a:pt x="389" y="42"/>
                    <a:pt x="389" y="42"/>
                    <a:pt x="389" y="42"/>
                  </a:cubicBezTo>
                  <a:cubicBezTo>
                    <a:pt x="389" y="42"/>
                    <a:pt x="380" y="31"/>
                    <a:pt x="371" y="23"/>
                  </a:cubicBezTo>
                  <a:cubicBezTo>
                    <a:pt x="363" y="14"/>
                    <a:pt x="352" y="25"/>
                    <a:pt x="352" y="25"/>
                  </a:cubicBezTo>
                  <a:cubicBezTo>
                    <a:pt x="299" y="8"/>
                    <a:pt x="299" y="8"/>
                    <a:pt x="299" y="8"/>
                  </a:cubicBezTo>
                  <a:cubicBezTo>
                    <a:pt x="299" y="8"/>
                    <a:pt x="284" y="9"/>
                    <a:pt x="283" y="9"/>
                  </a:cubicBezTo>
                  <a:cubicBezTo>
                    <a:pt x="283" y="9"/>
                    <a:pt x="276" y="0"/>
                    <a:pt x="276" y="0"/>
                  </a:cubicBezTo>
                  <a:cubicBezTo>
                    <a:pt x="264" y="8"/>
                    <a:pt x="264" y="8"/>
                    <a:pt x="264" y="8"/>
                  </a:cubicBezTo>
                  <a:cubicBezTo>
                    <a:pt x="256" y="0"/>
                    <a:pt x="256" y="0"/>
                    <a:pt x="256" y="0"/>
                  </a:cubicBezTo>
                  <a:cubicBezTo>
                    <a:pt x="256" y="0"/>
                    <a:pt x="250" y="8"/>
                    <a:pt x="246" y="8"/>
                  </a:cubicBezTo>
                  <a:cubicBezTo>
                    <a:pt x="243" y="8"/>
                    <a:pt x="237" y="4"/>
                    <a:pt x="233" y="0"/>
                  </a:cubicBezTo>
                  <a:cubicBezTo>
                    <a:pt x="232" y="4"/>
                    <a:pt x="230" y="6"/>
                    <a:pt x="228" y="7"/>
                  </a:cubicBezTo>
                  <a:cubicBezTo>
                    <a:pt x="223" y="9"/>
                    <a:pt x="206" y="21"/>
                    <a:pt x="206" y="21"/>
                  </a:cubicBezTo>
                  <a:cubicBezTo>
                    <a:pt x="188" y="21"/>
                    <a:pt x="188" y="21"/>
                    <a:pt x="188" y="21"/>
                  </a:cubicBezTo>
                  <a:cubicBezTo>
                    <a:pt x="181" y="31"/>
                    <a:pt x="181" y="31"/>
                    <a:pt x="181" y="31"/>
                  </a:cubicBezTo>
                  <a:cubicBezTo>
                    <a:pt x="181" y="31"/>
                    <a:pt x="174" y="30"/>
                    <a:pt x="172" y="30"/>
                  </a:cubicBezTo>
                  <a:cubicBezTo>
                    <a:pt x="170" y="31"/>
                    <a:pt x="160" y="47"/>
                    <a:pt x="160" y="48"/>
                  </a:cubicBezTo>
                  <a:cubicBezTo>
                    <a:pt x="160" y="49"/>
                    <a:pt x="159" y="48"/>
                    <a:pt x="151" y="47"/>
                  </a:cubicBezTo>
                  <a:cubicBezTo>
                    <a:pt x="143" y="47"/>
                    <a:pt x="111" y="68"/>
                    <a:pt x="111" y="68"/>
                  </a:cubicBezTo>
                  <a:cubicBezTo>
                    <a:pt x="115" y="79"/>
                    <a:pt x="115" y="79"/>
                    <a:pt x="115" y="79"/>
                  </a:cubicBezTo>
                  <a:cubicBezTo>
                    <a:pt x="115" y="79"/>
                    <a:pt x="101" y="82"/>
                    <a:pt x="100" y="82"/>
                  </a:cubicBezTo>
                  <a:cubicBezTo>
                    <a:pt x="99" y="81"/>
                    <a:pt x="74" y="110"/>
                    <a:pt x="74" y="110"/>
                  </a:cubicBezTo>
                  <a:cubicBezTo>
                    <a:pt x="73" y="123"/>
                    <a:pt x="73" y="123"/>
                    <a:pt x="73" y="123"/>
                  </a:cubicBezTo>
                  <a:cubicBezTo>
                    <a:pt x="60" y="123"/>
                    <a:pt x="60" y="123"/>
                    <a:pt x="60" y="123"/>
                  </a:cubicBezTo>
                  <a:cubicBezTo>
                    <a:pt x="54" y="135"/>
                    <a:pt x="54" y="135"/>
                    <a:pt x="54" y="135"/>
                  </a:cubicBezTo>
                  <a:cubicBezTo>
                    <a:pt x="54" y="135"/>
                    <a:pt x="50" y="142"/>
                    <a:pt x="38" y="155"/>
                  </a:cubicBezTo>
                  <a:cubicBezTo>
                    <a:pt x="26" y="168"/>
                    <a:pt x="18" y="166"/>
                    <a:pt x="18" y="166"/>
                  </a:cubicBezTo>
                  <a:cubicBezTo>
                    <a:pt x="17" y="166"/>
                    <a:pt x="18" y="169"/>
                    <a:pt x="17" y="175"/>
                  </a:cubicBezTo>
                  <a:cubicBezTo>
                    <a:pt x="16" y="181"/>
                    <a:pt x="0" y="187"/>
                    <a:pt x="0" y="187"/>
                  </a:cubicBezTo>
                  <a:cubicBezTo>
                    <a:pt x="8" y="195"/>
                    <a:pt x="8" y="195"/>
                    <a:pt x="8" y="195"/>
                  </a:cubicBezTo>
                  <a:cubicBezTo>
                    <a:pt x="25" y="195"/>
                    <a:pt x="25" y="195"/>
                    <a:pt x="25" y="195"/>
                  </a:cubicBezTo>
                  <a:cubicBezTo>
                    <a:pt x="25" y="195"/>
                    <a:pt x="29" y="183"/>
                    <a:pt x="34" y="179"/>
                  </a:cubicBezTo>
                  <a:cubicBezTo>
                    <a:pt x="39" y="176"/>
                    <a:pt x="48" y="181"/>
                    <a:pt x="48" y="181"/>
                  </a:cubicBezTo>
                  <a:cubicBezTo>
                    <a:pt x="97" y="225"/>
                    <a:pt x="97" y="225"/>
                    <a:pt x="97" y="225"/>
                  </a:cubicBezTo>
                  <a:cubicBezTo>
                    <a:pt x="99" y="242"/>
                    <a:pt x="99" y="242"/>
                    <a:pt x="99" y="242"/>
                  </a:cubicBezTo>
                  <a:cubicBezTo>
                    <a:pt x="123" y="226"/>
                    <a:pt x="123" y="226"/>
                    <a:pt x="123" y="226"/>
                  </a:cubicBezTo>
                  <a:cubicBezTo>
                    <a:pt x="123" y="226"/>
                    <a:pt x="144" y="246"/>
                    <a:pt x="145" y="251"/>
                  </a:cubicBezTo>
                  <a:cubicBezTo>
                    <a:pt x="146" y="256"/>
                    <a:pt x="167" y="263"/>
                    <a:pt x="167" y="263"/>
                  </a:cubicBezTo>
                  <a:cubicBezTo>
                    <a:pt x="190" y="264"/>
                    <a:pt x="190" y="264"/>
                    <a:pt x="190" y="264"/>
                  </a:cubicBezTo>
                  <a:cubicBezTo>
                    <a:pt x="190" y="264"/>
                    <a:pt x="191" y="269"/>
                    <a:pt x="191" y="272"/>
                  </a:cubicBezTo>
                  <a:cubicBezTo>
                    <a:pt x="191" y="275"/>
                    <a:pt x="201" y="284"/>
                    <a:pt x="214" y="290"/>
                  </a:cubicBezTo>
                  <a:cubicBezTo>
                    <a:pt x="228" y="296"/>
                    <a:pt x="235" y="301"/>
                    <a:pt x="236" y="305"/>
                  </a:cubicBezTo>
                  <a:cubicBezTo>
                    <a:pt x="237" y="310"/>
                    <a:pt x="240" y="317"/>
                    <a:pt x="245" y="324"/>
                  </a:cubicBezTo>
                  <a:cubicBezTo>
                    <a:pt x="250" y="331"/>
                    <a:pt x="265" y="333"/>
                    <a:pt x="265" y="333"/>
                  </a:cubicBezTo>
                  <a:cubicBezTo>
                    <a:pt x="277" y="342"/>
                    <a:pt x="277" y="342"/>
                    <a:pt x="277" y="342"/>
                  </a:cubicBezTo>
                  <a:cubicBezTo>
                    <a:pt x="247" y="364"/>
                    <a:pt x="247" y="364"/>
                    <a:pt x="247" y="364"/>
                  </a:cubicBezTo>
                  <a:cubicBezTo>
                    <a:pt x="248" y="396"/>
                    <a:pt x="248" y="396"/>
                    <a:pt x="248" y="396"/>
                  </a:cubicBezTo>
                  <a:cubicBezTo>
                    <a:pt x="259" y="400"/>
                    <a:pt x="259" y="400"/>
                    <a:pt x="259" y="400"/>
                  </a:cubicBezTo>
                  <a:cubicBezTo>
                    <a:pt x="259" y="400"/>
                    <a:pt x="286" y="377"/>
                    <a:pt x="301" y="361"/>
                  </a:cubicBezTo>
                  <a:cubicBezTo>
                    <a:pt x="317" y="346"/>
                    <a:pt x="315" y="328"/>
                    <a:pt x="316" y="325"/>
                  </a:cubicBezTo>
                  <a:cubicBezTo>
                    <a:pt x="316" y="322"/>
                    <a:pt x="334" y="302"/>
                    <a:pt x="344" y="295"/>
                  </a:cubicBezTo>
                  <a:cubicBezTo>
                    <a:pt x="354" y="288"/>
                    <a:pt x="376" y="276"/>
                    <a:pt x="393" y="261"/>
                  </a:cubicBezTo>
                  <a:cubicBezTo>
                    <a:pt x="411" y="246"/>
                    <a:pt x="420" y="235"/>
                    <a:pt x="436" y="210"/>
                  </a:cubicBezTo>
                  <a:cubicBezTo>
                    <a:pt x="452" y="184"/>
                    <a:pt x="458" y="162"/>
                    <a:pt x="471" y="142"/>
                  </a:cubicBezTo>
                  <a:cubicBezTo>
                    <a:pt x="472" y="140"/>
                    <a:pt x="474" y="137"/>
                    <a:pt x="476" y="135"/>
                  </a:cubicBezTo>
                  <a:cubicBezTo>
                    <a:pt x="464" y="128"/>
                    <a:pt x="464" y="128"/>
                    <a:pt x="464" y="128"/>
                  </a:cubicBezTo>
                  <a:lnTo>
                    <a:pt x="455" y="134"/>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41" name="Freeform 336">
              <a:extLst>
                <a:ext uri="{FF2B5EF4-FFF2-40B4-BE49-F238E27FC236}">
                  <a16:creationId xmlns:a16="http://schemas.microsoft.com/office/drawing/2014/main" id="{24AB948F-816E-458A-A066-8126FCC2298A}"/>
                </a:ext>
              </a:extLst>
            </p:cNvPr>
            <p:cNvSpPr>
              <a:spLocks noChangeAspect="1"/>
            </p:cNvSpPr>
            <p:nvPr/>
          </p:nvSpPr>
          <p:spPr bwMode="auto">
            <a:xfrm>
              <a:off x="13151" y="964"/>
              <a:ext cx="841" cy="1106"/>
            </a:xfrm>
            <a:custGeom>
              <a:avLst/>
              <a:gdLst/>
              <a:ahLst/>
              <a:cxnLst>
                <a:cxn ang="0">
                  <a:pos x="182" y="506"/>
                </a:cxn>
                <a:cxn ang="0">
                  <a:pos x="172" y="488"/>
                </a:cxn>
                <a:cxn ang="0">
                  <a:pos x="176" y="462"/>
                </a:cxn>
                <a:cxn ang="0">
                  <a:pos x="194" y="426"/>
                </a:cxn>
                <a:cxn ang="0">
                  <a:pos x="216" y="389"/>
                </a:cxn>
                <a:cxn ang="0">
                  <a:pos x="234" y="382"/>
                </a:cxn>
                <a:cxn ang="0">
                  <a:pos x="252" y="371"/>
                </a:cxn>
                <a:cxn ang="0">
                  <a:pos x="287" y="342"/>
                </a:cxn>
                <a:cxn ang="0">
                  <a:pos x="318" y="348"/>
                </a:cxn>
                <a:cxn ang="0">
                  <a:pos x="349" y="342"/>
                </a:cxn>
                <a:cxn ang="0">
                  <a:pos x="345" y="304"/>
                </a:cxn>
                <a:cxn ang="0">
                  <a:pos x="346" y="289"/>
                </a:cxn>
                <a:cxn ang="0">
                  <a:pos x="350" y="269"/>
                </a:cxn>
                <a:cxn ang="0">
                  <a:pos x="358" y="258"/>
                </a:cxn>
                <a:cxn ang="0">
                  <a:pos x="351" y="221"/>
                </a:cxn>
                <a:cxn ang="0">
                  <a:pos x="349" y="192"/>
                </a:cxn>
                <a:cxn ang="0">
                  <a:pos x="375" y="147"/>
                </a:cxn>
                <a:cxn ang="0">
                  <a:pos x="403" y="129"/>
                </a:cxn>
                <a:cxn ang="0">
                  <a:pos x="420" y="115"/>
                </a:cxn>
                <a:cxn ang="0">
                  <a:pos x="406" y="94"/>
                </a:cxn>
                <a:cxn ang="0">
                  <a:pos x="396" y="96"/>
                </a:cxn>
                <a:cxn ang="0">
                  <a:pos x="336" y="77"/>
                </a:cxn>
                <a:cxn ang="0">
                  <a:pos x="310" y="69"/>
                </a:cxn>
                <a:cxn ang="0">
                  <a:pos x="283" y="84"/>
                </a:cxn>
                <a:cxn ang="0">
                  <a:pos x="276" y="85"/>
                </a:cxn>
                <a:cxn ang="0">
                  <a:pos x="262" y="66"/>
                </a:cxn>
                <a:cxn ang="0">
                  <a:pos x="236" y="32"/>
                </a:cxn>
                <a:cxn ang="0">
                  <a:pos x="207" y="35"/>
                </a:cxn>
                <a:cxn ang="0">
                  <a:pos x="193" y="10"/>
                </a:cxn>
                <a:cxn ang="0">
                  <a:pos x="170" y="3"/>
                </a:cxn>
                <a:cxn ang="0">
                  <a:pos x="156" y="0"/>
                </a:cxn>
                <a:cxn ang="0">
                  <a:pos x="149" y="39"/>
                </a:cxn>
                <a:cxn ang="0">
                  <a:pos x="140" y="75"/>
                </a:cxn>
                <a:cxn ang="0">
                  <a:pos x="126" y="97"/>
                </a:cxn>
                <a:cxn ang="0">
                  <a:pos x="103" y="150"/>
                </a:cxn>
                <a:cxn ang="0">
                  <a:pos x="83" y="184"/>
                </a:cxn>
                <a:cxn ang="0">
                  <a:pos x="51" y="213"/>
                </a:cxn>
                <a:cxn ang="0">
                  <a:pos x="9" y="260"/>
                </a:cxn>
                <a:cxn ang="0">
                  <a:pos x="40" y="257"/>
                </a:cxn>
                <a:cxn ang="0">
                  <a:pos x="54" y="260"/>
                </a:cxn>
                <a:cxn ang="0">
                  <a:pos x="83" y="314"/>
                </a:cxn>
                <a:cxn ang="0">
                  <a:pos x="58" y="370"/>
                </a:cxn>
                <a:cxn ang="0">
                  <a:pos x="137" y="416"/>
                </a:cxn>
                <a:cxn ang="0">
                  <a:pos x="117" y="447"/>
                </a:cxn>
                <a:cxn ang="0">
                  <a:pos x="100" y="482"/>
                </a:cxn>
                <a:cxn ang="0">
                  <a:pos x="119" y="500"/>
                </a:cxn>
                <a:cxn ang="0">
                  <a:pos x="127" y="526"/>
                </a:cxn>
                <a:cxn ang="0">
                  <a:pos x="143" y="547"/>
                </a:cxn>
                <a:cxn ang="0">
                  <a:pos x="175" y="538"/>
                </a:cxn>
              </a:cxnLst>
              <a:rect l="0" t="0" r="r" b="b"/>
              <a:pathLst>
                <a:path w="420" h="553">
                  <a:moveTo>
                    <a:pt x="175" y="509"/>
                  </a:moveTo>
                  <a:cubicBezTo>
                    <a:pt x="182" y="506"/>
                    <a:pt x="182" y="506"/>
                    <a:pt x="182" y="506"/>
                  </a:cubicBezTo>
                  <a:cubicBezTo>
                    <a:pt x="182" y="506"/>
                    <a:pt x="174" y="502"/>
                    <a:pt x="173" y="501"/>
                  </a:cubicBezTo>
                  <a:cubicBezTo>
                    <a:pt x="173" y="500"/>
                    <a:pt x="172" y="488"/>
                    <a:pt x="172" y="488"/>
                  </a:cubicBezTo>
                  <a:cubicBezTo>
                    <a:pt x="172" y="488"/>
                    <a:pt x="166" y="476"/>
                    <a:pt x="167" y="471"/>
                  </a:cubicBezTo>
                  <a:cubicBezTo>
                    <a:pt x="168" y="467"/>
                    <a:pt x="176" y="462"/>
                    <a:pt x="176" y="462"/>
                  </a:cubicBezTo>
                  <a:cubicBezTo>
                    <a:pt x="176" y="462"/>
                    <a:pt x="178" y="444"/>
                    <a:pt x="180" y="441"/>
                  </a:cubicBezTo>
                  <a:cubicBezTo>
                    <a:pt x="183" y="439"/>
                    <a:pt x="194" y="426"/>
                    <a:pt x="194" y="426"/>
                  </a:cubicBezTo>
                  <a:cubicBezTo>
                    <a:pt x="194" y="426"/>
                    <a:pt x="189" y="410"/>
                    <a:pt x="199" y="402"/>
                  </a:cubicBezTo>
                  <a:cubicBezTo>
                    <a:pt x="209" y="393"/>
                    <a:pt x="216" y="389"/>
                    <a:pt x="216" y="389"/>
                  </a:cubicBezTo>
                  <a:cubicBezTo>
                    <a:pt x="229" y="389"/>
                    <a:pt x="229" y="389"/>
                    <a:pt x="229" y="389"/>
                  </a:cubicBezTo>
                  <a:cubicBezTo>
                    <a:pt x="234" y="382"/>
                    <a:pt x="234" y="382"/>
                    <a:pt x="234" y="382"/>
                  </a:cubicBezTo>
                  <a:cubicBezTo>
                    <a:pt x="245" y="382"/>
                    <a:pt x="245" y="382"/>
                    <a:pt x="245" y="382"/>
                  </a:cubicBezTo>
                  <a:cubicBezTo>
                    <a:pt x="245" y="382"/>
                    <a:pt x="251" y="373"/>
                    <a:pt x="252" y="371"/>
                  </a:cubicBezTo>
                  <a:cubicBezTo>
                    <a:pt x="253" y="369"/>
                    <a:pt x="266" y="372"/>
                    <a:pt x="274" y="360"/>
                  </a:cubicBezTo>
                  <a:cubicBezTo>
                    <a:pt x="282" y="349"/>
                    <a:pt x="287" y="342"/>
                    <a:pt x="287" y="342"/>
                  </a:cubicBezTo>
                  <a:cubicBezTo>
                    <a:pt x="287" y="342"/>
                    <a:pt x="307" y="339"/>
                    <a:pt x="310" y="341"/>
                  </a:cubicBezTo>
                  <a:cubicBezTo>
                    <a:pt x="313" y="344"/>
                    <a:pt x="318" y="348"/>
                    <a:pt x="318" y="348"/>
                  </a:cubicBezTo>
                  <a:cubicBezTo>
                    <a:pt x="318" y="348"/>
                    <a:pt x="326" y="344"/>
                    <a:pt x="330" y="344"/>
                  </a:cubicBezTo>
                  <a:cubicBezTo>
                    <a:pt x="334" y="344"/>
                    <a:pt x="348" y="346"/>
                    <a:pt x="349" y="342"/>
                  </a:cubicBezTo>
                  <a:cubicBezTo>
                    <a:pt x="350" y="339"/>
                    <a:pt x="358" y="315"/>
                    <a:pt x="358" y="315"/>
                  </a:cubicBezTo>
                  <a:cubicBezTo>
                    <a:pt x="345" y="304"/>
                    <a:pt x="345" y="304"/>
                    <a:pt x="345" y="304"/>
                  </a:cubicBezTo>
                  <a:cubicBezTo>
                    <a:pt x="340" y="294"/>
                    <a:pt x="340" y="294"/>
                    <a:pt x="340" y="294"/>
                  </a:cubicBezTo>
                  <a:cubicBezTo>
                    <a:pt x="346" y="289"/>
                    <a:pt x="346" y="289"/>
                    <a:pt x="346" y="289"/>
                  </a:cubicBezTo>
                  <a:cubicBezTo>
                    <a:pt x="346" y="289"/>
                    <a:pt x="337" y="281"/>
                    <a:pt x="341" y="277"/>
                  </a:cubicBezTo>
                  <a:cubicBezTo>
                    <a:pt x="345" y="273"/>
                    <a:pt x="350" y="269"/>
                    <a:pt x="350" y="269"/>
                  </a:cubicBezTo>
                  <a:cubicBezTo>
                    <a:pt x="350" y="262"/>
                    <a:pt x="350" y="262"/>
                    <a:pt x="350" y="262"/>
                  </a:cubicBezTo>
                  <a:cubicBezTo>
                    <a:pt x="358" y="258"/>
                    <a:pt x="358" y="258"/>
                    <a:pt x="358" y="258"/>
                  </a:cubicBezTo>
                  <a:cubicBezTo>
                    <a:pt x="355" y="240"/>
                    <a:pt x="355" y="240"/>
                    <a:pt x="355" y="240"/>
                  </a:cubicBezTo>
                  <a:cubicBezTo>
                    <a:pt x="355" y="240"/>
                    <a:pt x="350" y="229"/>
                    <a:pt x="351" y="221"/>
                  </a:cubicBezTo>
                  <a:cubicBezTo>
                    <a:pt x="351" y="214"/>
                    <a:pt x="358" y="205"/>
                    <a:pt x="358" y="205"/>
                  </a:cubicBezTo>
                  <a:cubicBezTo>
                    <a:pt x="358" y="205"/>
                    <a:pt x="349" y="196"/>
                    <a:pt x="349" y="192"/>
                  </a:cubicBezTo>
                  <a:cubicBezTo>
                    <a:pt x="348" y="188"/>
                    <a:pt x="366" y="174"/>
                    <a:pt x="366" y="172"/>
                  </a:cubicBezTo>
                  <a:cubicBezTo>
                    <a:pt x="367" y="170"/>
                    <a:pt x="370" y="149"/>
                    <a:pt x="375" y="147"/>
                  </a:cubicBezTo>
                  <a:cubicBezTo>
                    <a:pt x="379" y="145"/>
                    <a:pt x="396" y="148"/>
                    <a:pt x="399" y="143"/>
                  </a:cubicBezTo>
                  <a:cubicBezTo>
                    <a:pt x="402" y="137"/>
                    <a:pt x="403" y="129"/>
                    <a:pt x="403" y="129"/>
                  </a:cubicBezTo>
                  <a:cubicBezTo>
                    <a:pt x="414" y="128"/>
                    <a:pt x="414" y="128"/>
                    <a:pt x="414" y="128"/>
                  </a:cubicBezTo>
                  <a:cubicBezTo>
                    <a:pt x="420" y="115"/>
                    <a:pt x="420" y="115"/>
                    <a:pt x="420" y="115"/>
                  </a:cubicBezTo>
                  <a:cubicBezTo>
                    <a:pt x="416" y="98"/>
                    <a:pt x="416" y="98"/>
                    <a:pt x="416" y="98"/>
                  </a:cubicBezTo>
                  <a:cubicBezTo>
                    <a:pt x="406" y="94"/>
                    <a:pt x="406" y="94"/>
                    <a:pt x="406" y="94"/>
                  </a:cubicBezTo>
                  <a:cubicBezTo>
                    <a:pt x="403" y="101"/>
                    <a:pt x="403" y="101"/>
                    <a:pt x="403" y="101"/>
                  </a:cubicBezTo>
                  <a:cubicBezTo>
                    <a:pt x="396" y="96"/>
                    <a:pt x="396" y="96"/>
                    <a:pt x="396" y="96"/>
                  </a:cubicBezTo>
                  <a:cubicBezTo>
                    <a:pt x="382" y="100"/>
                    <a:pt x="382" y="100"/>
                    <a:pt x="382" y="100"/>
                  </a:cubicBezTo>
                  <a:cubicBezTo>
                    <a:pt x="336" y="77"/>
                    <a:pt x="336" y="77"/>
                    <a:pt x="336" y="77"/>
                  </a:cubicBezTo>
                  <a:cubicBezTo>
                    <a:pt x="318" y="81"/>
                    <a:pt x="318" y="81"/>
                    <a:pt x="318" y="81"/>
                  </a:cubicBezTo>
                  <a:cubicBezTo>
                    <a:pt x="318" y="81"/>
                    <a:pt x="321" y="69"/>
                    <a:pt x="310" y="69"/>
                  </a:cubicBezTo>
                  <a:cubicBezTo>
                    <a:pt x="299" y="69"/>
                    <a:pt x="288" y="94"/>
                    <a:pt x="288" y="95"/>
                  </a:cubicBezTo>
                  <a:cubicBezTo>
                    <a:pt x="288" y="96"/>
                    <a:pt x="283" y="84"/>
                    <a:pt x="283" y="84"/>
                  </a:cubicBezTo>
                  <a:cubicBezTo>
                    <a:pt x="282" y="76"/>
                    <a:pt x="282" y="76"/>
                    <a:pt x="282" y="76"/>
                  </a:cubicBezTo>
                  <a:cubicBezTo>
                    <a:pt x="282" y="76"/>
                    <a:pt x="278" y="83"/>
                    <a:pt x="276" y="85"/>
                  </a:cubicBezTo>
                  <a:cubicBezTo>
                    <a:pt x="275" y="86"/>
                    <a:pt x="265" y="86"/>
                    <a:pt x="265" y="86"/>
                  </a:cubicBezTo>
                  <a:cubicBezTo>
                    <a:pt x="265" y="86"/>
                    <a:pt x="264" y="73"/>
                    <a:pt x="262" y="66"/>
                  </a:cubicBezTo>
                  <a:cubicBezTo>
                    <a:pt x="261" y="58"/>
                    <a:pt x="253" y="40"/>
                    <a:pt x="246" y="33"/>
                  </a:cubicBezTo>
                  <a:cubicBezTo>
                    <a:pt x="239" y="27"/>
                    <a:pt x="236" y="32"/>
                    <a:pt x="236" y="32"/>
                  </a:cubicBezTo>
                  <a:cubicBezTo>
                    <a:pt x="229" y="15"/>
                    <a:pt x="229" y="15"/>
                    <a:pt x="229" y="15"/>
                  </a:cubicBezTo>
                  <a:cubicBezTo>
                    <a:pt x="207" y="35"/>
                    <a:pt x="207" y="35"/>
                    <a:pt x="207" y="35"/>
                  </a:cubicBezTo>
                  <a:cubicBezTo>
                    <a:pt x="207" y="35"/>
                    <a:pt x="207" y="26"/>
                    <a:pt x="207" y="21"/>
                  </a:cubicBezTo>
                  <a:cubicBezTo>
                    <a:pt x="207" y="17"/>
                    <a:pt x="193" y="10"/>
                    <a:pt x="193" y="10"/>
                  </a:cubicBezTo>
                  <a:cubicBezTo>
                    <a:pt x="183" y="17"/>
                    <a:pt x="183" y="17"/>
                    <a:pt x="183" y="17"/>
                  </a:cubicBezTo>
                  <a:cubicBezTo>
                    <a:pt x="170" y="3"/>
                    <a:pt x="170" y="3"/>
                    <a:pt x="170" y="3"/>
                  </a:cubicBezTo>
                  <a:cubicBezTo>
                    <a:pt x="161" y="7"/>
                    <a:pt x="161" y="7"/>
                    <a:pt x="161" y="7"/>
                  </a:cubicBezTo>
                  <a:cubicBezTo>
                    <a:pt x="156" y="0"/>
                    <a:pt x="156" y="0"/>
                    <a:pt x="156" y="0"/>
                  </a:cubicBezTo>
                  <a:cubicBezTo>
                    <a:pt x="158" y="32"/>
                    <a:pt x="158" y="32"/>
                    <a:pt x="158" y="32"/>
                  </a:cubicBezTo>
                  <a:cubicBezTo>
                    <a:pt x="149" y="39"/>
                    <a:pt x="149" y="39"/>
                    <a:pt x="149" y="39"/>
                  </a:cubicBezTo>
                  <a:cubicBezTo>
                    <a:pt x="156" y="49"/>
                    <a:pt x="156" y="49"/>
                    <a:pt x="156" y="49"/>
                  </a:cubicBezTo>
                  <a:cubicBezTo>
                    <a:pt x="140" y="75"/>
                    <a:pt x="140" y="75"/>
                    <a:pt x="140" y="75"/>
                  </a:cubicBezTo>
                  <a:cubicBezTo>
                    <a:pt x="140" y="95"/>
                    <a:pt x="140" y="95"/>
                    <a:pt x="140" y="95"/>
                  </a:cubicBezTo>
                  <a:cubicBezTo>
                    <a:pt x="126" y="97"/>
                    <a:pt x="126" y="97"/>
                    <a:pt x="126" y="97"/>
                  </a:cubicBezTo>
                  <a:cubicBezTo>
                    <a:pt x="129" y="116"/>
                    <a:pt x="129" y="116"/>
                    <a:pt x="129" y="116"/>
                  </a:cubicBezTo>
                  <a:cubicBezTo>
                    <a:pt x="103" y="150"/>
                    <a:pt x="103" y="150"/>
                    <a:pt x="103" y="150"/>
                  </a:cubicBezTo>
                  <a:cubicBezTo>
                    <a:pt x="106" y="166"/>
                    <a:pt x="106" y="166"/>
                    <a:pt x="106" y="166"/>
                  </a:cubicBezTo>
                  <a:cubicBezTo>
                    <a:pt x="106" y="166"/>
                    <a:pt x="90" y="173"/>
                    <a:pt x="83" y="184"/>
                  </a:cubicBezTo>
                  <a:cubicBezTo>
                    <a:pt x="77" y="195"/>
                    <a:pt x="71" y="213"/>
                    <a:pt x="71" y="213"/>
                  </a:cubicBezTo>
                  <a:cubicBezTo>
                    <a:pt x="51" y="213"/>
                    <a:pt x="51" y="213"/>
                    <a:pt x="51" y="213"/>
                  </a:cubicBezTo>
                  <a:cubicBezTo>
                    <a:pt x="0" y="255"/>
                    <a:pt x="0" y="255"/>
                    <a:pt x="0" y="255"/>
                  </a:cubicBezTo>
                  <a:cubicBezTo>
                    <a:pt x="9" y="260"/>
                    <a:pt x="9" y="260"/>
                    <a:pt x="9" y="260"/>
                  </a:cubicBezTo>
                  <a:cubicBezTo>
                    <a:pt x="23" y="246"/>
                    <a:pt x="23" y="246"/>
                    <a:pt x="23" y="246"/>
                  </a:cubicBezTo>
                  <a:cubicBezTo>
                    <a:pt x="23" y="246"/>
                    <a:pt x="34" y="260"/>
                    <a:pt x="40" y="257"/>
                  </a:cubicBezTo>
                  <a:cubicBezTo>
                    <a:pt x="46" y="255"/>
                    <a:pt x="52" y="251"/>
                    <a:pt x="52" y="251"/>
                  </a:cubicBezTo>
                  <a:cubicBezTo>
                    <a:pt x="54" y="260"/>
                    <a:pt x="54" y="260"/>
                    <a:pt x="54" y="260"/>
                  </a:cubicBezTo>
                  <a:cubicBezTo>
                    <a:pt x="54" y="260"/>
                    <a:pt x="75" y="265"/>
                    <a:pt x="75" y="266"/>
                  </a:cubicBezTo>
                  <a:cubicBezTo>
                    <a:pt x="75" y="268"/>
                    <a:pt x="83" y="314"/>
                    <a:pt x="83" y="314"/>
                  </a:cubicBezTo>
                  <a:cubicBezTo>
                    <a:pt x="83" y="314"/>
                    <a:pt x="73" y="364"/>
                    <a:pt x="68" y="366"/>
                  </a:cubicBezTo>
                  <a:cubicBezTo>
                    <a:pt x="62" y="368"/>
                    <a:pt x="58" y="370"/>
                    <a:pt x="58" y="370"/>
                  </a:cubicBezTo>
                  <a:cubicBezTo>
                    <a:pt x="105" y="422"/>
                    <a:pt x="105" y="422"/>
                    <a:pt x="105" y="422"/>
                  </a:cubicBezTo>
                  <a:cubicBezTo>
                    <a:pt x="105" y="422"/>
                    <a:pt x="132" y="402"/>
                    <a:pt x="137" y="416"/>
                  </a:cubicBezTo>
                  <a:cubicBezTo>
                    <a:pt x="142" y="430"/>
                    <a:pt x="128" y="441"/>
                    <a:pt x="128" y="441"/>
                  </a:cubicBezTo>
                  <a:cubicBezTo>
                    <a:pt x="128" y="441"/>
                    <a:pt x="123" y="438"/>
                    <a:pt x="117" y="447"/>
                  </a:cubicBezTo>
                  <a:cubicBezTo>
                    <a:pt x="111" y="457"/>
                    <a:pt x="112" y="471"/>
                    <a:pt x="112" y="471"/>
                  </a:cubicBezTo>
                  <a:cubicBezTo>
                    <a:pt x="100" y="482"/>
                    <a:pt x="100" y="482"/>
                    <a:pt x="100" y="482"/>
                  </a:cubicBezTo>
                  <a:cubicBezTo>
                    <a:pt x="117" y="489"/>
                    <a:pt x="117" y="489"/>
                    <a:pt x="117" y="489"/>
                  </a:cubicBezTo>
                  <a:cubicBezTo>
                    <a:pt x="119" y="500"/>
                    <a:pt x="119" y="500"/>
                    <a:pt x="119" y="500"/>
                  </a:cubicBezTo>
                  <a:cubicBezTo>
                    <a:pt x="136" y="513"/>
                    <a:pt x="136" y="513"/>
                    <a:pt x="136" y="513"/>
                  </a:cubicBezTo>
                  <a:cubicBezTo>
                    <a:pt x="127" y="526"/>
                    <a:pt x="127" y="526"/>
                    <a:pt x="127" y="526"/>
                  </a:cubicBezTo>
                  <a:cubicBezTo>
                    <a:pt x="137" y="529"/>
                    <a:pt x="137" y="529"/>
                    <a:pt x="137" y="529"/>
                  </a:cubicBezTo>
                  <a:cubicBezTo>
                    <a:pt x="137" y="529"/>
                    <a:pt x="123" y="538"/>
                    <a:pt x="143" y="547"/>
                  </a:cubicBezTo>
                  <a:cubicBezTo>
                    <a:pt x="156" y="553"/>
                    <a:pt x="162" y="553"/>
                    <a:pt x="164" y="552"/>
                  </a:cubicBezTo>
                  <a:cubicBezTo>
                    <a:pt x="175" y="538"/>
                    <a:pt x="175" y="538"/>
                    <a:pt x="175" y="538"/>
                  </a:cubicBezTo>
                  <a:lnTo>
                    <a:pt x="175" y="509"/>
                  </a:ln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42" name="Freeform 343">
              <a:extLst>
                <a:ext uri="{FF2B5EF4-FFF2-40B4-BE49-F238E27FC236}">
                  <a16:creationId xmlns:a16="http://schemas.microsoft.com/office/drawing/2014/main" id="{CC9D95C1-C567-43B5-9C30-B07919CFF475}"/>
                </a:ext>
              </a:extLst>
            </p:cNvPr>
            <p:cNvSpPr>
              <a:spLocks noChangeAspect="1"/>
            </p:cNvSpPr>
            <p:nvPr/>
          </p:nvSpPr>
          <p:spPr bwMode="auto">
            <a:xfrm>
              <a:off x="13407" y="1865"/>
              <a:ext cx="1118" cy="1185"/>
            </a:xfrm>
            <a:custGeom>
              <a:avLst/>
              <a:gdLst>
                <a:gd name="T0" fmla="*/ 1040 w 558"/>
                <a:gd name="T1" fmla="*/ 324 h 592"/>
                <a:gd name="T2" fmla="*/ 1020 w 558"/>
                <a:gd name="T3" fmla="*/ 264 h 592"/>
                <a:gd name="T4" fmla="*/ 1066 w 558"/>
                <a:gd name="T5" fmla="*/ 260 h 592"/>
                <a:gd name="T6" fmla="*/ 1076 w 558"/>
                <a:gd name="T7" fmla="*/ 222 h 592"/>
                <a:gd name="T8" fmla="*/ 1046 w 558"/>
                <a:gd name="T9" fmla="*/ 174 h 592"/>
                <a:gd name="T10" fmla="*/ 1044 w 558"/>
                <a:gd name="T11" fmla="*/ 138 h 592"/>
                <a:gd name="T12" fmla="*/ 1044 w 558"/>
                <a:gd name="T13" fmla="*/ 118 h 592"/>
                <a:gd name="T14" fmla="*/ 1006 w 558"/>
                <a:gd name="T15" fmla="*/ 80 h 592"/>
                <a:gd name="T16" fmla="*/ 990 w 558"/>
                <a:gd name="T17" fmla="*/ 66 h 592"/>
                <a:gd name="T18" fmla="*/ 910 w 558"/>
                <a:gd name="T19" fmla="*/ 24 h 592"/>
                <a:gd name="T20" fmla="*/ 837 w 558"/>
                <a:gd name="T21" fmla="*/ 34 h 592"/>
                <a:gd name="T22" fmla="*/ 791 w 558"/>
                <a:gd name="T23" fmla="*/ 68 h 592"/>
                <a:gd name="T24" fmla="*/ 725 w 558"/>
                <a:gd name="T25" fmla="*/ 120 h 592"/>
                <a:gd name="T26" fmla="*/ 639 w 558"/>
                <a:gd name="T27" fmla="*/ 66 h 592"/>
                <a:gd name="T28" fmla="*/ 461 w 558"/>
                <a:gd name="T29" fmla="*/ 126 h 592"/>
                <a:gd name="T30" fmla="*/ 381 w 558"/>
                <a:gd name="T31" fmla="*/ 88 h 592"/>
                <a:gd name="T32" fmla="*/ 343 w 558"/>
                <a:gd name="T33" fmla="*/ 224 h 592"/>
                <a:gd name="T34" fmla="*/ 276 w 558"/>
                <a:gd name="T35" fmla="*/ 246 h 592"/>
                <a:gd name="T36" fmla="*/ 210 w 558"/>
                <a:gd name="T37" fmla="*/ 290 h 592"/>
                <a:gd name="T38" fmla="*/ 130 w 558"/>
                <a:gd name="T39" fmla="*/ 198 h 592"/>
                <a:gd name="T40" fmla="*/ 64 w 558"/>
                <a:gd name="T41" fmla="*/ 252 h 592"/>
                <a:gd name="T42" fmla="*/ 0 w 558"/>
                <a:gd name="T43" fmla="*/ 334 h 592"/>
                <a:gd name="T44" fmla="*/ 38 w 558"/>
                <a:gd name="T45" fmla="*/ 396 h 592"/>
                <a:gd name="T46" fmla="*/ 30 w 558"/>
                <a:gd name="T47" fmla="*/ 452 h 592"/>
                <a:gd name="T48" fmla="*/ 62 w 558"/>
                <a:gd name="T49" fmla="*/ 536 h 592"/>
                <a:gd name="T50" fmla="*/ 52 w 558"/>
                <a:gd name="T51" fmla="*/ 635 h 592"/>
                <a:gd name="T52" fmla="*/ 74 w 558"/>
                <a:gd name="T53" fmla="*/ 723 h 592"/>
                <a:gd name="T54" fmla="*/ 64 w 558"/>
                <a:gd name="T55" fmla="*/ 803 h 592"/>
                <a:gd name="T56" fmla="*/ 198 w 558"/>
                <a:gd name="T57" fmla="*/ 745 h 592"/>
                <a:gd name="T58" fmla="*/ 329 w 558"/>
                <a:gd name="T59" fmla="*/ 733 h 592"/>
                <a:gd name="T60" fmla="*/ 513 w 558"/>
                <a:gd name="T61" fmla="*/ 801 h 592"/>
                <a:gd name="T62" fmla="*/ 643 w 558"/>
                <a:gd name="T63" fmla="*/ 847 h 592"/>
                <a:gd name="T64" fmla="*/ 699 w 558"/>
                <a:gd name="T65" fmla="*/ 861 h 592"/>
                <a:gd name="T66" fmla="*/ 771 w 558"/>
                <a:gd name="T67" fmla="*/ 975 h 592"/>
                <a:gd name="T68" fmla="*/ 741 w 558"/>
                <a:gd name="T69" fmla="*/ 1019 h 592"/>
                <a:gd name="T70" fmla="*/ 775 w 558"/>
                <a:gd name="T71" fmla="*/ 1143 h 592"/>
                <a:gd name="T72" fmla="*/ 844 w 558"/>
                <a:gd name="T73" fmla="*/ 1183 h 592"/>
                <a:gd name="T74" fmla="*/ 866 w 558"/>
                <a:gd name="T75" fmla="*/ 1149 h 592"/>
                <a:gd name="T76" fmla="*/ 922 w 558"/>
                <a:gd name="T77" fmla="*/ 939 h 592"/>
                <a:gd name="T78" fmla="*/ 926 w 558"/>
                <a:gd name="T79" fmla="*/ 765 h 592"/>
                <a:gd name="T80" fmla="*/ 936 w 558"/>
                <a:gd name="T81" fmla="*/ 653 h 592"/>
                <a:gd name="T82" fmla="*/ 932 w 558"/>
                <a:gd name="T83" fmla="*/ 566 h 592"/>
                <a:gd name="T84" fmla="*/ 1080 w 558"/>
                <a:gd name="T85" fmla="*/ 434 h 592"/>
                <a:gd name="T86" fmla="*/ 1062 w 558"/>
                <a:gd name="T87" fmla="*/ 352 h 5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8"/>
                <a:gd name="T133" fmla="*/ 0 h 592"/>
                <a:gd name="T134" fmla="*/ 558 w 558"/>
                <a:gd name="T135" fmla="*/ 592 h 5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8" h="592">
                  <a:moveTo>
                    <a:pt x="530" y="176"/>
                  </a:moveTo>
                  <a:cubicBezTo>
                    <a:pt x="519" y="174"/>
                    <a:pt x="519" y="174"/>
                    <a:pt x="519" y="174"/>
                  </a:cubicBezTo>
                  <a:cubicBezTo>
                    <a:pt x="519" y="162"/>
                    <a:pt x="519" y="162"/>
                    <a:pt x="519" y="162"/>
                  </a:cubicBezTo>
                  <a:cubicBezTo>
                    <a:pt x="519" y="162"/>
                    <a:pt x="513" y="158"/>
                    <a:pt x="513" y="155"/>
                  </a:cubicBezTo>
                  <a:cubicBezTo>
                    <a:pt x="513" y="153"/>
                    <a:pt x="510" y="148"/>
                    <a:pt x="510" y="148"/>
                  </a:cubicBezTo>
                  <a:cubicBezTo>
                    <a:pt x="509" y="132"/>
                    <a:pt x="509" y="132"/>
                    <a:pt x="509" y="132"/>
                  </a:cubicBezTo>
                  <a:cubicBezTo>
                    <a:pt x="516" y="130"/>
                    <a:pt x="516" y="130"/>
                    <a:pt x="516" y="130"/>
                  </a:cubicBezTo>
                  <a:cubicBezTo>
                    <a:pt x="522" y="136"/>
                    <a:pt x="522" y="136"/>
                    <a:pt x="522" y="136"/>
                  </a:cubicBezTo>
                  <a:cubicBezTo>
                    <a:pt x="532" y="130"/>
                    <a:pt x="532" y="130"/>
                    <a:pt x="532" y="130"/>
                  </a:cubicBezTo>
                  <a:cubicBezTo>
                    <a:pt x="533" y="122"/>
                    <a:pt x="533" y="122"/>
                    <a:pt x="533" y="122"/>
                  </a:cubicBezTo>
                  <a:cubicBezTo>
                    <a:pt x="528" y="116"/>
                    <a:pt x="528" y="116"/>
                    <a:pt x="528" y="116"/>
                  </a:cubicBezTo>
                  <a:cubicBezTo>
                    <a:pt x="537" y="111"/>
                    <a:pt x="537" y="111"/>
                    <a:pt x="537" y="111"/>
                  </a:cubicBezTo>
                  <a:cubicBezTo>
                    <a:pt x="540" y="100"/>
                    <a:pt x="540" y="100"/>
                    <a:pt x="540" y="100"/>
                  </a:cubicBezTo>
                  <a:cubicBezTo>
                    <a:pt x="530" y="91"/>
                    <a:pt x="530" y="91"/>
                    <a:pt x="530" y="91"/>
                  </a:cubicBezTo>
                  <a:cubicBezTo>
                    <a:pt x="522" y="87"/>
                    <a:pt x="522" y="87"/>
                    <a:pt x="522" y="87"/>
                  </a:cubicBezTo>
                  <a:cubicBezTo>
                    <a:pt x="521" y="79"/>
                    <a:pt x="521" y="79"/>
                    <a:pt x="521" y="79"/>
                  </a:cubicBezTo>
                  <a:cubicBezTo>
                    <a:pt x="516" y="73"/>
                    <a:pt x="516" y="73"/>
                    <a:pt x="516" y="73"/>
                  </a:cubicBezTo>
                  <a:cubicBezTo>
                    <a:pt x="521" y="69"/>
                    <a:pt x="521" y="69"/>
                    <a:pt x="521" y="69"/>
                  </a:cubicBezTo>
                  <a:cubicBezTo>
                    <a:pt x="517" y="65"/>
                    <a:pt x="517" y="65"/>
                    <a:pt x="517" y="65"/>
                  </a:cubicBezTo>
                  <a:cubicBezTo>
                    <a:pt x="521" y="60"/>
                    <a:pt x="521" y="60"/>
                    <a:pt x="521" y="60"/>
                  </a:cubicBezTo>
                  <a:cubicBezTo>
                    <a:pt x="521" y="60"/>
                    <a:pt x="521" y="59"/>
                    <a:pt x="521" y="59"/>
                  </a:cubicBezTo>
                  <a:cubicBezTo>
                    <a:pt x="521" y="55"/>
                    <a:pt x="509" y="55"/>
                    <a:pt x="509" y="55"/>
                  </a:cubicBezTo>
                  <a:cubicBezTo>
                    <a:pt x="509" y="49"/>
                    <a:pt x="509" y="49"/>
                    <a:pt x="509" y="49"/>
                  </a:cubicBezTo>
                  <a:cubicBezTo>
                    <a:pt x="502" y="40"/>
                    <a:pt x="502" y="40"/>
                    <a:pt x="502" y="40"/>
                  </a:cubicBezTo>
                  <a:cubicBezTo>
                    <a:pt x="505" y="34"/>
                    <a:pt x="505" y="34"/>
                    <a:pt x="505" y="34"/>
                  </a:cubicBezTo>
                  <a:cubicBezTo>
                    <a:pt x="503" y="30"/>
                    <a:pt x="503" y="30"/>
                    <a:pt x="503" y="30"/>
                  </a:cubicBezTo>
                  <a:cubicBezTo>
                    <a:pt x="494" y="33"/>
                    <a:pt x="494" y="33"/>
                    <a:pt x="494" y="33"/>
                  </a:cubicBezTo>
                  <a:cubicBezTo>
                    <a:pt x="494" y="33"/>
                    <a:pt x="492" y="20"/>
                    <a:pt x="492" y="19"/>
                  </a:cubicBezTo>
                  <a:cubicBezTo>
                    <a:pt x="492" y="17"/>
                    <a:pt x="481" y="27"/>
                    <a:pt x="481" y="27"/>
                  </a:cubicBezTo>
                  <a:cubicBezTo>
                    <a:pt x="481" y="27"/>
                    <a:pt x="460" y="14"/>
                    <a:pt x="454" y="12"/>
                  </a:cubicBezTo>
                  <a:cubicBezTo>
                    <a:pt x="449" y="10"/>
                    <a:pt x="439" y="0"/>
                    <a:pt x="439" y="0"/>
                  </a:cubicBezTo>
                  <a:cubicBezTo>
                    <a:pt x="439" y="0"/>
                    <a:pt x="419" y="8"/>
                    <a:pt x="419" y="8"/>
                  </a:cubicBezTo>
                  <a:cubicBezTo>
                    <a:pt x="419" y="9"/>
                    <a:pt x="418" y="17"/>
                    <a:pt x="418" y="17"/>
                  </a:cubicBezTo>
                  <a:cubicBezTo>
                    <a:pt x="408" y="19"/>
                    <a:pt x="408" y="19"/>
                    <a:pt x="408" y="19"/>
                  </a:cubicBezTo>
                  <a:cubicBezTo>
                    <a:pt x="408" y="19"/>
                    <a:pt x="409" y="26"/>
                    <a:pt x="409" y="27"/>
                  </a:cubicBezTo>
                  <a:cubicBezTo>
                    <a:pt x="409" y="28"/>
                    <a:pt x="402" y="32"/>
                    <a:pt x="395" y="34"/>
                  </a:cubicBezTo>
                  <a:cubicBezTo>
                    <a:pt x="387" y="37"/>
                    <a:pt x="387" y="34"/>
                    <a:pt x="387" y="34"/>
                  </a:cubicBezTo>
                  <a:cubicBezTo>
                    <a:pt x="387" y="34"/>
                    <a:pt x="385" y="37"/>
                    <a:pt x="383" y="41"/>
                  </a:cubicBezTo>
                  <a:cubicBezTo>
                    <a:pt x="382" y="46"/>
                    <a:pt x="368" y="58"/>
                    <a:pt x="362" y="60"/>
                  </a:cubicBezTo>
                  <a:cubicBezTo>
                    <a:pt x="355" y="63"/>
                    <a:pt x="351" y="49"/>
                    <a:pt x="347" y="38"/>
                  </a:cubicBezTo>
                  <a:cubicBezTo>
                    <a:pt x="345" y="31"/>
                    <a:pt x="336" y="29"/>
                    <a:pt x="327" y="28"/>
                  </a:cubicBezTo>
                  <a:cubicBezTo>
                    <a:pt x="324" y="30"/>
                    <a:pt x="321" y="32"/>
                    <a:pt x="319" y="33"/>
                  </a:cubicBezTo>
                  <a:cubicBezTo>
                    <a:pt x="312" y="38"/>
                    <a:pt x="292" y="43"/>
                    <a:pt x="292" y="43"/>
                  </a:cubicBezTo>
                  <a:cubicBezTo>
                    <a:pt x="267" y="45"/>
                    <a:pt x="267" y="45"/>
                    <a:pt x="267" y="45"/>
                  </a:cubicBezTo>
                  <a:cubicBezTo>
                    <a:pt x="267" y="45"/>
                    <a:pt x="239" y="62"/>
                    <a:pt x="230" y="63"/>
                  </a:cubicBezTo>
                  <a:cubicBezTo>
                    <a:pt x="221" y="64"/>
                    <a:pt x="219" y="53"/>
                    <a:pt x="219" y="53"/>
                  </a:cubicBezTo>
                  <a:cubicBezTo>
                    <a:pt x="209" y="56"/>
                    <a:pt x="209" y="56"/>
                    <a:pt x="209" y="56"/>
                  </a:cubicBezTo>
                  <a:cubicBezTo>
                    <a:pt x="190" y="44"/>
                    <a:pt x="190" y="44"/>
                    <a:pt x="190" y="44"/>
                  </a:cubicBezTo>
                  <a:cubicBezTo>
                    <a:pt x="190" y="44"/>
                    <a:pt x="173" y="59"/>
                    <a:pt x="169" y="65"/>
                  </a:cubicBezTo>
                  <a:cubicBezTo>
                    <a:pt x="165" y="71"/>
                    <a:pt x="176" y="76"/>
                    <a:pt x="178" y="84"/>
                  </a:cubicBezTo>
                  <a:cubicBezTo>
                    <a:pt x="180" y="92"/>
                    <a:pt x="171" y="110"/>
                    <a:pt x="171" y="112"/>
                  </a:cubicBezTo>
                  <a:cubicBezTo>
                    <a:pt x="171" y="114"/>
                    <a:pt x="160" y="114"/>
                    <a:pt x="160" y="114"/>
                  </a:cubicBezTo>
                  <a:cubicBezTo>
                    <a:pt x="160" y="114"/>
                    <a:pt x="151" y="127"/>
                    <a:pt x="151" y="128"/>
                  </a:cubicBezTo>
                  <a:cubicBezTo>
                    <a:pt x="150" y="130"/>
                    <a:pt x="138" y="123"/>
                    <a:pt x="138" y="123"/>
                  </a:cubicBezTo>
                  <a:cubicBezTo>
                    <a:pt x="136" y="130"/>
                    <a:pt x="136" y="130"/>
                    <a:pt x="136" y="130"/>
                  </a:cubicBezTo>
                  <a:cubicBezTo>
                    <a:pt x="124" y="127"/>
                    <a:pt x="124" y="127"/>
                    <a:pt x="124" y="127"/>
                  </a:cubicBezTo>
                  <a:cubicBezTo>
                    <a:pt x="124" y="127"/>
                    <a:pt x="118" y="142"/>
                    <a:pt x="105" y="145"/>
                  </a:cubicBezTo>
                  <a:cubicBezTo>
                    <a:pt x="92" y="148"/>
                    <a:pt x="92" y="138"/>
                    <a:pt x="82" y="137"/>
                  </a:cubicBezTo>
                  <a:cubicBezTo>
                    <a:pt x="72" y="136"/>
                    <a:pt x="73" y="120"/>
                    <a:pt x="73" y="113"/>
                  </a:cubicBezTo>
                  <a:cubicBezTo>
                    <a:pt x="73" y="107"/>
                    <a:pt x="65" y="99"/>
                    <a:pt x="65" y="99"/>
                  </a:cubicBezTo>
                  <a:cubicBezTo>
                    <a:pt x="59" y="102"/>
                    <a:pt x="59" y="102"/>
                    <a:pt x="59" y="102"/>
                  </a:cubicBezTo>
                  <a:cubicBezTo>
                    <a:pt x="61" y="106"/>
                    <a:pt x="61" y="106"/>
                    <a:pt x="61" y="106"/>
                  </a:cubicBezTo>
                  <a:cubicBezTo>
                    <a:pt x="61" y="106"/>
                    <a:pt x="38" y="126"/>
                    <a:pt x="32" y="126"/>
                  </a:cubicBezTo>
                  <a:cubicBezTo>
                    <a:pt x="26" y="126"/>
                    <a:pt x="23" y="126"/>
                    <a:pt x="23" y="126"/>
                  </a:cubicBezTo>
                  <a:cubicBezTo>
                    <a:pt x="20" y="145"/>
                    <a:pt x="20" y="145"/>
                    <a:pt x="20" y="145"/>
                  </a:cubicBezTo>
                  <a:cubicBezTo>
                    <a:pt x="0" y="167"/>
                    <a:pt x="0" y="167"/>
                    <a:pt x="0" y="167"/>
                  </a:cubicBezTo>
                  <a:cubicBezTo>
                    <a:pt x="0" y="167"/>
                    <a:pt x="1" y="183"/>
                    <a:pt x="10" y="183"/>
                  </a:cubicBezTo>
                  <a:cubicBezTo>
                    <a:pt x="20" y="184"/>
                    <a:pt x="30" y="187"/>
                    <a:pt x="30" y="187"/>
                  </a:cubicBezTo>
                  <a:cubicBezTo>
                    <a:pt x="19" y="198"/>
                    <a:pt x="19" y="198"/>
                    <a:pt x="19" y="198"/>
                  </a:cubicBezTo>
                  <a:cubicBezTo>
                    <a:pt x="29" y="204"/>
                    <a:pt x="29" y="204"/>
                    <a:pt x="29" y="204"/>
                  </a:cubicBezTo>
                  <a:cubicBezTo>
                    <a:pt x="17" y="210"/>
                    <a:pt x="17" y="210"/>
                    <a:pt x="17" y="210"/>
                  </a:cubicBezTo>
                  <a:cubicBezTo>
                    <a:pt x="15" y="226"/>
                    <a:pt x="15" y="226"/>
                    <a:pt x="15" y="226"/>
                  </a:cubicBezTo>
                  <a:cubicBezTo>
                    <a:pt x="15" y="226"/>
                    <a:pt x="30" y="233"/>
                    <a:pt x="27" y="241"/>
                  </a:cubicBezTo>
                  <a:cubicBezTo>
                    <a:pt x="25" y="250"/>
                    <a:pt x="14" y="265"/>
                    <a:pt x="15" y="265"/>
                  </a:cubicBezTo>
                  <a:cubicBezTo>
                    <a:pt x="17" y="265"/>
                    <a:pt x="31" y="268"/>
                    <a:pt x="31" y="268"/>
                  </a:cubicBezTo>
                  <a:cubicBezTo>
                    <a:pt x="19" y="276"/>
                    <a:pt x="19" y="276"/>
                    <a:pt x="19" y="276"/>
                  </a:cubicBezTo>
                  <a:cubicBezTo>
                    <a:pt x="37" y="291"/>
                    <a:pt x="37" y="291"/>
                    <a:pt x="37" y="291"/>
                  </a:cubicBezTo>
                  <a:cubicBezTo>
                    <a:pt x="37" y="291"/>
                    <a:pt x="29" y="307"/>
                    <a:pt x="26" y="317"/>
                  </a:cubicBezTo>
                  <a:cubicBezTo>
                    <a:pt x="23" y="327"/>
                    <a:pt x="21" y="330"/>
                    <a:pt x="21" y="330"/>
                  </a:cubicBezTo>
                  <a:cubicBezTo>
                    <a:pt x="46" y="355"/>
                    <a:pt x="46" y="355"/>
                    <a:pt x="46" y="355"/>
                  </a:cubicBezTo>
                  <a:cubicBezTo>
                    <a:pt x="37" y="361"/>
                    <a:pt x="37" y="361"/>
                    <a:pt x="37" y="361"/>
                  </a:cubicBezTo>
                  <a:cubicBezTo>
                    <a:pt x="36" y="387"/>
                    <a:pt x="36" y="387"/>
                    <a:pt x="36" y="387"/>
                  </a:cubicBezTo>
                  <a:cubicBezTo>
                    <a:pt x="44" y="393"/>
                    <a:pt x="44" y="393"/>
                    <a:pt x="44" y="393"/>
                  </a:cubicBezTo>
                  <a:cubicBezTo>
                    <a:pt x="44" y="393"/>
                    <a:pt x="32" y="400"/>
                    <a:pt x="32" y="401"/>
                  </a:cubicBezTo>
                  <a:cubicBezTo>
                    <a:pt x="32" y="402"/>
                    <a:pt x="35" y="409"/>
                    <a:pt x="35" y="409"/>
                  </a:cubicBezTo>
                  <a:cubicBezTo>
                    <a:pt x="35" y="409"/>
                    <a:pt x="55" y="390"/>
                    <a:pt x="61" y="390"/>
                  </a:cubicBezTo>
                  <a:cubicBezTo>
                    <a:pt x="67" y="389"/>
                    <a:pt x="93" y="378"/>
                    <a:pt x="99" y="372"/>
                  </a:cubicBezTo>
                  <a:cubicBezTo>
                    <a:pt x="104" y="366"/>
                    <a:pt x="128" y="351"/>
                    <a:pt x="128" y="351"/>
                  </a:cubicBezTo>
                  <a:cubicBezTo>
                    <a:pt x="128" y="351"/>
                    <a:pt x="168" y="338"/>
                    <a:pt x="169" y="350"/>
                  </a:cubicBezTo>
                  <a:cubicBezTo>
                    <a:pt x="169" y="363"/>
                    <a:pt x="164" y="366"/>
                    <a:pt x="164" y="366"/>
                  </a:cubicBezTo>
                  <a:cubicBezTo>
                    <a:pt x="192" y="379"/>
                    <a:pt x="192" y="379"/>
                    <a:pt x="192" y="379"/>
                  </a:cubicBezTo>
                  <a:cubicBezTo>
                    <a:pt x="192" y="379"/>
                    <a:pt x="200" y="370"/>
                    <a:pt x="211" y="372"/>
                  </a:cubicBezTo>
                  <a:cubicBezTo>
                    <a:pt x="222" y="374"/>
                    <a:pt x="256" y="400"/>
                    <a:pt x="256" y="400"/>
                  </a:cubicBezTo>
                  <a:cubicBezTo>
                    <a:pt x="256" y="400"/>
                    <a:pt x="281" y="406"/>
                    <a:pt x="282" y="404"/>
                  </a:cubicBezTo>
                  <a:cubicBezTo>
                    <a:pt x="283" y="403"/>
                    <a:pt x="287" y="397"/>
                    <a:pt x="287" y="397"/>
                  </a:cubicBezTo>
                  <a:cubicBezTo>
                    <a:pt x="321" y="423"/>
                    <a:pt x="321" y="423"/>
                    <a:pt x="321" y="423"/>
                  </a:cubicBezTo>
                  <a:cubicBezTo>
                    <a:pt x="321" y="436"/>
                    <a:pt x="321" y="436"/>
                    <a:pt x="321" y="436"/>
                  </a:cubicBezTo>
                  <a:cubicBezTo>
                    <a:pt x="338" y="436"/>
                    <a:pt x="338" y="436"/>
                    <a:pt x="338" y="436"/>
                  </a:cubicBezTo>
                  <a:cubicBezTo>
                    <a:pt x="338" y="436"/>
                    <a:pt x="341" y="427"/>
                    <a:pt x="349" y="430"/>
                  </a:cubicBezTo>
                  <a:cubicBezTo>
                    <a:pt x="357" y="432"/>
                    <a:pt x="410" y="452"/>
                    <a:pt x="407" y="461"/>
                  </a:cubicBezTo>
                  <a:cubicBezTo>
                    <a:pt x="405" y="470"/>
                    <a:pt x="392" y="487"/>
                    <a:pt x="392" y="487"/>
                  </a:cubicBezTo>
                  <a:cubicBezTo>
                    <a:pt x="385" y="487"/>
                    <a:pt x="385" y="487"/>
                    <a:pt x="385" y="487"/>
                  </a:cubicBezTo>
                  <a:cubicBezTo>
                    <a:pt x="380" y="498"/>
                    <a:pt x="380" y="498"/>
                    <a:pt x="380" y="498"/>
                  </a:cubicBezTo>
                  <a:cubicBezTo>
                    <a:pt x="388" y="508"/>
                    <a:pt x="388" y="508"/>
                    <a:pt x="388" y="508"/>
                  </a:cubicBezTo>
                  <a:cubicBezTo>
                    <a:pt x="370" y="509"/>
                    <a:pt x="370" y="509"/>
                    <a:pt x="370" y="509"/>
                  </a:cubicBezTo>
                  <a:cubicBezTo>
                    <a:pt x="364" y="535"/>
                    <a:pt x="364" y="535"/>
                    <a:pt x="364" y="535"/>
                  </a:cubicBezTo>
                  <a:cubicBezTo>
                    <a:pt x="392" y="562"/>
                    <a:pt x="392" y="562"/>
                    <a:pt x="392" y="562"/>
                  </a:cubicBezTo>
                  <a:cubicBezTo>
                    <a:pt x="387" y="571"/>
                    <a:pt x="387" y="571"/>
                    <a:pt x="387" y="571"/>
                  </a:cubicBezTo>
                  <a:cubicBezTo>
                    <a:pt x="417" y="589"/>
                    <a:pt x="417" y="589"/>
                    <a:pt x="417" y="589"/>
                  </a:cubicBezTo>
                  <a:cubicBezTo>
                    <a:pt x="417" y="589"/>
                    <a:pt x="417" y="589"/>
                    <a:pt x="417" y="589"/>
                  </a:cubicBezTo>
                  <a:cubicBezTo>
                    <a:pt x="421" y="591"/>
                    <a:pt x="421" y="591"/>
                    <a:pt x="421" y="591"/>
                  </a:cubicBezTo>
                  <a:cubicBezTo>
                    <a:pt x="421" y="592"/>
                    <a:pt x="421" y="592"/>
                    <a:pt x="421" y="592"/>
                  </a:cubicBezTo>
                  <a:cubicBezTo>
                    <a:pt x="421" y="592"/>
                    <a:pt x="422" y="592"/>
                    <a:pt x="423" y="592"/>
                  </a:cubicBezTo>
                  <a:cubicBezTo>
                    <a:pt x="424" y="589"/>
                    <a:pt x="427" y="581"/>
                    <a:pt x="432" y="574"/>
                  </a:cubicBezTo>
                  <a:cubicBezTo>
                    <a:pt x="438" y="566"/>
                    <a:pt x="453" y="555"/>
                    <a:pt x="453" y="555"/>
                  </a:cubicBezTo>
                  <a:cubicBezTo>
                    <a:pt x="453" y="555"/>
                    <a:pt x="445" y="530"/>
                    <a:pt x="446" y="530"/>
                  </a:cubicBezTo>
                  <a:cubicBezTo>
                    <a:pt x="447" y="530"/>
                    <a:pt x="460" y="475"/>
                    <a:pt x="460" y="469"/>
                  </a:cubicBezTo>
                  <a:cubicBezTo>
                    <a:pt x="461" y="463"/>
                    <a:pt x="471" y="440"/>
                    <a:pt x="471" y="440"/>
                  </a:cubicBezTo>
                  <a:cubicBezTo>
                    <a:pt x="464" y="432"/>
                    <a:pt x="464" y="432"/>
                    <a:pt x="464" y="432"/>
                  </a:cubicBezTo>
                  <a:cubicBezTo>
                    <a:pt x="464" y="432"/>
                    <a:pt x="461" y="382"/>
                    <a:pt x="462" y="382"/>
                  </a:cubicBezTo>
                  <a:cubicBezTo>
                    <a:pt x="463" y="381"/>
                    <a:pt x="456" y="377"/>
                    <a:pt x="456" y="372"/>
                  </a:cubicBezTo>
                  <a:cubicBezTo>
                    <a:pt x="456" y="366"/>
                    <a:pt x="460" y="364"/>
                    <a:pt x="460" y="364"/>
                  </a:cubicBezTo>
                  <a:cubicBezTo>
                    <a:pt x="467" y="326"/>
                    <a:pt x="467" y="326"/>
                    <a:pt x="467" y="326"/>
                  </a:cubicBezTo>
                  <a:cubicBezTo>
                    <a:pt x="461" y="316"/>
                    <a:pt x="461" y="316"/>
                    <a:pt x="461" y="316"/>
                  </a:cubicBezTo>
                  <a:cubicBezTo>
                    <a:pt x="469" y="309"/>
                    <a:pt x="469" y="309"/>
                    <a:pt x="469" y="309"/>
                  </a:cubicBezTo>
                  <a:cubicBezTo>
                    <a:pt x="465" y="283"/>
                    <a:pt x="465" y="283"/>
                    <a:pt x="465" y="283"/>
                  </a:cubicBezTo>
                  <a:cubicBezTo>
                    <a:pt x="485" y="266"/>
                    <a:pt x="485" y="266"/>
                    <a:pt x="485" y="266"/>
                  </a:cubicBezTo>
                  <a:cubicBezTo>
                    <a:pt x="496" y="271"/>
                    <a:pt x="496" y="271"/>
                    <a:pt x="496" y="271"/>
                  </a:cubicBezTo>
                  <a:cubicBezTo>
                    <a:pt x="496" y="271"/>
                    <a:pt x="526" y="242"/>
                    <a:pt x="539" y="217"/>
                  </a:cubicBezTo>
                  <a:cubicBezTo>
                    <a:pt x="544" y="209"/>
                    <a:pt x="551" y="197"/>
                    <a:pt x="558" y="185"/>
                  </a:cubicBezTo>
                  <a:cubicBezTo>
                    <a:pt x="535" y="184"/>
                    <a:pt x="535" y="184"/>
                    <a:pt x="535" y="184"/>
                  </a:cubicBezTo>
                  <a:lnTo>
                    <a:pt x="530" y="17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43" name="Freeform 325">
              <a:extLst>
                <a:ext uri="{FF2B5EF4-FFF2-40B4-BE49-F238E27FC236}">
                  <a16:creationId xmlns:a16="http://schemas.microsoft.com/office/drawing/2014/main" id="{D1CBD55F-6630-4FB9-8AAC-773EFA50EC33}"/>
                </a:ext>
              </a:extLst>
            </p:cNvPr>
            <p:cNvSpPr>
              <a:spLocks noChangeAspect="1"/>
            </p:cNvSpPr>
            <p:nvPr/>
          </p:nvSpPr>
          <p:spPr bwMode="auto">
            <a:xfrm>
              <a:off x="11527" y="1760"/>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92D05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44" name="Freeform 323">
              <a:extLst>
                <a:ext uri="{FF2B5EF4-FFF2-40B4-BE49-F238E27FC236}">
                  <a16:creationId xmlns:a16="http://schemas.microsoft.com/office/drawing/2014/main" id="{C162C530-4E58-4CBC-AC97-402DC18BB93B}"/>
                </a:ext>
              </a:extLst>
            </p:cNvPr>
            <p:cNvSpPr>
              <a:spLocks noChangeAspect="1"/>
            </p:cNvSpPr>
            <p:nvPr/>
          </p:nvSpPr>
          <p:spPr bwMode="auto">
            <a:xfrm>
              <a:off x="11848" y="564"/>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grpSp>
      <p:grpSp>
        <p:nvGrpSpPr>
          <p:cNvPr id="145" name="Group 345">
            <a:extLst>
              <a:ext uri="{FF2B5EF4-FFF2-40B4-BE49-F238E27FC236}">
                <a16:creationId xmlns:a16="http://schemas.microsoft.com/office/drawing/2014/main" id="{B9C94488-AFA3-4D2D-A2C4-AD3705941EC5}"/>
              </a:ext>
            </a:extLst>
          </p:cNvPr>
          <p:cNvGrpSpPr>
            <a:grpSpLocks noChangeAspect="1"/>
          </p:cNvGrpSpPr>
          <p:nvPr/>
        </p:nvGrpSpPr>
        <p:grpSpPr bwMode="auto">
          <a:xfrm>
            <a:off x="8960994" y="1636070"/>
            <a:ext cx="1392425" cy="1597569"/>
            <a:chOff x="10105" y="200"/>
            <a:chExt cx="4730" cy="4710"/>
          </a:xfrm>
          <a:solidFill>
            <a:schemeClr val="bg1">
              <a:lumMod val="75000"/>
            </a:schemeClr>
          </a:solidFill>
        </p:grpSpPr>
        <p:sp>
          <p:nvSpPr>
            <p:cNvPr id="146" name="Freeform 318">
              <a:extLst>
                <a:ext uri="{FF2B5EF4-FFF2-40B4-BE49-F238E27FC236}">
                  <a16:creationId xmlns:a16="http://schemas.microsoft.com/office/drawing/2014/main" id="{6DB9663C-D0B5-4284-A519-32154C56F158}"/>
                </a:ext>
              </a:extLst>
            </p:cNvPr>
            <p:cNvSpPr>
              <a:spLocks noChangeAspect="1"/>
            </p:cNvSpPr>
            <p:nvPr/>
          </p:nvSpPr>
          <p:spPr bwMode="auto">
            <a:xfrm>
              <a:off x="10105" y="1698"/>
              <a:ext cx="878" cy="494"/>
            </a:xfrm>
            <a:custGeom>
              <a:avLst/>
              <a:gdLst/>
              <a:ahLst/>
              <a:cxnLst>
                <a:cxn ang="0">
                  <a:pos x="364" y="133"/>
                </a:cxn>
                <a:cxn ang="0">
                  <a:pos x="353" y="134"/>
                </a:cxn>
                <a:cxn ang="0">
                  <a:pos x="296" y="101"/>
                </a:cxn>
                <a:cxn ang="0">
                  <a:pos x="216" y="58"/>
                </a:cxn>
                <a:cxn ang="0">
                  <a:pos x="87" y="31"/>
                </a:cxn>
                <a:cxn ang="0">
                  <a:pos x="13" y="0"/>
                </a:cxn>
                <a:cxn ang="0">
                  <a:pos x="15" y="9"/>
                </a:cxn>
                <a:cxn ang="0">
                  <a:pos x="2" y="14"/>
                </a:cxn>
                <a:cxn ang="0">
                  <a:pos x="0" y="25"/>
                </a:cxn>
                <a:cxn ang="0">
                  <a:pos x="18" y="39"/>
                </a:cxn>
                <a:cxn ang="0">
                  <a:pos x="10" y="47"/>
                </a:cxn>
                <a:cxn ang="0">
                  <a:pos x="21" y="55"/>
                </a:cxn>
                <a:cxn ang="0">
                  <a:pos x="23" y="66"/>
                </a:cxn>
                <a:cxn ang="0">
                  <a:pos x="39" y="81"/>
                </a:cxn>
                <a:cxn ang="0">
                  <a:pos x="40" y="92"/>
                </a:cxn>
                <a:cxn ang="0">
                  <a:pos x="51" y="97"/>
                </a:cxn>
                <a:cxn ang="0">
                  <a:pos x="65" y="117"/>
                </a:cxn>
                <a:cxn ang="0">
                  <a:pos x="48" y="137"/>
                </a:cxn>
                <a:cxn ang="0">
                  <a:pos x="99" y="145"/>
                </a:cxn>
                <a:cxn ang="0">
                  <a:pos x="108" y="173"/>
                </a:cxn>
                <a:cxn ang="0">
                  <a:pos x="163" y="173"/>
                </a:cxn>
                <a:cxn ang="0">
                  <a:pos x="206" y="140"/>
                </a:cxn>
                <a:cxn ang="0">
                  <a:pos x="206" y="151"/>
                </a:cxn>
                <a:cxn ang="0">
                  <a:pos x="208" y="158"/>
                </a:cxn>
                <a:cxn ang="0">
                  <a:pos x="202" y="165"/>
                </a:cxn>
                <a:cxn ang="0">
                  <a:pos x="200" y="233"/>
                </a:cxn>
                <a:cxn ang="0">
                  <a:pos x="207" y="228"/>
                </a:cxn>
                <a:cxn ang="0">
                  <a:pos x="218" y="238"/>
                </a:cxn>
                <a:cxn ang="0">
                  <a:pos x="242" y="229"/>
                </a:cxn>
                <a:cxn ang="0">
                  <a:pos x="276" y="229"/>
                </a:cxn>
                <a:cxn ang="0">
                  <a:pos x="313" y="233"/>
                </a:cxn>
                <a:cxn ang="0">
                  <a:pos x="320" y="247"/>
                </a:cxn>
                <a:cxn ang="0">
                  <a:pos x="345" y="232"/>
                </a:cxn>
                <a:cxn ang="0">
                  <a:pos x="355" y="214"/>
                </a:cxn>
                <a:cxn ang="0">
                  <a:pos x="373" y="216"/>
                </a:cxn>
                <a:cxn ang="0">
                  <a:pos x="398" y="196"/>
                </a:cxn>
                <a:cxn ang="0">
                  <a:pos x="419" y="192"/>
                </a:cxn>
                <a:cxn ang="0">
                  <a:pos x="439" y="170"/>
                </a:cxn>
                <a:cxn ang="0">
                  <a:pos x="439" y="170"/>
                </a:cxn>
                <a:cxn ang="0">
                  <a:pos x="433" y="163"/>
                </a:cxn>
                <a:cxn ang="0">
                  <a:pos x="364" y="133"/>
                </a:cxn>
              </a:cxnLst>
              <a:rect l="0" t="0" r="r" b="b"/>
              <a:pathLst>
                <a:path w="439" h="247">
                  <a:moveTo>
                    <a:pt x="364" y="133"/>
                  </a:moveTo>
                  <a:cubicBezTo>
                    <a:pt x="364" y="133"/>
                    <a:pt x="355" y="134"/>
                    <a:pt x="353" y="134"/>
                  </a:cubicBezTo>
                  <a:cubicBezTo>
                    <a:pt x="352" y="134"/>
                    <a:pt x="312" y="108"/>
                    <a:pt x="296" y="101"/>
                  </a:cubicBezTo>
                  <a:cubicBezTo>
                    <a:pt x="280" y="94"/>
                    <a:pt x="216" y="58"/>
                    <a:pt x="216" y="58"/>
                  </a:cubicBezTo>
                  <a:cubicBezTo>
                    <a:pt x="216" y="58"/>
                    <a:pt x="104" y="34"/>
                    <a:pt x="87" y="31"/>
                  </a:cubicBezTo>
                  <a:cubicBezTo>
                    <a:pt x="74" y="29"/>
                    <a:pt x="32" y="9"/>
                    <a:pt x="13" y="0"/>
                  </a:cubicBezTo>
                  <a:cubicBezTo>
                    <a:pt x="14" y="4"/>
                    <a:pt x="15" y="8"/>
                    <a:pt x="15" y="9"/>
                  </a:cubicBezTo>
                  <a:cubicBezTo>
                    <a:pt x="2" y="14"/>
                    <a:pt x="2" y="14"/>
                    <a:pt x="2" y="14"/>
                  </a:cubicBezTo>
                  <a:cubicBezTo>
                    <a:pt x="2" y="14"/>
                    <a:pt x="0" y="19"/>
                    <a:pt x="0" y="25"/>
                  </a:cubicBezTo>
                  <a:cubicBezTo>
                    <a:pt x="0" y="32"/>
                    <a:pt x="18" y="39"/>
                    <a:pt x="18" y="39"/>
                  </a:cubicBezTo>
                  <a:cubicBezTo>
                    <a:pt x="18" y="39"/>
                    <a:pt x="11" y="46"/>
                    <a:pt x="10" y="47"/>
                  </a:cubicBezTo>
                  <a:cubicBezTo>
                    <a:pt x="10" y="48"/>
                    <a:pt x="21" y="55"/>
                    <a:pt x="21" y="55"/>
                  </a:cubicBezTo>
                  <a:cubicBezTo>
                    <a:pt x="21" y="55"/>
                    <a:pt x="20" y="57"/>
                    <a:pt x="23" y="66"/>
                  </a:cubicBezTo>
                  <a:cubicBezTo>
                    <a:pt x="25" y="76"/>
                    <a:pt x="39" y="81"/>
                    <a:pt x="39" y="81"/>
                  </a:cubicBezTo>
                  <a:cubicBezTo>
                    <a:pt x="40" y="92"/>
                    <a:pt x="40" y="92"/>
                    <a:pt x="40" y="92"/>
                  </a:cubicBezTo>
                  <a:cubicBezTo>
                    <a:pt x="51" y="97"/>
                    <a:pt x="51" y="97"/>
                    <a:pt x="51" y="97"/>
                  </a:cubicBezTo>
                  <a:cubicBezTo>
                    <a:pt x="65" y="117"/>
                    <a:pt x="65" y="117"/>
                    <a:pt x="65" y="117"/>
                  </a:cubicBezTo>
                  <a:cubicBezTo>
                    <a:pt x="48" y="137"/>
                    <a:pt x="48" y="137"/>
                    <a:pt x="48" y="137"/>
                  </a:cubicBezTo>
                  <a:cubicBezTo>
                    <a:pt x="48" y="137"/>
                    <a:pt x="86" y="141"/>
                    <a:pt x="99" y="145"/>
                  </a:cubicBezTo>
                  <a:cubicBezTo>
                    <a:pt x="112" y="149"/>
                    <a:pt x="108" y="173"/>
                    <a:pt x="108" y="173"/>
                  </a:cubicBezTo>
                  <a:cubicBezTo>
                    <a:pt x="163" y="173"/>
                    <a:pt x="163" y="173"/>
                    <a:pt x="163" y="173"/>
                  </a:cubicBezTo>
                  <a:cubicBezTo>
                    <a:pt x="206" y="140"/>
                    <a:pt x="206" y="140"/>
                    <a:pt x="206" y="140"/>
                  </a:cubicBezTo>
                  <a:cubicBezTo>
                    <a:pt x="206" y="151"/>
                    <a:pt x="206" y="151"/>
                    <a:pt x="206" y="151"/>
                  </a:cubicBezTo>
                  <a:cubicBezTo>
                    <a:pt x="208" y="158"/>
                    <a:pt x="208" y="158"/>
                    <a:pt x="208" y="158"/>
                  </a:cubicBezTo>
                  <a:cubicBezTo>
                    <a:pt x="202" y="165"/>
                    <a:pt x="202" y="165"/>
                    <a:pt x="202" y="165"/>
                  </a:cubicBezTo>
                  <a:cubicBezTo>
                    <a:pt x="200" y="233"/>
                    <a:pt x="200" y="233"/>
                    <a:pt x="200" y="233"/>
                  </a:cubicBezTo>
                  <a:cubicBezTo>
                    <a:pt x="207" y="228"/>
                    <a:pt x="207" y="228"/>
                    <a:pt x="207" y="228"/>
                  </a:cubicBezTo>
                  <a:cubicBezTo>
                    <a:pt x="218" y="238"/>
                    <a:pt x="218" y="238"/>
                    <a:pt x="218" y="238"/>
                  </a:cubicBezTo>
                  <a:cubicBezTo>
                    <a:pt x="242" y="229"/>
                    <a:pt x="242" y="229"/>
                    <a:pt x="242" y="229"/>
                  </a:cubicBezTo>
                  <a:cubicBezTo>
                    <a:pt x="242" y="229"/>
                    <a:pt x="270" y="229"/>
                    <a:pt x="276" y="229"/>
                  </a:cubicBezTo>
                  <a:cubicBezTo>
                    <a:pt x="281" y="229"/>
                    <a:pt x="312" y="233"/>
                    <a:pt x="313" y="233"/>
                  </a:cubicBezTo>
                  <a:cubicBezTo>
                    <a:pt x="314" y="232"/>
                    <a:pt x="320" y="247"/>
                    <a:pt x="320" y="247"/>
                  </a:cubicBezTo>
                  <a:cubicBezTo>
                    <a:pt x="320" y="247"/>
                    <a:pt x="327" y="238"/>
                    <a:pt x="345" y="232"/>
                  </a:cubicBezTo>
                  <a:cubicBezTo>
                    <a:pt x="364" y="225"/>
                    <a:pt x="355" y="214"/>
                    <a:pt x="355" y="214"/>
                  </a:cubicBezTo>
                  <a:cubicBezTo>
                    <a:pt x="355" y="214"/>
                    <a:pt x="372" y="215"/>
                    <a:pt x="373" y="216"/>
                  </a:cubicBezTo>
                  <a:cubicBezTo>
                    <a:pt x="374" y="215"/>
                    <a:pt x="390" y="201"/>
                    <a:pt x="398" y="196"/>
                  </a:cubicBezTo>
                  <a:cubicBezTo>
                    <a:pt x="407" y="190"/>
                    <a:pt x="419" y="192"/>
                    <a:pt x="419" y="192"/>
                  </a:cubicBezTo>
                  <a:cubicBezTo>
                    <a:pt x="419" y="192"/>
                    <a:pt x="435" y="173"/>
                    <a:pt x="439" y="170"/>
                  </a:cubicBezTo>
                  <a:cubicBezTo>
                    <a:pt x="439" y="170"/>
                    <a:pt x="439" y="170"/>
                    <a:pt x="439" y="170"/>
                  </a:cubicBezTo>
                  <a:cubicBezTo>
                    <a:pt x="433" y="163"/>
                    <a:pt x="433" y="163"/>
                    <a:pt x="433" y="163"/>
                  </a:cubicBezTo>
                  <a:lnTo>
                    <a:pt x="364" y="133"/>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47" name="Freeform 319">
              <a:extLst>
                <a:ext uri="{FF2B5EF4-FFF2-40B4-BE49-F238E27FC236}">
                  <a16:creationId xmlns:a16="http://schemas.microsoft.com/office/drawing/2014/main" id="{0EB74261-4DC7-48D8-AF12-21E87D559022}"/>
                </a:ext>
              </a:extLst>
            </p:cNvPr>
            <p:cNvSpPr>
              <a:spLocks noChangeAspect="1"/>
            </p:cNvSpPr>
            <p:nvPr/>
          </p:nvSpPr>
          <p:spPr bwMode="auto">
            <a:xfrm>
              <a:off x="10967" y="1795"/>
              <a:ext cx="858" cy="692"/>
            </a:xfrm>
            <a:custGeom>
              <a:avLst/>
              <a:gdLst/>
              <a:ahLst/>
              <a:cxnLst>
                <a:cxn ang="0">
                  <a:pos x="279" y="40"/>
                </a:cxn>
                <a:cxn ang="0">
                  <a:pos x="272" y="28"/>
                </a:cxn>
                <a:cxn ang="0">
                  <a:pos x="251" y="20"/>
                </a:cxn>
                <a:cxn ang="0">
                  <a:pos x="191" y="0"/>
                </a:cxn>
                <a:cxn ang="0">
                  <a:pos x="187" y="22"/>
                </a:cxn>
                <a:cxn ang="0">
                  <a:pos x="174" y="43"/>
                </a:cxn>
                <a:cxn ang="0">
                  <a:pos x="162" y="64"/>
                </a:cxn>
                <a:cxn ang="0">
                  <a:pos x="132" y="68"/>
                </a:cxn>
                <a:cxn ang="0">
                  <a:pos x="115" y="72"/>
                </a:cxn>
                <a:cxn ang="0">
                  <a:pos x="102" y="90"/>
                </a:cxn>
                <a:cxn ang="0">
                  <a:pos x="84" y="81"/>
                </a:cxn>
                <a:cxn ang="0">
                  <a:pos x="75" y="91"/>
                </a:cxn>
                <a:cxn ang="0">
                  <a:pos x="50" y="86"/>
                </a:cxn>
                <a:cxn ang="0">
                  <a:pos x="24" y="97"/>
                </a:cxn>
                <a:cxn ang="0">
                  <a:pos x="0" y="113"/>
                </a:cxn>
                <a:cxn ang="0">
                  <a:pos x="9" y="121"/>
                </a:cxn>
                <a:cxn ang="0">
                  <a:pos x="74" y="115"/>
                </a:cxn>
                <a:cxn ang="0">
                  <a:pos x="98" y="114"/>
                </a:cxn>
                <a:cxn ang="0">
                  <a:pos x="96" y="136"/>
                </a:cxn>
                <a:cxn ang="0">
                  <a:pos x="98" y="183"/>
                </a:cxn>
                <a:cxn ang="0">
                  <a:pos x="96" y="227"/>
                </a:cxn>
                <a:cxn ang="0">
                  <a:pos x="104" y="241"/>
                </a:cxn>
                <a:cxn ang="0">
                  <a:pos x="138" y="258"/>
                </a:cxn>
                <a:cxn ang="0">
                  <a:pos x="164" y="274"/>
                </a:cxn>
                <a:cxn ang="0">
                  <a:pos x="207" y="287"/>
                </a:cxn>
                <a:cxn ang="0">
                  <a:pos x="258" y="309"/>
                </a:cxn>
                <a:cxn ang="0">
                  <a:pos x="299" y="336"/>
                </a:cxn>
                <a:cxn ang="0">
                  <a:pos x="369" y="346"/>
                </a:cxn>
                <a:cxn ang="0">
                  <a:pos x="392" y="309"/>
                </a:cxn>
                <a:cxn ang="0">
                  <a:pos x="406" y="281"/>
                </a:cxn>
                <a:cxn ang="0">
                  <a:pos x="417" y="250"/>
                </a:cxn>
                <a:cxn ang="0">
                  <a:pos x="406" y="236"/>
                </a:cxn>
                <a:cxn ang="0">
                  <a:pos x="422" y="206"/>
                </a:cxn>
                <a:cxn ang="0">
                  <a:pos x="394" y="190"/>
                </a:cxn>
                <a:cxn ang="0">
                  <a:pos x="319" y="180"/>
                </a:cxn>
                <a:cxn ang="0">
                  <a:pos x="316" y="133"/>
                </a:cxn>
                <a:cxn ang="0">
                  <a:pos x="318" y="108"/>
                </a:cxn>
                <a:cxn ang="0">
                  <a:pos x="319" y="91"/>
                </a:cxn>
                <a:cxn ang="0">
                  <a:pos x="321" y="78"/>
                </a:cxn>
                <a:cxn ang="0">
                  <a:pos x="318" y="54"/>
                </a:cxn>
                <a:cxn ang="0">
                  <a:pos x="290" y="52"/>
                </a:cxn>
              </a:cxnLst>
              <a:rect l="0" t="0" r="r" b="b"/>
              <a:pathLst>
                <a:path w="429" h="346">
                  <a:moveTo>
                    <a:pt x="290" y="52"/>
                  </a:moveTo>
                  <a:cubicBezTo>
                    <a:pt x="284" y="50"/>
                    <a:pt x="279" y="40"/>
                    <a:pt x="279" y="40"/>
                  </a:cubicBezTo>
                  <a:cubicBezTo>
                    <a:pt x="273" y="42"/>
                    <a:pt x="273" y="42"/>
                    <a:pt x="273" y="42"/>
                  </a:cubicBezTo>
                  <a:cubicBezTo>
                    <a:pt x="272" y="28"/>
                    <a:pt x="272" y="28"/>
                    <a:pt x="272" y="28"/>
                  </a:cubicBezTo>
                  <a:cubicBezTo>
                    <a:pt x="261" y="28"/>
                    <a:pt x="261" y="28"/>
                    <a:pt x="261" y="28"/>
                  </a:cubicBezTo>
                  <a:cubicBezTo>
                    <a:pt x="261" y="28"/>
                    <a:pt x="257" y="21"/>
                    <a:pt x="251" y="20"/>
                  </a:cubicBezTo>
                  <a:cubicBezTo>
                    <a:pt x="245" y="20"/>
                    <a:pt x="240" y="2"/>
                    <a:pt x="240" y="2"/>
                  </a:cubicBezTo>
                  <a:cubicBezTo>
                    <a:pt x="191" y="0"/>
                    <a:pt x="191" y="0"/>
                    <a:pt x="191" y="0"/>
                  </a:cubicBezTo>
                  <a:cubicBezTo>
                    <a:pt x="192" y="9"/>
                    <a:pt x="192" y="9"/>
                    <a:pt x="192" y="9"/>
                  </a:cubicBezTo>
                  <a:cubicBezTo>
                    <a:pt x="192" y="9"/>
                    <a:pt x="187" y="20"/>
                    <a:pt x="187" y="22"/>
                  </a:cubicBezTo>
                  <a:cubicBezTo>
                    <a:pt x="186" y="23"/>
                    <a:pt x="172" y="22"/>
                    <a:pt x="172" y="24"/>
                  </a:cubicBezTo>
                  <a:cubicBezTo>
                    <a:pt x="172" y="27"/>
                    <a:pt x="172" y="36"/>
                    <a:pt x="174" y="43"/>
                  </a:cubicBezTo>
                  <a:cubicBezTo>
                    <a:pt x="175" y="50"/>
                    <a:pt x="162" y="49"/>
                    <a:pt x="162" y="49"/>
                  </a:cubicBezTo>
                  <a:cubicBezTo>
                    <a:pt x="162" y="64"/>
                    <a:pt x="162" y="64"/>
                    <a:pt x="162" y="64"/>
                  </a:cubicBezTo>
                  <a:cubicBezTo>
                    <a:pt x="153" y="60"/>
                    <a:pt x="153" y="60"/>
                    <a:pt x="153" y="60"/>
                  </a:cubicBezTo>
                  <a:cubicBezTo>
                    <a:pt x="132" y="68"/>
                    <a:pt x="132" y="68"/>
                    <a:pt x="132" y="68"/>
                  </a:cubicBezTo>
                  <a:cubicBezTo>
                    <a:pt x="126" y="60"/>
                    <a:pt x="126" y="60"/>
                    <a:pt x="126" y="60"/>
                  </a:cubicBezTo>
                  <a:cubicBezTo>
                    <a:pt x="115" y="72"/>
                    <a:pt x="115" y="72"/>
                    <a:pt x="115" y="72"/>
                  </a:cubicBezTo>
                  <a:cubicBezTo>
                    <a:pt x="116" y="79"/>
                    <a:pt x="116" y="79"/>
                    <a:pt x="116" y="79"/>
                  </a:cubicBezTo>
                  <a:cubicBezTo>
                    <a:pt x="102" y="90"/>
                    <a:pt x="102" y="90"/>
                    <a:pt x="102" y="90"/>
                  </a:cubicBezTo>
                  <a:cubicBezTo>
                    <a:pt x="98" y="79"/>
                    <a:pt x="98" y="79"/>
                    <a:pt x="98" y="79"/>
                  </a:cubicBezTo>
                  <a:cubicBezTo>
                    <a:pt x="84" y="81"/>
                    <a:pt x="84" y="81"/>
                    <a:pt x="84" y="81"/>
                  </a:cubicBezTo>
                  <a:cubicBezTo>
                    <a:pt x="85" y="95"/>
                    <a:pt x="85" y="95"/>
                    <a:pt x="85" y="95"/>
                  </a:cubicBezTo>
                  <a:cubicBezTo>
                    <a:pt x="85" y="95"/>
                    <a:pt x="84" y="92"/>
                    <a:pt x="75" y="91"/>
                  </a:cubicBezTo>
                  <a:cubicBezTo>
                    <a:pt x="66" y="89"/>
                    <a:pt x="62" y="98"/>
                    <a:pt x="60" y="99"/>
                  </a:cubicBezTo>
                  <a:cubicBezTo>
                    <a:pt x="59" y="100"/>
                    <a:pt x="50" y="86"/>
                    <a:pt x="50" y="86"/>
                  </a:cubicBezTo>
                  <a:cubicBezTo>
                    <a:pt x="24" y="88"/>
                    <a:pt x="24" y="88"/>
                    <a:pt x="24" y="88"/>
                  </a:cubicBezTo>
                  <a:cubicBezTo>
                    <a:pt x="24" y="97"/>
                    <a:pt x="24" y="97"/>
                    <a:pt x="24" y="97"/>
                  </a:cubicBezTo>
                  <a:cubicBezTo>
                    <a:pt x="24" y="97"/>
                    <a:pt x="12" y="106"/>
                    <a:pt x="6" y="109"/>
                  </a:cubicBezTo>
                  <a:cubicBezTo>
                    <a:pt x="4" y="110"/>
                    <a:pt x="2" y="111"/>
                    <a:pt x="0" y="113"/>
                  </a:cubicBezTo>
                  <a:cubicBezTo>
                    <a:pt x="3" y="114"/>
                    <a:pt x="3" y="114"/>
                    <a:pt x="3" y="114"/>
                  </a:cubicBezTo>
                  <a:cubicBezTo>
                    <a:pt x="9" y="121"/>
                    <a:pt x="9" y="121"/>
                    <a:pt x="9" y="121"/>
                  </a:cubicBezTo>
                  <a:cubicBezTo>
                    <a:pt x="14" y="118"/>
                    <a:pt x="41" y="115"/>
                    <a:pt x="41" y="115"/>
                  </a:cubicBezTo>
                  <a:cubicBezTo>
                    <a:pt x="41" y="115"/>
                    <a:pt x="65" y="112"/>
                    <a:pt x="74" y="115"/>
                  </a:cubicBezTo>
                  <a:cubicBezTo>
                    <a:pt x="83" y="117"/>
                    <a:pt x="84" y="104"/>
                    <a:pt x="84" y="104"/>
                  </a:cubicBezTo>
                  <a:cubicBezTo>
                    <a:pt x="98" y="114"/>
                    <a:pt x="98" y="114"/>
                    <a:pt x="98" y="114"/>
                  </a:cubicBezTo>
                  <a:cubicBezTo>
                    <a:pt x="88" y="126"/>
                    <a:pt x="88" y="126"/>
                    <a:pt x="88" y="126"/>
                  </a:cubicBezTo>
                  <a:cubicBezTo>
                    <a:pt x="88" y="126"/>
                    <a:pt x="96" y="131"/>
                    <a:pt x="96" y="136"/>
                  </a:cubicBezTo>
                  <a:cubicBezTo>
                    <a:pt x="96" y="141"/>
                    <a:pt x="87" y="142"/>
                    <a:pt x="86" y="153"/>
                  </a:cubicBezTo>
                  <a:cubicBezTo>
                    <a:pt x="84" y="164"/>
                    <a:pt x="98" y="183"/>
                    <a:pt x="98" y="183"/>
                  </a:cubicBezTo>
                  <a:cubicBezTo>
                    <a:pt x="98" y="183"/>
                    <a:pt x="89" y="192"/>
                    <a:pt x="87" y="199"/>
                  </a:cubicBezTo>
                  <a:cubicBezTo>
                    <a:pt x="84" y="207"/>
                    <a:pt x="96" y="227"/>
                    <a:pt x="96" y="227"/>
                  </a:cubicBezTo>
                  <a:cubicBezTo>
                    <a:pt x="103" y="228"/>
                    <a:pt x="103" y="228"/>
                    <a:pt x="103" y="228"/>
                  </a:cubicBezTo>
                  <a:cubicBezTo>
                    <a:pt x="104" y="241"/>
                    <a:pt x="104" y="241"/>
                    <a:pt x="104" y="241"/>
                  </a:cubicBezTo>
                  <a:cubicBezTo>
                    <a:pt x="125" y="257"/>
                    <a:pt x="125" y="257"/>
                    <a:pt x="125" y="257"/>
                  </a:cubicBezTo>
                  <a:cubicBezTo>
                    <a:pt x="138" y="258"/>
                    <a:pt x="138" y="258"/>
                    <a:pt x="138" y="258"/>
                  </a:cubicBezTo>
                  <a:cubicBezTo>
                    <a:pt x="140" y="266"/>
                    <a:pt x="140" y="266"/>
                    <a:pt x="140" y="266"/>
                  </a:cubicBezTo>
                  <a:cubicBezTo>
                    <a:pt x="140" y="266"/>
                    <a:pt x="157" y="274"/>
                    <a:pt x="164" y="274"/>
                  </a:cubicBezTo>
                  <a:cubicBezTo>
                    <a:pt x="170" y="275"/>
                    <a:pt x="177" y="271"/>
                    <a:pt x="189" y="271"/>
                  </a:cubicBezTo>
                  <a:cubicBezTo>
                    <a:pt x="201" y="271"/>
                    <a:pt x="207" y="287"/>
                    <a:pt x="207" y="287"/>
                  </a:cubicBezTo>
                  <a:cubicBezTo>
                    <a:pt x="227" y="287"/>
                    <a:pt x="227" y="287"/>
                    <a:pt x="227" y="287"/>
                  </a:cubicBezTo>
                  <a:cubicBezTo>
                    <a:pt x="227" y="287"/>
                    <a:pt x="248" y="307"/>
                    <a:pt x="258" y="309"/>
                  </a:cubicBezTo>
                  <a:cubicBezTo>
                    <a:pt x="267" y="311"/>
                    <a:pt x="282" y="313"/>
                    <a:pt x="283" y="313"/>
                  </a:cubicBezTo>
                  <a:cubicBezTo>
                    <a:pt x="284" y="313"/>
                    <a:pt x="299" y="336"/>
                    <a:pt x="299" y="336"/>
                  </a:cubicBezTo>
                  <a:cubicBezTo>
                    <a:pt x="356" y="337"/>
                    <a:pt x="356" y="337"/>
                    <a:pt x="356" y="337"/>
                  </a:cubicBezTo>
                  <a:cubicBezTo>
                    <a:pt x="356" y="337"/>
                    <a:pt x="362" y="341"/>
                    <a:pt x="369" y="346"/>
                  </a:cubicBezTo>
                  <a:cubicBezTo>
                    <a:pt x="378" y="340"/>
                    <a:pt x="389" y="333"/>
                    <a:pt x="389" y="332"/>
                  </a:cubicBezTo>
                  <a:cubicBezTo>
                    <a:pt x="389" y="331"/>
                    <a:pt x="392" y="309"/>
                    <a:pt x="392" y="309"/>
                  </a:cubicBezTo>
                  <a:cubicBezTo>
                    <a:pt x="406" y="299"/>
                    <a:pt x="406" y="299"/>
                    <a:pt x="406" y="299"/>
                  </a:cubicBezTo>
                  <a:cubicBezTo>
                    <a:pt x="406" y="281"/>
                    <a:pt x="406" y="281"/>
                    <a:pt x="406" y="281"/>
                  </a:cubicBezTo>
                  <a:cubicBezTo>
                    <a:pt x="429" y="266"/>
                    <a:pt x="429" y="266"/>
                    <a:pt x="429" y="266"/>
                  </a:cubicBezTo>
                  <a:cubicBezTo>
                    <a:pt x="417" y="250"/>
                    <a:pt x="417" y="250"/>
                    <a:pt x="417" y="250"/>
                  </a:cubicBezTo>
                  <a:cubicBezTo>
                    <a:pt x="417" y="239"/>
                    <a:pt x="417" y="239"/>
                    <a:pt x="417" y="239"/>
                  </a:cubicBezTo>
                  <a:cubicBezTo>
                    <a:pt x="406" y="236"/>
                    <a:pt x="406" y="236"/>
                    <a:pt x="406" y="236"/>
                  </a:cubicBezTo>
                  <a:cubicBezTo>
                    <a:pt x="404" y="218"/>
                    <a:pt x="404" y="218"/>
                    <a:pt x="404" y="218"/>
                  </a:cubicBezTo>
                  <a:cubicBezTo>
                    <a:pt x="422" y="206"/>
                    <a:pt x="422" y="206"/>
                    <a:pt x="422" y="206"/>
                  </a:cubicBezTo>
                  <a:cubicBezTo>
                    <a:pt x="409" y="187"/>
                    <a:pt x="409" y="187"/>
                    <a:pt x="409" y="187"/>
                  </a:cubicBezTo>
                  <a:cubicBezTo>
                    <a:pt x="394" y="190"/>
                    <a:pt x="394" y="190"/>
                    <a:pt x="394" y="190"/>
                  </a:cubicBezTo>
                  <a:cubicBezTo>
                    <a:pt x="384" y="183"/>
                    <a:pt x="384" y="183"/>
                    <a:pt x="384" y="183"/>
                  </a:cubicBezTo>
                  <a:cubicBezTo>
                    <a:pt x="319" y="180"/>
                    <a:pt x="319" y="180"/>
                    <a:pt x="319" y="180"/>
                  </a:cubicBezTo>
                  <a:cubicBezTo>
                    <a:pt x="319" y="180"/>
                    <a:pt x="326" y="158"/>
                    <a:pt x="325" y="155"/>
                  </a:cubicBezTo>
                  <a:cubicBezTo>
                    <a:pt x="324" y="151"/>
                    <a:pt x="316" y="140"/>
                    <a:pt x="316" y="133"/>
                  </a:cubicBezTo>
                  <a:cubicBezTo>
                    <a:pt x="316" y="127"/>
                    <a:pt x="326" y="118"/>
                    <a:pt x="326" y="118"/>
                  </a:cubicBezTo>
                  <a:cubicBezTo>
                    <a:pt x="318" y="108"/>
                    <a:pt x="318" y="108"/>
                    <a:pt x="318" y="108"/>
                  </a:cubicBezTo>
                  <a:cubicBezTo>
                    <a:pt x="325" y="99"/>
                    <a:pt x="325" y="99"/>
                    <a:pt x="325" y="99"/>
                  </a:cubicBezTo>
                  <a:cubicBezTo>
                    <a:pt x="319" y="91"/>
                    <a:pt x="319" y="91"/>
                    <a:pt x="319" y="91"/>
                  </a:cubicBezTo>
                  <a:cubicBezTo>
                    <a:pt x="317" y="83"/>
                    <a:pt x="317" y="83"/>
                    <a:pt x="317" y="83"/>
                  </a:cubicBezTo>
                  <a:cubicBezTo>
                    <a:pt x="321" y="78"/>
                    <a:pt x="321" y="78"/>
                    <a:pt x="321" y="78"/>
                  </a:cubicBezTo>
                  <a:cubicBezTo>
                    <a:pt x="317" y="54"/>
                    <a:pt x="317" y="54"/>
                    <a:pt x="317" y="54"/>
                  </a:cubicBezTo>
                  <a:cubicBezTo>
                    <a:pt x="318" y="54"/>
                    <a:pt x="318" y="54"/>
                    <a:pt x="318" y="54"/>
                  </a:cubicBezTo>
                  <a:cubicBezTo>
                    <a:pt x="312" y="50"/>
                    <a:pt x="308" y="47"/>
                    <a:pt x="308" y="47"/>
                  </a:cubicBezTo>
                  <a:cubicBezTo>
                    <a:pt x="308" y="47"/>
                    <a:pt x="297" y="55"/>
                    <a:pt x="290" y="52"/>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48" name="Freeform 320">
              <a:extLst>
                <a:ext uri="{FF2B5EF4-FFF2-40B4-BE49-F238E27FC236}">
                  <a16:creationId xmlns:a16="http://schemas.microsoft.com/office/drawing/2014/main" id="{04F34B0B-8CC2-45C2-8634-82BF9DEDF2E6}"/>
                </a:ext>
              </a:extLst>
            </p:cNvPr>
            <p:cNvSpPr>
              <a:spLocks noChangeAspect="1"/>
            </p:cNvSpPr>
            <p:nvPr/>
          </p:nvSpPr>
          <p:spPr bwMode="auto">
            <a:xfrm>
              <a:off x="10129" y="564"/>
              <a:ext cx="2141" cy="1459"/>
            </a:xfrm>
            <a:custGeom>
              <a:avLst/>
              <a:gdLst/>
              <a:ahLst/>
              <a:cxnLst>
                <a:cxn ang="0">
                  <a:pos x="953" y="493"/>
                </a:cxn>
                <a:cxn ang="0">
                  <a:pos x="1049" y="274"/>
                </a:cxn>
                <a:cxn ang="0">
                  <a:pos x="1060" y="257"/>
                </a:cxn>
                <a:cxn ang="0">
                  <a:pos x="1030" y="258"/>
                </a:cxn>
                <a:cxn ang="0">
                  <a:pos x="992" y="241"/>
                </a:cxn>
                <a:cxn ang="0">
                  <a:pos x="962" y="225"/>
                </a:cxn>
                <a:cxn ang="0">
                  <a:pos x="942" y="210"/>
                </a:cxn>
                <a:cxn ang="0">
                  <a:pos x="918" y="189"/>
                </a:cxn>
                <a:cxn ang="0">
                  <a:pos x="901" y="159"/>
                </a:cxn>
                <a:cxn ang="0">
                  <a:pos x="814" y="141"/>
                </a:cxn>
                <a:cxn ang="0">
                  <a:pos x="807" y="171"/>
                </a:cxn>
                <a:cxn ang="0">
                  <a:pos x="793" y="190"/>
                </a:cxn>
                <a:cxn ang="0">
                  <a:pos x="733" y="190"/>
                </a:cxn>
                <a:cxn ang="0">
                  <a:pos x="745" y="230"/>
                </a:cxn>
                <a:cxn ang="0">
                  <a:pos x="701" y="199"/>
                </a:cxn>
                <a:cxn ang="0">
                  <a:pos x="689" y="168"/>
                </a:cxn>
                <a:cxn ang="0">
                  <a:pos x="678" y="99"/>
                </a:cxn>
                <a:cxn ang="0">
                  <a:pos x="673" y="53"/>
                </a:cxn>
                <a:cxn ang="0">
                  <a:pos x="647" y="12"/>
                </a:cxn>
                <a:cxn ang="0">
                  <a:pos x="611" y="16"/>
                </a:cxn>
                <a:cxn ang="0">
                  <a:pos x="571" y="52"/>
                </a:cxn>
                <a:cxn ang="0">
                  <a:pos x="532" y="66"/>
                </a:cxn>
                <a:cxn ang="0">
                  <a:pos x="500" y="81"/>
                </a:cxn>
                <a:cxn ang="0">
                  <a:pos x="420" y="65"/>
                </a:cxn>
                <a:cxn ang="0">
                  <a:pos x="387" y="14"/>
                </a:cxn>
                <a:cxn ang="0">
                  <a:pos x="362" y="11"/>
                </a:cxn>
                <a:cxn ang="0">
                  <a:pos x="339" y="33"/>
                </a:cxn>
                <a:cxn ang="0">
                  <a:pos x="238" y="30"/>
                </a:cxn>
                <a:cxn ang="0">
                  <a:pos x="279" y="94"/>
                </a:cxn>
                <a:cxn ang="0">
                  <a:pos x="243" y="100"/>
                </a:cxn>
                <a:cxn ang="0">
                  <a:pos x="224" y="147"/>
                </a:cxn>
                <a:cxn ang="0">
                  <a:pos x="260" y="193"/>
                </a:cxn>
                <a:cxn ang="0">
                  <a:pos x="213" y="397"/>
                </a:cxn>
                <a:cxn ang="0">
                  <a:pos x="155" y="397"/>
                </a:cxn>
                <a:cxn ang="0">
                  <a:pos x="102" y="420"/>
                </a:cxn>
                <a:cxn ang="0">
                  <a:pos x="56" y="445"/>
                </a:cxn>
                <a:cxn ang="0">
                  <a:pos x="29" y="501"/>
                </a:cxn>
                <a:cxn ang="0">
                  <a:pos x="22" y="536"/>
                </a:cxn>
                <a:cxn ang="0">
                  <a:pos x="75" y="597"/>
                </a:cxn>
                <a:cxn ang="0">
                  <a:pos x="341" y="700"/>
                </a:cxn>
                <a:cxn ang="0">
                  <a:pos x="424" y="724"/>
                </a:cxn>
                <a:cxn ang="0">
                  <a:pos x="468" y="701"/>
                </a:cxn>
                <a:cxn ang="0">
                  <a:pos x="503" y="710"/>
                </a:cxn>
                <a:cxn ang="0">
                  <a:pos x="520" y="705"/>
                </a:cxn>
                <a:cxn ang="0">
                  <a:pos x="544" y="675"/>
                </a:cxn>
                <a:cxn ang="0">
                  <a:pos x="580" y="679"/>
                </a:cxn>
                <a:cxn ang="0">
                  <a:pos x="590" y="639"/>
                </a:cxn>
                <a:cxn ang="0">
                  <a:pos x="609" y="615"/>
                </a:cxn>
                <a:cxn ang="0">
                  <a:pos x="679" y="643"/>
                </a:cxn>
                <a:cxn ang="0">
                  <a:pos x="697" y="655"/>
                </a:cxn>
                <a:cxn ang="0">
                  <a:pos x="736" y="669"/>
                </a:cxn>
                <a:cxn ang="0">
                  <a:pos x="926" y="651"/>
                </a:cxn>
                <a:cxn ang="0">
                  <a:pos x="942" y="600"/>
                </a:cxn>
                <a:cxn ang="0">
                  <a:pos x="943" y="575"/>
                </a:cxn>
              </a:cxnLst>
              <a:rect l="0" t="0" r="r" b="b"/>
              <a:pathLst>
                <a:path w="1069" h="728">
                  <a:moveTo>
                    <a:pt x="922" y="540"/>
                  </a:moveTo>
                  <a:cubicBezTo>
                    <a:pt x="922" y="528"/>
                    <a:pt x="930" y="530"/>
                    <a:pt x="937" y="526"/>
                  </a:cubicBezTo>
                  <a:cubicBezTo>
                    <a:pt x="943" y="522"/>
                    <a:pt x="948" y="501"/>
                    <a:pt x="953" y="493"/>
                  </a:cubicBezTo>
                  <a:cubicBezTo>
                    <a:pt x="958" y="485"/>
                    <a:pt x="999" y="386"/>
                    <a:pt x="1005" y="373"/>
                  </a:cubicBezTo>
                  <a:cubicBezTo>
                    <a:pt x="1011" y="361"/>
                    <a:pt x="1044" y="288"/>
                    <a:pt x="1044" y="288"/>
                  </a:cubicBezTo>
                  <a:cubicBezTo>
                    <a:pt x="1049" y="274"/>
                    <a:pt x="1049" y="274"/>
                    <a:pt x="1049" y="274"/>
                  </a:cubicBezTo>
                  <a:cubicBezTo>
                    <a:pt x="1055" y="274"/>
                    <a:pt x="1055" y="274"/>
                    <a:pt x="1055" y="274"/>
                  </a:cubicBezTo>
                  <a:cubicBezTo>
                    <a:pt x="1069" y="257"/>
                    <a:pt x="1069" y="257"/>
                    <a:pt x="1069" y="257"/>
                  </a:cubicBezTo>
                  <a:cubicBezTo>
                    <a:pt x="1060" y="257"/>
                    <a:pt x="1060" y="257"/>
                    <a:pt x="1060" y="257"/>
                  </a:cubicBezTo>
                  <a:cubicBezTo>
                    <a:pt x="1056" y="264"/>
                    <a:pt x="1056" y="264"/>
                    <a:pt x="1056" y="264"/>
                  </a:cubicBezTo>
                  <a:cubicBezTo>
                    <a:pt x="1056" y="264"/>
                    <a:pt x="1041" y="270"/>
                    <a:pt x="1029" y="270"/>
                  </a:cubicBezTo>
                  <a:cubicBezTo>
                    <a:pt x="1018" y="270"/>
                    <a:pt x="1030" y="258"/>
                    <a:pt x="1030" y="258"/>
                  </a:cubicBezTo>
                  <a:cubicBezTo>
                    <a:pt x="1012" y="253"/>
                    <a:pt x="1012" y="253"/>
                    <a:pt x="1012" y="253"/>
                  </a:cubicBezTo>
                  <a:cubicBezTo>
                    <a:pt x="1002" y="236"/>
                    <a:pt x="1002" y="236"/>
                    <a:pt x="1002" y="236"/>
                  </a:cubicBezTo>
                  <a:cubicBezTo>
                    <a:pt x="992" y="241"/>
                    <a:pt x="992" y="241"/>
                    <a:pt x="992" y="241"/>
                  </a:cubicBezTo>
                  <a:cubicBezTo>
                    <a:pt x="982" y="235"/>
                    <a:pt x="982" y="235"/>
                    <a:pt x="982" y="235"/>
                  </a:cubicBezTo>
                  <a:cubicBezTo>
                    <a:pt x="977" y="228"/>
                    <a:pt x="977" y="228"/>
                    <a:pt x="977" y="228"/>
                  </a:cubicBezTo>
                  <a:cubicBezTo>
                    <a:pt x="962" y="225"/>
                    <a:pt x="962" y="225"/>
                    <a:pt x="962" y="225"/>
                  </a:cubicBezTo>
                  <a:cubicBezTo>
                    <a:pt x="949" y="218"/>
                    <a:pt x="949" y="218"/>
                    <a:pt x="949" y="218"/>
                  </a:cubicBezTo>
                  <a:cubicBezTo>
                    <a:pt x="949" y="218"/>
                    <a:pt x="953" y="215"/>
                    <a:pt x="954" y="206"/>
                  </a:cubicBezTo>
                  <a:cubicBezTo>
                    <a:pt x="955" y="197"/>
                    <a:pt x="942" y="210"/>
                    <a:pt x="942" y="210"/>
                  </a:cubicBezTo>
                  <a:cubicBezTo>
                    <a:pt x="926" y="202"/>
                    <a:pt x="926" y="202"/>
                    <a:pt x="926" y="202"/>
                  </a:cubicBezTo>
                  <a:cubicBezTo>
                    <a:pt x="927" y="186"/>
                    <a:pt x="927" y="186"/>
                    <a:pt x="927" y="186"/>
                  </a:cubicBezTo>
                  <a:cubicBezTo>
                    <a:pt x="918" y="189"/>
                    <a:pt x="918" y="189"/>
                    <a:pt x="918" y="189"/>
                  </a:cubicBezTo>
                  <a:cubicBezTo>
                    <a:pt x="908" y="177"/>
                    <a:pt x="908" y="177"/>
                    <a:pt x="908" y="177"/>
                  </a:cubicBezTo>
                  <a:cubicBezTo>
                    <a:pt x="907" y="159"/>
                    <a:pt x="907" y="159"/>
                    <a:pt x="907" y="159"/>
                  </a:cubicBezTo>
                  <a:cubicBezTo>
                    <a:pt x="901" y="159"/>
                    <a:pt x="901" y="159"/>
                    <a:pt x="901" y="159"/>
                  </a:cubicBezTo>
                  <a:cubicBezTo>
                    <a:pt x="897" y="121"/>
                    <a:pt x="897" y="121"/>
                    <a:pt x="897" y="121"/>
                  </a:cubicBezTo>
                  <a:cubicBezTo>
                    <a:pt x="826" y="122"/>
                    <a:pt x="826" y="122"/>
                    <a:pt x="826" y="122"/>
                  </a:cubicBezTo>
                  <a:cubicBezTo>
                    <a:pt x="826" y="122"/>
                    <a:pt x="818" y="139"/>
                    <a:pt x="814" y="141"/>
                  </a:cubicBezTo>
                  <a:cubicBezTo>
                    <a:pt x="811" y="144"/>
                    <a:pt x="814" y="155"/>
                    <a:pt x="814" y="155"/>
                  </a:cubicBezTo>
                  <a:cubicBezTo>
                    <a:pt x="814" y="155"/>
                    <a:pt x="807" y="158"/>
                    <a:pt x="807" y="160"/>
                  </a:cubicBezTo>
                  <a:cubicBezTo>
                    <a:pt x="806" y="161"/>
                    <a:pt x="807" y="171"/>
                    <a:pt x="807" y="171"/>
                  </a:cubicBezTo>
                  <a:cubicBezTo>
                    <a:pt x="807" y="171"/>
                    <a:pt x="816" y="173"/>
                    <a:pt x="816" y="179"/>
                  </a:cubicBezTo>
                  <a:cubicBezTo>
                    <a:pt x="817" y="185"/>
                    <a:pt x="800" y="182"/>
                    <a:pt x="800" y="182"/>
                  </a:cubicBezTo>
                  <a:cubicBezTo>
                    <a:pt x="793" y="190"/>
                    <a:pt x="793" y="190"/>
                    <a:pt x="793" y="190"/>
                  </a:cubicBezTo>
                  <a:cubicBezTo>
                    <a:pt x="758" y="164"/>
                    <a:pt x="758" y="164"/>
                    <a:pt x="758" y="164"/>
                  </a:cubicBezTo>
                  <a:cubicBezTo>
                    <a:pt x="741" y="178"/>
                    <a:pt x="741" y="178"/>
                    <a:pt x="741" y="178"/>
                  </a:cubicBezTo>
                  <a:cubicBezTo>
                    <a:pt x="733" y="190"/>
                    <a:pt x="733" y="190"/>
                    <a:pt x="733" y="190"/>
                  </a:cubicBezTo>
                  <a:cubicBezTo>
                    <a:pt x="735" y="201"/>
                    <a:pt x="735" y="201"/>
                    <a:pt x="735" y="201"/>
                  </a:cubicBezTo>
                  <a:cubicBezTo>
                    <a:pt x="735" y="201"/>
                    <a:pt x="734" y="212"/>
                    <a:pt x="734" y="217"/>
                  </a:cubicBezTo>
                  <a:cubicBezTo>
                    <a:pt x="734" y="221"/>
                    <a:pt x="745" y="230"/>
                    <a:pt x="745" y="230"/>
                  </a:cubicBezTo>
                  <a:cubicBezTo>
                    <a:pt x="737" y="230"/>
                    <a:pt x="737" y="230"/>
                    <a:pt x="737" y="230"/>
                  </a:cubicBezTo>
                  <a:cubicBezTo>
                    <a:pt x="718" y="222"/>
                    <a:pt x="718" y="222"/>
                    <a:pt x="718" y="222"/>
                  </a:cubicBezTo>
                  <a:cubicBezTo>
                    <a:pt x="718" y="222"/>
                    <a:pt x="710" y="212"/>
                    <a:pt x="701" y="199"/>
                  </a:cubicBezTo>
                  <a:cubicBezTo>
                    <a:pt x="692" y="186"/>
                    <a:pt x="679" y="178"/>
                    <a:pt x="679" y="178"/>
                  </a:cubicBezTo>
                  <a:cubicBezTo>
                    <a:pt x="679" y="178"/>
                    <a:pt x="690" y="179"/>
                    <a:pt x="693" y="178"/>
                  </a:cubicBezTo>
                  <a:cubicBezTo>
                    <a:pt x="696" y="176"/>
                    <a:pt x="689" y="168"/>
                    <a:pt x="689" y="168"/>
                  </a:cubicBezTo>
                  <a:cubicBezTo>
                    <a:pt x="698" y="155"/>
                    <a:pt x="698" y="155"/>
                    <a:pt x="698" y="155"/>
                  </a:cubicBezTo>
                  <a:cubicBezTo>
                    <a:pt x="689" y="137"/>
                    <a:pt x="689" y="137"/>
                    <a:pt x="689" y="137"/>
                  </a:cubicBezTo>
                  <a:cubicBezTo>
                    <a:pt x="689" y="137"/>
                    <a:pt x="679" y="115"/>
                    <a:pt x="678" y="99"/>
                  </a:cubicBezTo>
                  <a:cubicBezTo>
                    <a:pt x="676" y="83"/>
                    <a:pt x="684" y="86"/>
                    <a:pt x="684" y="86"/>
                  </a:cubicBezTo>
                  <a:cubicBezTo>
                    <a:pt x="680" y="71"/>
                    <a:pt x="680" y="71"/>
                    <a:pt x="680" y="71"/>
                  </a:cubicBezTo>
                  <a:cubicBezTo>
                    <a:pt x="673" y="53"/>
                    <a:pt x="673" y="53"/>
                    <a:pt x="673" y="53"/>
                  </a:cubicBezTo>
                  <a:cubicBezTo>
                    <a:pt x="662" y="40"/>
                    <a:pt x="662" y="40"/>
                    <a:pt x="662" y="40"/>
                  </a:cubicBezTo>
                  <a:cubicBezTo>
                    <a:pt x="670" y="17"/>
                    <a:pt x="670" y="17"/>
                    <a:pt x="670" y="17"/>
                  </a:cubicBezTo>
                  <a:cubicBezTo>
                    <a:pt x="647" y="12"/>
                    <a:pt x="647" y="12"/>
                    <a:pt x="647" y="12"/>
                  </a:cubicBezTo>
                  <a:cubicBezTo>
                    <a:pt x="626" y="3"/>
                    <a:pt x="626" y="3"/>
                    <a:pt x="626" y="3"/>
                  </a:cubicBezTo>
                  <a:cubicBezTo>
                    <a:pt x="612" y="8"/>
                    <a:pt x="612" y="8"/>
                    <a:pt x="612" y="8"/>
                  </a:cubicBezTo>
                  <a:cubicBezTo>
                    <a:pt x="612" y="8"/>
                    <a:pt x="612" y="15"/>
                    <a:pt x="611" y="16"/>
                  </a:cubicBezTo>
                  <a:cubicBezTo>
                    <a:pt x="611" y="18"/>
                    <a:pt x="588" y="15"/>
                    <a:pt x="588" y="15"/>
                  </a:cubicBezTo>
                  <a:cubicBezTo>
                    <a:pt x="588" y="15"/>
                    <a:pt x="588" y="36"/>
                    <a:pt x="588" y="37"/>
                  </a:cubicBezTo>
                  <a:cubicBezTo>
                    <a:pt x="588" y="38"/>
                    <a:pt x="571" y="52"/>
                    <a:pt x="571" y="52"/>
                  </a:cubicBezTo>
                  <a:cubicBezTo>
                    <a:pt x="566" y="43"/>
                    <a:pt x="566" y="43"/>
                    <a:pt x="566" y="43"/>
                  </a:cubicBezTo>
                  <a:cubicBezTo>
                    <a:pt x="566" y="43"/>
                    <a:pt x="549" y="62"/>
                    <a:pt x="546" y="65"/>
                  </a:cubicBezTo>
                  <a:cubicBezTo>
                    <a:pt x="543" y="67"/>
                    <a:pt x="533" y="65"/>
                    <a:pt x="532" y="66"/>
                  </a:cubicBezTo>
                  <a:cubicBezTo>
                    <a:pt x="532" y="68"/>
                    <a:pt x="520" y="67"/>
                    <a:pt x="520" y="67"/>
                  </a:cubicBezTo>
                  <a:cubicBezTo>
                    <a:pt x="520" y="67"/>
                    <a:pt x="504" y="95"/>
                    <a:pt x="495" y="95"/>
                  </a:cubicBezTo>
                  <a:cubicBezTo>
                    <a:pt x="486" y="95"/>
                    <a:pt x="500" y="81"/>
                    <a:pt x="500" y="81"/>
                  </a:cubicBezTo>
                  <a:cubicBezTo>
                    <a:pt x="492" y="71"/>
                    <a:pt x="492" y="71"/>
                    <a:pt x="492" y="71"/>
                  </a:cubicBezTo>
                  <a:cubicBezTo>
                    <a:pt x="492" y="71"/>
                    <a:pt x="469" y="89"/>
                    <a:pt x="456" y="89"/>
                  </a:cubicBezTo>
                  <a:cubicBezTo>
                    <a:pt x="443" y="90"/>
                    <a:pt x="420" y="65"/>
                    <a:pt x="420" y="65"/>
                  </a:cubicBezTo>
                  <a:cubicBezTo>
                    <a:pt x="400" y="63"/>
                    <a:pt x="400" y="63"/>
                    <a:pt x="400" y="63"/>
                  </a:cubicBezTo>
                  <a:cubicBezTo>
                    <a:pt x="400" y="63"/>
                    <a:pt x="408" y="49"/>
                    <a:pt x="408" y="43"/>
                  </a:cubicBezTo>
                  <a:cubicBezTo>
                    <a:pt x="409" y="37"/>
                    <a:pt x="387" y="14"/>
                    <a:pt x="387" y="14"/>
                  </a:cubicBezTo>
                  <a:cubicBezTo>
                    <a:pt x="382" y="0"/>
                    <a:pt x="382" y="0"/>
                    <a:pt x="382" y="0"/>
                  </a:cubicBezTo>
                  <a:cubicBezTo>
                    <a:pt x="382" y="0"/>
                    <a:pt x="370" y="14"/>
                    <a:pt x="370" y="15"/>
                  </a:cubicBezTo>
                  <a:cubicBezTo>
                    <a:pt x="370" y="15"/>
                    <a:pt x="362" y="11"/>
                    <a:pt x="362" y="11"/>
                  </a:cubicBezTo>
                  <a:cubicBezTo>
                    <a:pt x="352" y="26"/>
                    <a:pt x="352" y="26"/>
                    <a:pt x="352" y="26"/>
                  </a:cubicBezTo>
                  <a:cubicBezTo>
                    <a:pt x="352" y="26"/>
                    <a:pt x="336" y="15"/>
                    <a:pt x="334" y="18"/>
                  </a:cubicBezTo>
                  <a:cubicBezTo>
                    <a:pt x="331" y="20"/>
                    <a:pt x="339" y="33"/>
                    <a:pt x="339" y="33"/>
                  </a:cubicBezTo>
                  <a:cubicBezTo>
                    <a:pt x="272" y="31"/>
                    <a:pt x="272" y="31"/>
                    <a:pt x="272" y="31"/>
                  </a:cubicBezTo>
                  <a:cubicBezTo>
                    <a:pt x="272" y="31"/>
                    <a:pt x="265" y="29"/>
                    <a:pt x="258" y="27"/>
                  </a:cubicBezTo>
                  <a:cubicBezTo>
                    <a:pt x="251" y="25"/>
                    <a:pt x="238" y="30"/>
                    <a:pt x="238" y="30"/>
                  </a:cubicBezTo>
                  <a:cubicBezTo>
                    <a:pt x="240" y="67"/>
                    <a:pt x="240" y="67"/>
                    <a:pt x="240" y="67"/>
                  </a:cubicBezTo>
                  <a:cubicBezTo>
                    <a:pt x="240" y="67"/>
                    <a:pt x="264" y="67"/>
                    <a:pt x="273" y="71"/>
                  </a:cubicBezTo>
                  <a:cubicBezTo>
                    <a:pt x="282" y="74"/>
                    <a:pt x="279" y="94"/>
                    <a:pt x="279" y="94"/>
                  </a:cubicBezTo>
                  <a:cubicBezTo>
                    <a:pt x="272" y="102"/>
                    <a:pt x="272" y="102"/>
                    <a:pt x="272" y="102"/>
                  </a:cubicBezTo>
                  <a:cubicBezTo>
                    <a:pt x="257" y="91"/>
                    <a:pt x="257" y="91"/>
                    <a:pt x="257" y="91"/>
                  </a:cubicBezTo>
                  <a:cubicBezTo>
                    <a:pt x="257" y="91"/>
                    <a:pt x="243" y="99"/>
                    <a:pt x="243" y="100"/>
                  </a:cubicBezTo>
                  <a:cubicBezTo>
                    <a:pt x="243" y="100"/>
                    <a:pt x="230" y="102"/>
                    <a:pt x="230" y="102"/>
                  </a:cubicBezTo>
                  <a:cubicBezTo>
                    <a:pt x="230" y="102"/>
                    <a:pt x="226" y="109"/>
                    <a:pt x="222" y="117"/>
                  </a:cubicBezTo>
                  <a:cubicBezTo>
                    <a:pt x="217" y="125"/>
                    <a:pt x="224" y="144"/>
                    <a:pt x="224" y="147"/>
                  </a:cubicBezTo>
                  <a:cubicBezTo>
                    <a:pt x="224" y="149"/>
                    <a:pt x="249" y="166"/>
                    <a:pt x="251" y="166"/>
                  </a:cubicBezTo>
                  <a:cubicBezTo>
                    <a:pt x="254" y="167"/>
                    <a:pt x="252" y="178"/>
                    <a:pt x="252" y="180"/>
                  </a:cubicBezTo>
                  <a:cubicBezTo>
                    <a:pt x="252" y="181"/>
                    <a:pt x="257" y="192"/>
                    <a:pt x="260" y="193"/>
                  </a:cubicBezTo>
                  <a:cubicBezTo>
                    <a:pt x="262" y="194"/>
                    <a:pt x="259" y="237"/>
                    <a:pt x="259" y="237"/>
                  </a:cubicBezTo>
                  <a:cubicBezTo>
                    <a:pt x="226" y="399"/>
                    <a:pt x="226" y="399"/>
                    <a:pt x="226" y="399"/>
                  </a:cubicBezTo>
                  <a:cubicBezTo>
                    <a:pt x="213" y="397"/>
                    <a:pt x="213" y="397"/>
                    <a:pt x="213" y="397"/>
                  </a:cubicBezTo>
                  <a:cubicBezTo>
                    <a:pt x="213" y="397"/>
                    <a:pt x="208" y="387"/>
                    <a:pt x="193" y="387"/>
                  </a:cubicBezTo>
                  <a:cubicBezTo>
                    <a:pt x="177" y="388"/>
                    <a:pt x="163" y="403"/>
                    <a:pt x="163" y="403"/>
                  </a:cubicBezTo>
                  <a:cubicBezTo>
                    <a:pt x="163" y="403"/>
                    <a:pt x="157" y="399"/>
                    <a:pt x="155" y="397"/>
                  </a:cubicBezTo>
                  <a:cubicBezTo>
                    <a:pt x="152" y="396"/>
                    <a:pt x="132" y="408"/>
                    <a:pt x="132" y="408"/>
                  </a:cubicBezTo>
                  <a:cubicBezTo>
                    <a:pt x="132" y="408"/>
                    <a:pt x="120" y="407"/>
                    <a:pt x="112" y="410"/>
                  </a:cubicBezTo>
                  <a:cubicBezTo>
                    <a:pt x="104" y="413"/>
                    <a:pt x="102" y="420"/>
                    <a:pt x="102" y="420"/>
                  </a:cubicBezTo>
                  <a:cubicBezTo>
                    <a:pt x="102" y="420"/>
                    <a:pt x="102" y="420"/>
                    <a:pt x="93" y="420"/>
                  </a:cubicBezTo>
                  <a:cubicBezTo>
                    <a:pt x="84" y="420"/>
                    <a:pt x="83" y="430"/>
                    <a:pt x="82" y="430"/>
                  </a:cubicBezTo>
                  <a:cubicBezTo>
                    <a:pt x="82" y="431"/>
                    <a:pt x="56" y="445"/>
                    <a:pt x="56" y="445"/>
                  </a:cubicBezTo>
                  <a:cubicBezTo>
                    <a:pt x="56" y="445"/>
                    <a:pt x="59" y="452"/>
                    <a:pt x="52" y="459"/>
                  </a:cubicBezTo>
                  <a:cubicBezTo>
                    <a:pt x="45" y="467"/>
                    <a:pt x="44" y="483"/>
                    <a:pt x="44" y="483"/>
                  </a:cubicBezTo>
                  <a:cubicBezTo>
                    <a:pt x="44" y="483"/>
                    <a:pt x="29" y="500"/>
                    <a:pt x="29" y="501"/>
                  </a:cubicBezTo>
                  <a:cubicBezTo>
                    <a:pt x="29" y="501"/>
                    <a:pt x="34" y="511"/>
                    <a:pt x="34" y="511"/>
                  </a:cubicBezTo>
                  <a:cubicBezTo>
                    <a:pt x="34" y="511"/>
                    <a:pt x="40" y="518"/>
                    <a:pt x="39" y="528"/>
                  </a:cubicBezTo>
                  <a:cubicBezTo>
                    <a:pt x="37" y="537"/>
                    <a:pt x="22" y="535"/>
                    <a:pt x="22" y="536"/>
                  </a:cubicBezTo>
                  <a:cubicBezTo>
                    <a:pt x="22" y="537"/>
                    <a:pt x="4" y="550"/>
                    <a:pt x="1" y="555"/>
                  </a:cubicBezTo>
                  <a:cubicBezTo>
                    <a:pt x="0" y="558"/>
                    <a:pt x="0" y="562"/>
                    <a:pt x="1" y="566"/>
                  </a:cubicBezTo>
                  <a:cubicBezTo>
                    <a:pt x="20" y="575"/>
                    <a:pt x="62" y="595"/>
                    <a:pt x="75" y="597"/>
                  </a:cubicBezTo>
                  <a:cubicBezTo>
                    <a:pt x="92" y="600"/>
                    <a:pt x="204" y="624"/>
                    <a:pt x="204" y="624"/>
                  </a:cubicBezTo>
                  <a:cubicBezTo>
                    <a:pt x="204" y="624"/>
                    <a:pt x="268" y="660"/>
                    <a:pt x="284" y="667"/>
                  </a:cubicBezTo>
                  <a:cubicBezTo>
                    <a:pt x="300" y="674"/>
                    <a:pt x="340" y="700"/>
                    <a:pt x="341" y="700"/>
                  </a:cubicBezTo>
                  <a:cubicBezTo>
                    <a:pt x="343" y="700"/>
                    <a:pt x="352" y="699"/>
                    <a:pt x="352" y="699"/>
                  </a:cubicBezTo>
                  <a:cubicBezTo>
                    <a:pt x="418" y="728"/>
                    <a:pt x="418" y="728"/>
                    <a:pt x="418" y="728"/>
                  </a:cubicBezTo>
                  <a:cubicBezTo>
                    <a:pt x="420" y="726"/>
                    <a:pt x="422" y="725"/>
                    <a:pt x="424" y="724"/>
                  </a:cubicBezTo>
                  <a:cubicBezTo>
                    <a:pt x="430" y="721"/>
                    <a:pt x="442" y="712"/>
                    <a:pt x="442" y="712"/>
                  </a:cubicBezTo>
                  <a:cubicBezTo>
                    <a:pt x="442" y="703"/>
                    <a:pt x="442" y="703"/>
                    <a:pt x="442" y="703"/>
                  </a:cubicBezTo>
                  <a:cubicBezTo>
                    <a:pt x="468" y="701"/>
                    <a:pt x="468" y="701"/>
                    <a:pt x="468" y="701"/>
                  </a:cubicBezTo>
                  <a:cubicBezTo>
                    <a:pt x="468" y="701"/>
                    <a:pt x="477" y="715"/>
                    <a:pt x="478" y="714"/>
                  </a:cubicBezTo>
                  <a:cubicBezTo>
                    <a:pt x="480" y="713"/>
                    <a:pt x="484" y="704"/>
                    <a:pt x="493" y="706"/>
                  </a:cubicBezTo>
                  <a:cubicBezTo>
                    <a:pt x="502" y="707"/>
                    <a:pt x="503" y="710"/>
                    <a:pt x="503" y="710"/>
                  </a:cubicBezTo>
                  <a:cubicBezTo>
                    <a:pt x="502" y="696"/>
                    <a:pt x="502" y="696"/>
                    <a:pt x="502" y="696"/>
                  </a:cubicBezTo>
                  <a:cubicBezTo>
                    <a:pt x="516" y="694"/>
                    <a:pt x="516" y="694"/>
                    <a:pt x="516" y="694"/>
                  </a:cubicBezTo>
                  <a:cubicBezTo>
                    <a:pt x="520" y="705"/>
                    <a:pt x="520" y="705"/>
                    <a:pt x="520" y="705"/>
                  </a:cubicBezTo>
                  <a:cubicBezTo>
                    <a:pt x="534" y="694"/>
                    <a:pt x="534" y="694"/>
                    <a:pt x="534" y="694"/>
                  </a:cubicBezTo>
                  <a:cubicBezTo>
                    <a:pt x="533" y="687"/>
                    <a:pt x="533" y="687"/>
                    <a:pt x="533" y="687"/>
                  </a:cubicBezTo>
                  <a:cubicBezTo>
                    <a:pt x="544" y="675"/>
                    <a:pt x="544" y="675"/>
                    <a:pt x="544" y="675"/>
                  </a:cubicBezTo>
                  <a:cubicBezTo>
                    <a:pt x="550" y="683"/>
                    <a:pt x="550" y="683"/>
                    <a:pt x="550" y="683"/>
                  </a:cubicBezTo>
                  <a:cubicBezTo>
                    <a:pt x="571" y="675"/>
                    <a:pt x="571" y="675"/>
                    <a:pt x="571" y="675"/>
                  </a:cubicBezTo>
                  <a:cubicBezTo>
                    <a:pt x="580" y="679"/>
                    <a:pt x="580" y="679"/>
                    <a:pt x="580" y="679"/>
                  </a:cubicBezTo>
                  <a:cubicBezTo>
                    <a:pt x="580" y="664"/>
                    <a:pt x="580" y="664"/>
                    <a:pt x="580" y="664"/>
                  </a:cubicBezTo>
                  <a:cubicBezTo>
                    <a:pt x="580" y="664"/>
                    <a:pt x="593" y="665"/>
                    <a:pt x="592" y="658"/>
                  </a:cubicBezTo>
                  <a:cubicBezTo>
                    <a:pt x="590" y="651"/>
                    <a:pt x="590" y="642"/>
                    <a:pt x="590" y="639"/>
                  </a:cubicBezTo>
                  <a:cubicBezTo>
                    <a:pt x="590" y="637"/>
                    <a:pt x="604" y="638"/>
                    <a:pt x="605" y="637"/>
                  </a:cubicBezTo>
                  <a:cubicBezTo>
                    <a:pt x="605" y="635"/>
                    <a:pt x="610" y="624"/>
                    <a:pt x="610" y="624"/>
                  </a:cubicBezTo>
                  <a:cubicBezTo>
                    <a:pt x="609" y="615"/>
                    <a:pt x="609" y="615"/>
                    <a:pt x="609" y="615"/>
                  </a:cubicBezTo>
                  <a:cubicBezTo>
                    <a:pt x="658" y="617"/>
                    <a:pt x="658" y="617"/>
                    <a:pt x="658" y="617"/>
                  </a:cubicBezTo>
                  <a:cubicBezTo>
                    <a:pt x="658" y="617"/>
                    <a:pt x="663" y="635"/>
                    <a:pt x="669" y="635"/>
                  </a:cubicBezTo>
                  <a:cubicBezTo>
                    <a:pt x="675" y="636"/>
                    <a:pt x="679" y="643"/>
                    <a:pt x="679" y="643"/>
                  </a:cubicBezTo>
                  <a:cubicBezTo>
                    <a:pt x="690" y="643"/>
                    <a:pt x="690" y="643"/>
                    <a:pt x="690" y="643"/>
                  </a:cubicBezTo>
                  <a:cubicBezTo>
                    <a:pt x="691" y="657"/>
                    <a:pt x="691" y="657"/>
                    <a:pt x="691" y="657"/>
                  </a:cubicBezTo>
                  <a:cubicBezTo>
                    <a:pt x="697" y="655"/>
                    <a:pt x="697" y="655"/>
                    <a:pt x="697" y="655"/>
                  </a:cubicBezTo>
                  <a:cubicBezTo>
                    <a:pt x="697" y="655"/>
                    <a:pt x="702" y="665"/>
                    <a:pt x="708" y="667"/>
                  </a:cubicBezTo>
                  <a:cubicBezTo>
                    <a:pt x="715" y="670"/>
                    <a:pt x="726" y="662"/>
                    <a:pt x="726" y="662"/>
                  </a:cubicBezTo>
                  <a:cubicBezTo>
                    <a:pt x="726" y="662"/>
                    <a:pt x="730" y="665"/>
                    <a:pt x="736" y="669"/>
                  </a:cubicBezTo>
                  <a:cubicBezTo>
                    <a:pt x="923" y="666"/>
                    <a:pt x="923" y="666"/>
                    <a:pt x="923" y="666"/>
                  </a:cubicBezTo>
                  <a:cubicBezTo>
                    <a:pt x="934" y="661"/>
                    <a:pt x="934" y="661"/>
                    <a:pt x="934" y="661"/>
                  </a:cubicBezTo>
                  <a:cubicBezTo>
                    <a:pt x="934" y="661"/>
                    <a:pt x="923" y="659"/>
                    <a:pt x="926" y="651"/>
                  </a:cubicBezTo>
                  <a:cubicBezTo>
                    <a:pt x="930" y="643"/>
                    <a:pt x="933" y="642"/>
                    <a:pt x="934" y="631"/>
                  </a:cubicBezTo>
                  <a:cubicBezTo>
                    <a:pt x="934" y="621"/>
                    <a:pt x="930" y="611"/>
                    <a:pt x="930" y="611"/>
                  </a:cubicBezTo>
                  <a:cubicBezTo>
                    <a:pt x="942" y="600"/>
                    <a:pt x="942" y="600"/>
                    <a:pt x="942" y="600"/>
                  </a:cubicBezTo>
                  <a:cubicBezTo>
                    <a:pt x="942" y="600"/>
                    <a:pt x="934" y="577"/>
                    <a:pt x="942" y="579"/>
                  </a:cubicBezTo>
                  <a:cubicBezTo>
                    <a:pt x="943" y="580"/>
                    <a:pt x="943" y="580"/>
                    <a:pt x="944" y="580"/>
                  </a:cubicBezTo>
                  <a:cubicBezTo>
                    <a:pt x="944" y="578"/>
                    <a:pt x="943" y="576"/>
                    <a:pt x="943" y="575"/>
                  </a:cubicBezTo>
                  <a:cubicBezTo>
                    <a:pt x="941" y="566"/>
                    <a:pt x="922" y="553"/>
                    <a:pt x="922" y="540"/>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49" name="Freeform 321">
              <a:extLst>
                <a:ext uri="{FF2B5EF4-FFF2-40B4-BE49-F238E27FC236}">
                  <a16:creationId xmlns:a16="http://schemas.microsoft.com/office/drawing/2014/main" id="{EB5977A3-643F-4259-8037-9E8F6572BA64}"/>
                </a:ext>
              </a:extLst>
            </p:cNvPr>
            <p:cNvSpPr>
              <a:spLocks noChangeAspect="1"/>
            </p:cNvSpPr>
            <p:nvPr/>
          </p:nvSpPr>
          <p:spPr bwMode="auto">
            <a:xfrm>
              <a:off x="11209" y="200"/>
              <a:ext cx="721" cy="825"/>
            </a:xfrm>
            <a:custGeom>
              <a:avLst/>
              <a:gdLst/>
              <a:ahLst/>
              <a:cxnLst>
                <a:cxn ang="0">
                  <a:pos x="304" y="204"/>
                </a:cxn>
                <a:cxn ang="0">
                  <a:pos x="307" y="182"/>
                </a:cxn>
                <a:cxn ang="0">
                  <a:pos x="305" y="111"/>
                </a:cxn>
                <a:cxn ang="0">
                  <a:pos x="321" y="79"/>
                </a:cxn>
                <a:cxn ang="0">
                  <a:pos x="308" y="49"/>
                </a:cxn>
                <a:cxn ang="0">
                  <a:pos x="279" y="39"/>
                </a:cxn>
                <a:cxn ang="0">
                  <a:pos x="282" y="1"/>
                </a:cxn>
                <a:cxn ang="0">
                  <a:pos x="256" y="22"/>
                </a:cxn>
                <a:cxn ang="0">
                  <a:pos x="227" y="47"/>
                </a:cxn>
                <a:cxn ang="0">
                  <a:pos x="205" y="50"/>
                </a:cxn>
                <a:cxn ang="0">
                  <a:pos x="186" y="61"/>
                </a:cxn>
                <a:cxn ang="0">
                  <a:pos x="168" y="66"/>
                </a:cxn>
                <a:cxn ang="0">
                  <a:pos x="149" y="66"/>
                </a:cxn>
                <a:cxn ang="0">
                  <a:pos x="125" y="78"/>
                </a:cxn>
                <a:cxn ang="0">
                  <a:pos x="107" y="90"/>
                </a:cxn>
                <a:cxn ang="0">
                  <a:pos x="81" y="87"/>
                </a:cxn>
                <a:cxn ang="0">
                  <a:pos x="53" y="84"/>
                </a:cxn>
                <a:cxn ang="0">
                  <a:pos x="25" y="66"/>
                </a:cxn>
                <a:cxn ang="0">
                  <a:pos x="0" y="60"/>
                </a:cxn>
                <a:cxn ang="0">
                  <a:pos x="41" y="101"/>
                </a:cxn>
                <a:cxn ang="0">
                  <a:pos x="38" y="130"/>
                </a:cxn>
                <a:cxn ang="0">
                  <a:pos x="49" y="163"/>
                </a:cxn>
                <a:cxn ang="0">
                  <a:pos x="85" y="172"/>
                </a:cxn>
                <a:cxn ang="0">
                  <a:pos x="87" y="185"/>
                </a:cxn>
                <a:cxn ang="0">
                  <a:pos x="131" y="199"/>
                </a:cxn>
                <a:cxn ang="0">
                  <a:pos x="134" y="235"/>
                </a:cxn>
                <a:cxn ang="0">
                  <a:pos x="145" y="268"/>
                </a:cxn>
                <a:cxn ang="0">
                  <a:pos x="150" y="319"/>
                </a:cxn>
                <a:cxn ang="0">
                  <a:pos x="150" y="350"/>
                </a:cxn>
                <a:cxn ang="0">
                  <a:pos x="140" y="360"/>
                </a:cxn>
                <a:cxn ang="0">
                  <a:pos x="179" y="404"/>
                </a:cxn>
                <a:cxn ang="0">
                  <a:pos x="206" y="412"/>
                </a:cxn>
                <a:cxn ang="0">
                  <a:pos x="196" y="383"/>
                </a:cxn>
                <a:cxn ang="0">
                  <a:pos x="202" y="360"/>
                </a:cxn>
                <a:cxn ang="0">
                  <a:pos x="254" y="372"/>
                </a:cxn>
                <a:cxn ang="0">
                  <a:pos x="277" y="361"/>
                </a:cxn>
                <a:cxn ang="0">
                  <a:pos x="268" y="342"/>
                </a:cxn>
                <a:cxn ang="0">
                  <a:pos x="275" y="323"/>
                </a:cxn>
                <a:cxn ang="0">
                  <a:pos x="357" y="303"/>
                </a:cxn>
                <a:cxn ang="0">
                  <a:pos x="359" y="244"/>
                </a:cxn>
              </a:cxnLst>
              <a:rect l="0" t="0" r="r" b="b"/>
              <a:pathLst>
                <a:path w="359" h="412">
                  <a:moveTo>
                    <a:pt x="359" y="244"/>
                  </a:moveTo>
                  <a:cubicBezTo>
                    <a:pt x="343" y="237"/>
                    <a:pt x="304" y="204"/>
                    <a:pt x="304" y="204"/>
                  </a:cubicBezTo>
                  <a:cubicBezTo>
                    <a:pt x="307" y="201"/>
                    <a:pt x="307" y="201"/>
                    <a:pt x="307" y="201"/>
                  </a:cubicBezTo>
                  <a:cubicBezTo>
                    <a:pt x="307" y="201"/>
                    <a:pt x="309" y="182"/>
                    <a:pt x="307" y="182"/>
                  </a:cubicBezTo>
                  <a:cubicBezTo>
                    <a:pt x="305" y="182"/>
                    <a:pt x="291" y="161"/>
                    <a:pt x="291" y="147"/>
                  </a:cubicBezTo>
                  <a:cubicBezTo>
                    <a:pt x="291" y="132"/>
                    <a:pt x="303" y="116"/>
                    <a:pt x="305" y="111"/>
                  </a:cubicBezTo>
                  <a:cubicBezTo>
                    <a:pt x="307" y="106"/>
                    <a:pt x="299" y="101"/>
                    <a:pt x="299" y="101"/>
                  </a:cubicBezTo>
                  <a:cubicBezTo>
                    <a:pt x="321" y="79"/>
                    <a:pt x="321" y="79"/>
                    <a:pt x="321" y="79"/>
                  </a:cubicBezTo>
                  <a:cubicBezTo>
                    <a:pt x="308" y="66"/>
                    <a:pt x="308" y="66"/>
                    <a:pt x="308" y="66"/>
                  </a:cubicBezTo>
                  <a:cubicBezTo>
                    <a:pt x="308" y="66"/>
                    <a:pt x="312" y="58"/>
                    <a:pt x="308" y="49"/>
                  </a:cubicBezTo>
                  <a:cubicBezTo>
                    <a:pt x="303" y="39"/>
                    <a:pt x="283" y="47"/>
                    <a:pt x="283" y="47"/>
                  </a:cubicBezTo>
                  <a:cubicBezTo>
                    <a:pt x="279" y="39"/>
                    <a:pt x="279" y="39"/>
                    <a:pt x="279" y="39"/>
                  </a:cubicBezTo>
                  <a:cubicBezTo>
                    <a:pt x="279" y="39"/>
                    <a:pt x="290" y="28"/>
                    <a:pt x="290" y="21"/>
                  </a:cubicBezTo>
                  <a:cubicBezTo>
                    <a:pt x="290" y="14"/>
                    <a:pt x="283" y="2"/>
                    <a:pt x="282" y="1"/>
                  </a:cubicBezTo>
                  <a:cubicBezTo>
                    <a:pt x="281" y="1"/>
                    <a:pt x="248" y="0"/>
                    <a:pt x="246" y="0"/>
                  </a:cubicBezTo>
                  <a:cubicBezTo>
                    <a:pt x="245" y="0"/>
                    <a:pt x="259" y="11"/>
                    <a:pt x="256" y="22"/>
                  </a:cubicBezTo>
                  <a:cubicBezTo>
                    <a:pt x="253" y="33"/>
                    <a:pt x="235" y="34"/>
                    <a:pt x="235" y="34"/>
                  </a:cubicBezTo>
                  <a:cubicBezTo>
                    <a:pt x="235" y="34"/>
                    <a:pt x="236" y="46"/>
                    <a:pt x="227" y="47"/>
                  </a:cubicBezTo>
                  <a:cubicBezTo>
                    <a:pt x="217" y="48"/>
                    <a:pt x="216" y="39"/>
                    <a:pt x="216" y="39"/>
                  </a:cubicBezTo>
                  <a:cubicBezTo>
                    <a:pt x="205" y="50"/>
                    <a:pt x="205" y="50"/>
                    <a:pt x="205" y="50"/>
                  </a:cubicBezTo>
                  <a:cubicBezTo>
                    <a:pt x="205" y="50"/>
                    <a:pt x="197" y="62"/>
                    <a:pt x="197" y="63"/>
                  </a:cubicBezTo>
                  <a:cubicBezTo>
                    <a:pt x="197" y="63"/>
                    <a:pt x="186" y="61"/>
                    <a:pt x="186" y="61"/>
                  </a:cubicBezTo>
                  <a:cubicBezTo>
                    <a:pt x="178" y="71"/>
                    <a:pt x="178" y="71"/>
                    <a:pt x="178" y="71"/>
                  </a:cubicBezTo>
                  <a:cubicBezTo>
                    <a:pt x="168" y="66"/>
                    <a:pt x="168" y="66"/>
                    <a:pt x="168" y="66"/>
                  </a:cubicBezTo>
                  <a:cubicBezTo>
                    <a:pt x="168" y="66"/>
                    <a:pt x="164" y="72"/>
                    <a:pt x="160" y="72"/>
                  </a:cubicBezTo>
                  <a:cubicBezTo>
                    <a:pt x="156" y="72"/>
                    <a:pt x="149" y="66"/>
                    <a:pt x="149" y="66"/>
                  </a:cubicBezTo>
                  <a:cubicBezTo>
                    <a:pt x="149" y="66"/>
                    <a:pt x="144" y="69"/>
                    <a:pt x="142" y="73"/>
                  </a:cubicBezTo>
                  <a:cubicBezTo>
                    <a:pt x="140" y="77"/>
                    <a:pt x="124" y="74"/>
                    <a:pt x="125" y="78"/>
                  </a:cubicBezTo>
                  <a:cubicBezTo>
                    <a:pt x="125" y="82"/>
                    <a:pt x="119" y="99"/>
                    <a:pt x="113" y="99"/>
                  </a:cubicBezTo>
                  <a:cubicBezTo>
                    <a:pt x="107" y="99"/>
                    <a:pt x="107" y="90"/>
                    <a:pt x="107" y="90"/>
                  </a:cubicBezTo>
                  <a:cubicBezTo>
                    <a:pt x="91" y="78"/>
                    <a:pt x="91" y="78"/>
                    <a:pt x="91" y="78"/>
                  </a:cubicBezTo>
                  <a:cubicBezTo>
                    <a:pt x="81" y="87"/>
                    <a:pt x="81" y="87"/>
                    <a:pt x="81" y="87"/>
                  </a:cubicBezTo>
                  <a:cubicBezTo>
                    <a:pt x="69" y="79"/>
                    <a:pt x="69" y="79"/>
                    <a:pt x="69" y="79"/>
                  </a:cubicBezTo>
                  <a:cubicBezTo>
                    <a:pt x="53" y="84"/>
                    <a:pt x="53" y="84"/>
                    <a:pt x="53" y="84"/>
                  </a:cubicBezTo>
                  <a:cubicBezTo>
                    <a:pt x="53" y="84"/>
                    <a:pt x="34" y="68"/>
                    <a:pt x="32" y="69"/>
                  </a:cubicBezTo>
                  <a:cubicBezTo>
                    <a:pt x="29" y="70"/>
                    <a:pt x="25" y="66"/>
                    <a:pt x="25" y="66"/>
                  </a:cubicBezTo>
                  <a:cubicBezTo>
                    <a:pt x="21" y="73"/>
                    <a:pt x="21" y="73"/>
                    <a:pt x="21" y="73"/>
                  </a:cubicBezTo>
                  <a:cubicBezTo>
                    <a:pt x="0" y="60"/>
                    <a:pt x="0" y="60"/>
                    <a:pt x="0" y="60"/>
                  </a:cubicBezTo>
                  <a:cubicBezTo>
                    <a:pt x="0" y="60"/>
                    <a:pt x="16" y="89"/>
                    <a:pt x="26" y="91"/>
                  </a:cubicBezTo>
                  <a:cubicBezTo>
                    <a:pt x="35" y="93"/>
                    <a:pt x="41" y="101"/>
                    <a:pt x="41" y="101"/>
                  </a:cubicBezTo>
                  <a:cubicBezTo>
                    <a:pt x="35" y="112"/>
                    <a:pt x="35" y="112"/>
                    <a:pt x="35" y="112"/>
                  </a:cubicBezTo>
                  <a:cubicBezTo>
                    <a:pt x="35" y="112"/>
                    <a:pt x="38" y="129"/>
                    <a:pt x="38" y="130"/>
                  </a:cubicBezTo>
                  <a:cubicBezTo>
                    <a:pt x="38" y="131"/>
                    <a:pt x="45" y="142"/>
                    <a:pt x="50" y="148"/>
                  </a:cubicBezTo>
                  <a:cubicBezTo>
                    <a:pt x="56" y="154"/>
                    <a:pt x="49" y="157"/>
                    <a:pt x="49" y="163"/>
                  </a:cubicBezTo>
                  <a:cubicBezTo>
                    <a:pt x="50" y="170"/>
                    <a:pt x="64" y="173"/>
                    <a:pt x="64" y="173"/>
                  </a:cubicBezTo>
                  <a:cubicBezTo>
                    <a:pt x="85" y="172"/>
                    <a:pt x="85" y="172"/>
                    <a:pt x="85" y="172"/>
                  </a:cubicBezTo>
                  <a:cubicBezTo>
                    <a:pt x="88" y="185"/>
                    <a:pt x="88" y="185"/>
                    <a:pt x="88" y="185"/>
                  </a:cubicBezTo>
                  <a:cubicBezTo>
                    <a:pt x="87" y="185"/>
                    <a:pt x="87" y="185"/>
                    <a:pt x="87" y="185"/>
                  </a:cubicBezTo>
                  <a:cubicBezTo>
                    <a:pt x="108" y="194"/>
                    <a:pt x="108" y="194"/>
                    <a:pt x="108" y="194"/>
                  </a:cubicBezTo>
                  <a:cubicBezTo>
                    <a:pt x="131" y="199"/>
                    <a:pt x="131" y="199"/>
                    <a:pt x="131" y="199"/>
                  </a:cubicBezTo>
                  <a:cubicBezTo>
                    <a:pt x="123" y="222"/>
                    <a:pt x="123" y="222"/>
                    <a:pt x="123" y="222"/>
                  </a:cubicBezTo>
                  <a:cubicBezTo>
                    <a:pt x="134" y="235"/>
                    <a:pt x="134" y="235"/>
                    <a:pt x="134" y="235"/>
                  </a:cubicBezTo>
                  <a:cubicBezTo>
                    <a:pt x="141" y="253"/>
                    <a:pt x="141" y="253"/>
                    <a:pt x="141" y="253"/>
                  </a:cubicBezTo>
                  <a:cubicBezTo>
                    <a:pt x="145" y="268"/>
                    <a:pt x="145" y="268"/>
                    <a:pt x="145" y="268"/>
                  </a:cubicBezTo>
                  <a:cubicBezTo>
                    <a:pt x="145" y="268"/>
                    <a:pt x="137" y="265"/>
                    <a:pt x="139" y="281"/>
                  </a:cubicBezTo>
                  <a:cubicBezTo>
                    <a:pt x="140" y="297"/>
                    <a:pt x="150" y="319"/>
                    <a:pt x="150" y="319"/>
                  </a:cubicBezTo>
                  <a:cubicBezTo>
                    <a:pt x="159" y="337"/>
                    <a:pt x="159" y="337"/>
                    <a:pt x="159" y="337"/>
                  </a:cubicBezTo>
                  <a:cubicBezTo>
                    <a:pt x="150" y="350"/>
                    <a:pt x="150" y="350"/>
                    <a:pt x="150" y="350"/>
                  </a:cubicBezTo>
                  <a:cubicBezTo>
                    <a:pt x="150" y="350"/>
                    <a:pt x="157" y="358"/>
                    <a:pt x="154" y="360"/>
                  </a:cubicBezTo>
                  <a:cubicBezTo>
                    <a:pt x="151" y="361"/>
                    <a:pt x="140" y="360"/>
                    <a:pt x="140" y="360"/>
                  </a:cubicBezTo>
                  <a:cubicBezTo>
                    <a:pt x="140" y="360"/>
                    <a:pt x="153" y="368"/>
                    <a:pt x="162" y="381"/>
                  </a:cubicBezTo>
                  <a:cubicBezTo>
                    <a:pt x="171" y="394"/>
                    <a:pt x="179" y="404"/>
                    <a:pt x="179" y="404"/>
                  </a:cubicBezTo>
                  <a:cubicBezTo>
                    <a:pt x="198" y="412"/>
                    <a:pt x="198" y="412"/>
                    <a:pt x="198" y="412"/>
                  </a:cubicBezTo>
                  <a:cubicBezTo>
                    <a:pt x="206" y="412"/>
                    <a:pt x="206" y="412"/>
                    <a:pt x="206" y="412"/>
                  </a:cubicBezTo>
                  <a:cubicBezTo>
                    <a:pt x="206" y="412"/>
                    <a:pt x="195" y="403"/>
                    <a:pt x="195" y="399"/>
                  </a:cubicBezTo>
                  <a:cubicBezTo>
                    <a:pt x="195" y="394"/>
                    <a:pt x="196" y="383"/>
                    <a:pt x="196" y="383"/>
                  </a:cubicBezTo>
                  <a:cubicBezTo>
                    <a:pt x="194" y="372"/>
                    <a:pt x="194" y="372"/>
                    <a:pt x="194" y="372"/>
                  </a:cubicBezTo>
                  <a:cubicBezTo>
                    <a:pt x="202" y="360"/>
                    <a:pt x="202" y="360"/>
                    <a:pt x="202" y="360"/>
                  </a:cubicBezTo>
                  <a:cubicBezTo>
                    <a:pt x="219" y="346"/>
                    <a:pt x="219" y="346"/>
                    <a:pt x="219" y="346"/>
                  </a:cubicBezTo>
                  <a:cubicBezTo>
                    <a:pt x="254" y="372"/>
                    <a:pt x="254" y="372"/>
                    <a:pt x="254" y="372"/>
                  </a:cubicBezTo>
                  <a:cubicBezTo>
                    <a:pt x="261" y="364"/>
                    <a:pt x="261" y="364"/>
                    <a:pt x="261" y="364"/>
                  </a:cubicBezTo>
                  <a:cubicBezTo>
                    <a:pt x="261" y="364"/>
                    <a:pt x="278" y="367"/>
                    <a:pt x="277" y="361"/>
                  </a:cubicBezTo>
                  <a:cubicBezTo>
                    <a:pt x="277" y="355"/>
                    <a:pt x="268" y="353"/>
                    <a:pt x="268" y="353"/>
                  </a:cubicBezTo>
                  <a:cubicBezTo>
                    <a:pt x="268" y="353"/>
                    <a:pt x="267" y="343"/>
                    <a:pt x="268" y="342"/>
                  </a:cubicBezTo>
                  <a:cubicBezTo>
                    <a:pt x="268" y="340"/>
                    <a:pt x="275" y="337"/>
                    <a:pt x="275" y="337"/>
                  </a:cubicBezTo>
                  <a:cubicBezTo>
                    <a:pt x="275" y="337"/>
                    <a:pt x="272" y="326"/>
                    <a:pt x="275" y="323"/>
                  </a:cubicBezTo>
                  <a:cubicBezTo>
                    <a:pt x="279" y="321"/>
                    <a:pt x="287" y="304"/>
                    <a:pt x="287" y="304"/>
                  </a:cubicBezTo>
                  <a:cubicBezTo>
                    <a:pt x="357" y="303"/>
                    <a:pt x="357" y="303"/>
                    <a:pt x="357" y="303"/>
                  </a:cubicBezTo>
                  <a:cubicBezTo>
                    <a:pt x="358" y="296"/>
                    <a:pt x="359" y="284"/>
                    <a:pt x="359" y="265"/>
                  </a:cubicBezTo>
                  <a:cubicBezTo>
                    <a:pt x="359" y="258"/>
                    <a:pt x="359" y="251"/>
                    <a:pt x="359" y="24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0" name="Freeform 322">
              <a:extLst>
                <a:ext uri="{FF2B5EF4-FFF2-40B4-BE49-F238E27FC236}">
                  <a16:creationId xmlns:a16="http://schemas.microsoft.com/office/drawing/2014/main" id="{332CE370-BE97-4DC7-B2AA-85A003CD9457}"/>
                </a:ext>
              </a:extLst>
            </p:cNvPr>
            <p:cNvSpPr>
              <a:spLocks noChangeAspect="1"/>
            </p:cNvSpPr>
            <p:nvPr/>
          </p:nvSpPr>
          <p:spPr bwMode="auto">
            <a:xfrm>
              <a:off x="12414" y="297"/>
              <a:ext cx="610" cy="687"/>
            </a:xfrm>
            <a:custGeom>
              <a:avLst/>
              <a:gdLst/>
              <a:ahLst/>
              <a:cxnLst>
                <a:cxn ang="0">
                  <a:pos x="3" y="146"/>
                </a:cxn>
                <a:cxn ang="0">
                  <a:pos x="4" y="148"/>
                </a:cxn>
                <a:cxn ang="0">
                  <a:pos x="5" y="163"/>
                </a:cxn>
                <a:cxn ang="0">
                  <a:pos x="35" y="162"/>
                </a:cxn>
                <a:cxn ang="0">
                  <a:pos x="62" y="186"/>
                </a:cxn>
                <a:cxn ang="0">
                  <a:pos x="74" y="185"/>
                </a:cxn>
                <a:cxn ang="0">
                  <a:pos x="91" y="197"/>
                </a:cxn>
                <a:cxn ang="0">
                  <a:pos x="85" y="206"/>
                </a:cxn>
                <a:cxn ang="0">
                  <a:pos x="108" y="233"/>
                </a:cxn>
                <a:cxn ang="0">
                  <a:pos x="101" y="242"/>
                </a:cxn>
                <a:cxn ang="0">
                  <a:pos x="106" y="249"/>
                </a:cxn>
                <a:cxn ang="0">
                  <a:pos x="106" y="257"/>
                </a:cxn>
                <a:cxn ang="0">
                  <a:pos x="114" y="263"/>
                </a:cxn>
                <a:cxn ang="0">
                  <a:pos x="115" y="281"/>
                </a:cxn>
                <a:cxn ang="0">
                  <a:pos x="127" y="284"/>
                </a:cxn>
                <a:cxn ang="0">
                  <a:pos x="133" y="301"/>
                </a:cxn>
                <a:cxn ang="0">
                  <a:pos x="144" y="306"/>
                </a:cxn>
                <a:cxn ang="0">
                  <a:pos x="143" y="318"/>
                </a:cxn>
                <a:cxn ang="0">
                  <a:pos x="147" y="320"/>
                </a:cxn>
                <a:cxn ang="0">
                  <a:pos x="147" y="336"/>
                </a:cxn>
                <a:cxn ang="0">
                  <a:pos x="171" y="343"/>
                </a:cxn>
                <a:cxn ang="0">
                  <a:pos x="175" y="337"/>
                </a:cxn>
                <a:cxn ang="0">
                  <a:pos x="192" y="336"/>
                </a:cxn>
                <a:cxn ang="0">
                  <a:pos x="190" y="317"/>
                </a:cxn>
                <a:cxn ang="0">
                  <a:pos x="198" y="309"/>
                </a:cxn>
                <a:cxn ang="0">
                  <a:pos x="199" y="300"/>
                </a:cxn>
                <a:cxn ang="0">
                  <a:pos x="208" y="302"/>
                </a:cxn>
                <a:cxn ang="0">
                  <a:pos x="219" y="283"/>
                </a:cxn>
                <a:cxn ang="0">
                  <a:pos x="219" y="275"/>
                </a:cxn>
                <a:cxn ang="0">
                  <a:pos x="232" y="273"/>
                </a:cxn>
                <a:cxn ang="0">
                  <a:pos x="248" y="261"/>
                </a:cxn>
                <a:cxn ang="0">
                  <a:pos x="259" y="256"/>
                </a:cxn>
                <a:cxn ang="0">
                  <a:pos x="265" y="242"/>
                </a:cxn>
                <a:cxn ang="0">
                  <a:pos x="271" y="224"/>
                </a:cxn>
                <a:cxn ang="0">
                  <a:pos x="286" y="224"/>
                </a:cxn>
                <a:cxn ang="0">
                  <a:pos x="304" y="197"/>
                </a:cxn>
                <a:cxn ang="0">
                  <a:pos x="300" y="170"/>
                </a:cxn>
                <a:cxn ang="0">
                  <a:pos x="279" y="156"/>
                </a:cxn>
                <a:cxn ang="0">
                  <a:pos x="269" y="136"/>
                </a:cxn>
                <a:cxn ang="0">
                  <a:pos x="253" y="139"/>
                </a:cxn>
                <a:cxn ang="0">
                  <a:pos x="234" y="90"/>
                </a:cxn>
                <a:cxn ang="0">
                  <a:pos x="230" y="32"/>
                </a:cxn>
                <a:cxn ang="0">
                  <a:pos x="221" y="30"/>
                </a:cxn>
                <a:cxn ang="0">
                  <a:pos x="221" y="19"/>
                </a:cxn>
                <a:cxn ang="0">
                  <a:pos x="203" y="0"/>
                </a:cxn>
                <a:cxn ang="0">
                  <a:pos x="198" y="20"/>
                </a:cxn>
                <a:cxn ang="0">
                  <a:pos x="152" y="77"/>
                </a:cxn>
                <a:cxn ang="0">
                  <a:pos x="142" y="113"/>
                </a:cxn>
                <a:cxn ang="0">
                  <a:pos x="116" y="137"/>
                </a:cxn>
                <a:cxn ang="0">
                  <a:pos x="94" y="127"/>
                </a:cxn>
                <a:cxn ang="0">
                  <a:pos x="86" y="133"/>
                </a:cxn>
                <a:cxn ang="0">
                  <a:pos x="66" y="123"/>
                </a:cxn>
                <a:cxn ang="0">
                  <a:pos x="40" y="138"/>
                </a:cxn>
                <a:cxn ang="0">
                  <a:pos x="12" y="122"/>
                </a:cxn>
                <a:cxn ang="0">
                  <a:pos x="0" y="117"/>
                </a:cxn>
                <a:cxn ang="0">
                  <a:pos x="7" y="135"/>
                </a:cxn>
                <a:cxn ang="0">
                  <a:pos x="3" y="146"/>
                </a:cxn>
              </a:cxnLst>
              <a:rect l="0" t="0" r="r" b="b"/>
              <a:pathLst>
                <a:path w="304" h="343">
                  <a:moveTo>
                    <a:pt x="3" y="146"/>
                  </a:moveTo>
                  <a:cubicBezTo>
                    <a:pt x="4" y="148"/>
                    <a:pt x="4" y="148"/>
                    <a:pt x="4" y="148"/>
                  </a:cubicBezTo>
                  <a:cubicBezTo>
                    <a:pt x="5" y="163"/>
                    <a:pt x="5" y="163"/>
                    <a:pt x="5" y="163"/>
                  </a:cubicBezTo>
                  <a:cubicBezTo>
                    <a:pt x="35" y="162"/>
                    <a:pt x="35" y="162"/>
                    <a:pt x="35" y="162"/>
                  </a:cubicBezTo>
                  <a:cubicBezTo>
                    <a:pt x="62" y="186"/>
                    <a:pt x="62" y="186"/>
                    <a:pt x="62" y="186"/>
                  </a:cubicBezTo>
                  <a:cubicBezTo>
                    <a:pt x="74" y="185"/>
                    <a:pt x="74" y="185"/>
                    <a:pt x="74" y="185"/>
                  </a:cubicBezTo>
                  <a:cubicBezTo>
                    <a:pt x="91" y="197"/>
                    <a:pt x="91" y="197"/>
                    <a:pt x="91" y="197"/>
                  </a:cubicBezTo>
                  <a:cubicBezTo>
                    <a:pt x="85" y="206"/>
                    <a:pt x="85" y="206"/>
                    <a:pt x="85" y="206"/>
                  </a:cubicBezTo>
                  <a:cubicBezTo>
                    <a:pt x="108" y="233"/>
                    <a:pt x="108" y="233"/>
                    <a:pt x="108" y="233"/>
                  </a:cubicBezTo>
                  <a:cubicBezTo>
                    <a:pt x="101" y="242"/>
                    <a:pt x="101" y="242"/>
                    <a:pt x="101" y="242"/>
                  </a:cubicBezTo>
                  <a:cubicBezTo>
                    <a:pt x="106" y="249"/>
                    <a:pt x="106" y="249"/>
                    <a:pt x="106" y="249"/>
                  </a:cubicBezTo>
                  <a:cubicBezTo>
                    <a:pt x="106" y="257"/>
                    <a:pt x="106" y="257"/>
                    <a:pt x="106" y="257"/>
                  </a:cubicBezTo>
                  <a:cubicBezTo>
                    <a:pt x="114" y="263"/>
                    <a:pt x="114" y="263"/>
                    <a:pt x="114" y="263"/>
                  </a:cubicBezTo>
                  <a:cubicBezTo>
                    <a:pt x="115" y="281"/>
                    <a:pt x="115" y="281"/>
                    <a:pt x="115" y="281"/>
                  </a:cubicBezTo>
                  <a:cubicBezTo>
                    <a:pt x="115" y="281"/>
                    <a:pt x="121" y="276"/>
                    <a:pt x="127" y="284"/>
                  </a:cubicBezTo>
                  <a:cubicBezTo>
                    <a:pt x="132" y="292"/>
                    <a:pt x="127" y="297"/>
                    <a:pt x="133" y="301"/>
                  </a:cubicBezTo>
                  <a:cubicBezTo>
                    <a:pt x="139" y="305"/>
                    <a:pt x="144" y="306"/>
                    <a:pt x="144" y="306"/>
                  </a:cubicBezTo>
                  <a:cubicBezTo>
                    <a:pt x="143" y="318"/>
                    <a:pt x="143" y="318"/>
                    <a:pt x="143" y="318"/>
                  </a:cubicBezTo>
                  <a:cubicBezTo>
                    <a:pt x="147" y="320"/>
                    <a:pt x="147" y="320"/>
                    <a:pt x="147" y="320"/>
                  </a:cubicBezTo>
                  <a:cubicBezTo>
                    <a:pt x="147" y="336"/>
                    <a:pt x="147" y="336"/>
                    <a:pt x="147" y="336"/>
                  </a:cubicBezTo>
                  <a:cubicBezTo>
                    <a:pt x="171" y="343"/>
                    <a:pt x="171" y="343"/>
                    <a:pt x="171" y="343"/>
                  </a:cubicBezTo>
                  <a:cubicBezTo>
                    <a:pt x="171" y="343"/>
                    <a:pt x="173" y="337"/>
                    <a:pt x="175" y="337"/>
                  </a:cubicBezTo>
                  <a:cubicBezTo>
                    <a:pt x="177" y="337"/>
                    <a:pt x="192" y="336"/>
                    <a:pt x="192" y="336"/>
                  </a:cubicBezTo>
                  <a:cubicBezTo>
                    <a:pt x="190" y="317"/>
                    <a:pt x="190" y="317"/>
                    <a:pt x="190" y="317"/>
                  </a:cubicBezTo>
                  <a:cubicBezTo>
                    <a:pt x="190" y="317"/>
                    <a:pt x="198" y="316"/>
                    <a:pt x="198" y="309"/>
                  </a:cubicBezTo>
                  <a:cubicBezTo>
                    <a:pt x="199" y="302"/>
                    <a:pt x="199" y="300"/>
                    <a:pt x="199" y="300"/>
                  </a:cubicBezTo>
                  <a:cubicBezTo>
                    <a:pt x="208" y="302"/>
                    <a:pt x="208" y="302"/>
                    <a:pt x="208" y="302"/>
                  </a:cubicBezTo>
                  <a:cubicBezTo>
                    <a:pt x="219" y="283"/>
                    <a:pt x="219" y="283"/>
                    <a:pt x="219" y="283"/>
                  </a:cubicBezTo>
                  <a:cubicBezTo>
                    <a:pt x="219" y="275"/>
                    <a:pt x="219" y="275"/>
                    <a:pt x="219" y="275"/>
                  </a:cubicBezTo>
                  <a:cubicBezTo>
                    <a:pt x="232" y="273"/>
                    <a:pt x="232" y="273"/>
                    <a:pt x="232" y="273"/>
                  </a:cubicBezTo>
                  <a:cubicBezTo>
                    <a:pt x="232" y="273"/>
                    <a:pt x="239" y="262"/>
                    <a:pt x="248" y="261"/>
                  </a:cubicBezTo>
                  <a:cubicBezTo>
                    <a:pt x="256" y="260"/>
                    <a:pt x="259" y="256"/>
                    <a:pt x="259" y="256"/>
                  </a:cubicBezTo>
                  <a:cubicBezTo>
                    <a:pt x="265" y="242"/>
                    <a:pt x="265" y="242"/>
                    <a:pt x="265" y="242"/>
                  </a:cubicBezTo>
                  <a:cubicBezTo>
                    <a:pt x="265" y="242"/>
                    <a:pt x="257" y="224"/>
                    <a:pt x="271" y="224"/>
                  </a:cubicBezTo>
                  <a:cubicBezTo>
                    <a:pt x="276" y="224"/>
                    <a:pt x="281" y="224"/>
                    <a:pt x="286" y="224"/>
                  </a:cubicBezTo>
                  <a:cubicBezTo>
                    <a:pt x="304" y="197"/>
                    <a:pt x="304" y="197"/>
                    <a:pt x="304" y="197"/>
                  </a:cubicBezTo>
                  <a:cubicBezTo>
                    <a:pt x="304" y="197"/>
                    <a:pt x="302" y="179"/>
                    <a:pt x="300" y="170"/>
                  </a:cubicBezTo>
                  <a:cubicBezTo>
                    <a:pt x="298" y="161"/>
                    <a:pt x="285" y="159"/>
                    <a:pt x="279" y="156"/>
                  </a:cubicBezTo>
                  <a:cubicBezTo>
                    <a:pt x="273" y="154"/>
                    <a:pt x="276" y="143"/>
                    <a:pt x="269" y="136"/>
                  </a:cubicBezTo>
                  <a:cubicBezTo>
                    <a:pt x="263" y="129"/>
                    <a:pt x="259" y="140"/>
                    <a:pt x="253" y="139"/>
                  </a:cubicBezTo>
                  <a:cubicBezTo>
                    <a:pt x="248" y="138"/>
                    <a:pt x="235" y="96"/>
                    <a:pt x="234" y="90"/>
                  </a:cubicBezTo>
                  <a:cubicBezTo>
                    <a:pt x="234" y="84"/>
                    <a:pt x="230" y="32"/>
                    <a:pt x="230" y="32"/>
                  </a:cubicBezTo>
                  <a:cubicBezTo>
                    <a:pt x="221" y="30"/>
                    <a:pt x="221" y="30"/>
                    <a:pt x="221" y="30"/>
                  </a:cubicBezTo>
                  <a:cubicBezTo>
                    <a:pt x="221" y="19"/>
                    <a:pt x="221" y="19"/>
                    <a:pt x="221" y="19"/>
                  </a:cubicBezTo>
                  <a:cubicBezTo>
                    <a:pt x="203" y="0"/>
                    <a:pt x="203" y="0"/>
                    <a:pt x="203" y="0"/>
                  </a:cubicBezTo>
                  <a:cubicBezTo>
                    <a:pt x="203" y="0"/>
                    <a:pt x="198" y="18"/>
                    <a:pt x="198" y="20"/>
                  </a:cubicBezTo>
                  <a:cubicBezTo>
                    <a:pt x="198" y="22"/>
                    <a:pt x="152" y="77"/>
                    <a:pt x="152" y="77"/>
                  </a:cubicBezTo>
                  <a:cubicBezTo>
                    <a:pt x="152" y="77"/>
                    <a:pt x="150" y="100"/>
                    <a:pt x="142" y="113"/>
                  </a:cubicBezTo>
                  <a:cubicBezTo>
                    <a:pt x="134" y="126"/>
                    <a:pt x="122" y="132"/>
                    <a:pt x="116" y="137"/>
                  </a:cubicBezTo>
                  <a:cubicBezTo>
                    <a:pt x="109" y="143"/>
                    <a:pt x="94" y="127"/>
                    <a:pt x="94" y="127"/>
                  </a:cubicBezTo>
                  <a:cubicBezTo>
                    <a:pt x="86" y="133"/>
                    <a:pt x="86" y="133"/>
                    <a:pt x="86" y="133"/>
                  </a:cubicBezTo>
                  <a:cubicBezTo>
                    <a:pt x="66" y="123"/>
                    <a:pt x="66" y="123"/>
                    <a:pt x="66" y="123"/>
                  </a:cubicBezTo>
                  <a:cubicBezTo>
                    <a:pt x="66" y="123"/>
                    <a:pt x="57" y="137"/>
                    <a:pt x="40" y="138"/>
                  </a:cubicBezTo>
                  <a:cubicBezTo>
                    <a:pt x="23" y="139"/>
                    <a:pt x="12" y="122"/>
                    <a:pt x="12" y="122"/>
                  </a:cubicBezTo>
                  <a:cubicBezTo>
                    <a:pt x="12" y="122"/>
                    <a:pt x="6" y="119"/>
                    <a:pt x="0" y="117"/>
                  </a:cubicBezTo>
                  <a:cubicBezTo>
                    <a:pt x="7" y="135"/>
                    <a:pt x="7" y="135"/>
                    <a:pt x="7" y="135"/>
                  </a:cubicBezTo>
                  <a:lnTo>
                    <a:pt x="3" y="14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1" name="Freeform 325">
              <a:extLst>
                <a:ext uri="{FF2B5EF4-FFF2-40B4-BE49-F238E27FC236}">
                  <a16:creationId xmlns:a16="http://schemas.microsoft.com/office/drawing/2014/main" id="{65CC0FF7-C754-415C-B3EB-EF6652AE816E}"/>
                </a:ext>
              </a:extLst>
            </p:cNvPr>
            <p:cNvSpPr>
              <a:spLocks noChangeAspect="1"/>
            </p:cNvSpPr>
            <p:nvPr/>
          </p:nvSpPr>
          <p:spPr bwMode="auto">
            <a:xfrm>
              <a:off x="11600" y="1719"/>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2" name="Freeform 326">
              <a:extLst>
                <a:ext uri="{FF2B5EF4-FFF2-40B4-BE49-F238E27FC236}">
                  <a16:creationId xmlns:a16="http://schemas.microsoft.com/office/drawing/2014/main" id="{2B22C6B3-5738-44ED-B6EF-FEDFCE5B408F}"/>
                </a:ext>
              </a:extLst>
            </p:cNvPr>
            <p:cNvSpPr>
              <a:spLocks noChangeAspect="1"/>
            </p:cNvSpPr>
            <p:nvPr/>
          </p:nvSpPr>
          <p:spPr bwMode="auto">
            <a:xfrm>
              <a:off x="12007" y="2911"/>
              <a:ext cx="890" cy="837"/>
            </a:xfrm>
            <a:custGeom>
              <a:avLst/>
              <a:gdLst/>
              <a:ahLst/>
              <a:cxnLst>
                <a:cxn ang="0">
                  <a:pos x="386" y="109"/>
                </a:cxn>
                <a:cxn ang="0">
                  <a:pos x="366" y="98"/>
                </a:cxn>
                <a:cxn ang="0">
                  <a:pos x="339" y="86"/>
                </a:cxn>
                <a:cxn ang="0">
                  <a:pos x="320" y="81"/>
                </a:cxn>
                <a:cxn ang="0">
                  <a:pos x="331" y="70"/>
                </a:cxn>
                <a:cxn ang="0">
                  <a:pos x="312" y="74"/>
                </a:cxn>
                <a:cxn ang="0">
                  <a:pos x="310" y="50"/>
                </a:cxn>
                <a:cxn ang="0">
                  <a:pos x="257" y="41"/>
                </a:cxn>
                <a:cxn ang="0">
                  <a:pos x="271" y="27"/>
                </a:cxn>
                <a:cxn ang="0">
                  <a:pos x="262" y="16"/>
                </a:cxn>
                <a:cxn ang="0">
                  <a:pos x="237" y="30"/>
                </a:cxn>
                <a:cxn ang="0">
                  <a:pos x="204" y="25"/>
                </a:cxn>
                <a:cxn ang="0">
                  <a:pos x="161" y="10"/>
                </a:cxn>
                <a:cxn ang="0">
                  <a:pos x="127" y="1"/>
                </a:cxn>
                <a:cxn ang="0">
                  <a:pos x="102" y="4"/>
                </a:cxn>
                <a:cxn ang="0">
                  <a:pos x="88" y="4"/>
                </a:cxn>
                <a:cxn ang="0">
                  <a:pos x="69" y="37"/>
                </a:cxn>
                <a:cxn ang="0">
                  <a:pos x="51" y="44"/>
                </a:cxn>
                <a:cxn ang="0">
                  <a:pos x="28" y="35"/>
                </a:cxn>
                <a:cxn ang="0">
                  <a:pos x="47" y="65"/>
                </a:cxn>
                <a:cxn ang="0">
                  <a:pos x="27" y="101"/>
                </a:cxn>
                <a:cxn ang="0">
                  <a:pos x="25" y="116"/>
                </a:cxn>
                <a:cxn ang="0">
                  <a:pos x="23" y="167"/>
                </a:cxn>
                <a:cxn ang="0">
                  <a:pos x="0" y="181"/>
                </a:cxn>
                <a:cxn ang="0">
                  <a:pos x="12" y="208"/>
                </a:cxn>
                <a:cxn ang="0">
                  <a:pos x="24" y="251"/>
                </a:cxn>
                <a:cxn ang="0">
                  <a:pos x="17" y="284"/>
                </a:cxn>
                <a:cxn ang="0">
                  <a:pos x="30" y="298"/>
                </a:cxn>
                <a:cxn ang="0">
                  <a:pos x="93" y="311"/>
                </a:cxn>
                <a:cxn ang="0">
                  <a:pos x="123" y="310"/>
                </a:cxn>
                <a:cxn ang="0">
                  <a:pos x="154" y="329"/>
                </a:cxn>
                <a:cxn ang="0">
                  <a:pos x="162" y="366"/>
                </a:cxn>
                <a:cxn ang="0">
                  <a:pos x="165" y="392"/>
                </a:cxn>
                <a:cxn ang="0">
                  <a:pos x="196" y="412"/>
                </a:cxn>
                <a:cxn ang="0">
                  <a:pos x="235" y="415"/>
                </a:cxn>
                <a:cxn ang="0">
                  <a:pos x="245" y="412"/>
                </a:cxn>
                <a:cxn ang="0">
                  <a:pos x="272" y="369"/>
                </a:cxn>
                <a:cxn ang="0">
                  <a:pos x="303" y="336"/>
                </a:cxn>
                <a:cxn ang="0">
                  <a:pos x="357" y="295"/>
                </a:cxn>
                <a:cxn ang="0">
                  <a:pos x="373" y="270"/>
                </a:cxn>
                <a:cxn ang="0">
                  <a:pos x="378" y="259"/>
                </a:cxn>
                <a:cxn ang="0">
                  <a:pos x="403" y="223"/>
                </a:cxn>
                <a:cxn ang="0">
                  <a:pos x="418" y="190"/>
                </a:cxn>
                <a:cxn ang="0">
                  <a:pos x="435" y="151"/>
                </a:cxn>
                <a:cxn ang="0">
                  <a:pos x="444" y="140"/>
                </a:cxn>
                <a:cxn ang="0">
                  <a:pos x="399" y="120"/>
                </a:cxn>
              </a:cxnLst>
              <a:rect l="0" t="0" r="r" b="b"/>
              <a:pathLst>
                <a:path w="444" h="418">
                  <a:moveTo>
                    <a:pt x="399" y="120"/>
                  </a:moveTo>
                  <a:cubicBezTo>
                    <a:pt x="385" y="118"/>
                    <a:pt x="386" y="109"/>
                    <a:pt x="386" y="109"/>
                  </a:cubicBezTo>
                  <a:cubicBezTo>
                    <a:pt x="386" y="109"/>
                    <a:pt x="375" y="109"/>
                    <a:pt x="371" y="109"/>
                  </a:cubicBezTo>
                  <a:cubicBezTo>
                    <a:pt x="368" y="109"/>
                    <a:pt x="366" y="98"/>
                    <a:pt x="366" y="98"/>
                  </a:cubicBezTo>
                  <a:cubicBezTo>
                    <a:pt x="353" y="98"/>
                    <a:pt x="353" y="98"/>
                    <a:pt x="353" y="98"/>
                  </a:cubicBezTo>
                  <a:cubicBezTo>
                    <a:pt x="339" y="86"/>
                    <a:pt x="339" y="86"/>
                    <a:pt x="339" y="86"/>
                  </a:cubicBezTo>
                  <a:cubicBezTo>
                    <a:pt x="339" y="86"/>
                    <a:pt x="333" y="94"/>
                    <a:pt x="331" y="94"/>
                  </a:cubicBezTo>
                  <a:cubicBezTo>
                    <a:pt x="330" y="94"/>
                    <a:pt x="325" y="89"/>
                    <a:pt x="320" y="81"/>
                  </a:cubicBezTo>
                  <a:cubicBezTo>
                    <a:pt x="315" y="73"/>
                    <a:pt x="330" y="75"/>
                    <a:pt x="330" y="75"/>
                  </a:cubicBezTo>
                  <a:cubicBezTo>
                    <a:pt x="331" y="70"/>
                    <a:pt x="331" y="70"/>
                    <a:pt x="331" y="70"/>
                  </a:cubicBezTo>
                  <a:cubicBezTo>
                    <a:pt x="316" y="69"/>
                    <a:pt x="316" y="69"/>
                    <a:pt x="316" y="69"/>
                  </a:cubicBezTo>
                  <a:cubicBezTo>
                    <a:pt x="316" y="69"/>
                    <a:pt x="315" y="74"/>
                    <a:pt x="312" y="74"/>
                  </a:cubicBezTo>
                  <a:cubicBezTo>
                    <a:pt x="310" y="74"/>
                    <a:pt x="308" y="57"/>
                    <a:pt x="308" y="57"/>
                  </a:cubicBezTo>
                  <a:cubicBezTo>
                    <a:pt x="310" y="50"/>
                    <a:pt x="310" y="50"/>
                    <a:pt x="310" y="50"/>
                  </a:cubicBezTo>
                  <a:cubicBezTo>
                    <a:pt x="267" y="48"/>
                    <a:pt x="267" y="48"/>
                    <a:pt x="267" y="48"/>
                  </a:cubicBezTo>
                  <a:cubicBezTo>
                    <a:pt x="257" y="41"/>
                    <a:pt x="257" y="41"/>
                    <a:pt x="257" y="41"/>
                  </a:cubicBezTo>
                  <a:cubicBezTo>
                    <a:pt x="262" y="31"/>
                    <a:pt x="262" y="31"/>
                    <a:pt x="262" y="31"/>
                  </a:cubicBezTo>
                  <a:cubicBezTo>
                    <a:pt x="271" y="27"/>
                    <a:pt x="271" y="27"/>
                    <a:pt x="271" y="27"/>
                  </a:cubicBezTo>
                  <a:cubicBezTo>
                    <a:pt x="272" y="2"/>
                    <a:pt x="272" y="2"/>
                    <a:pt x="272" y="2"/>
                  </a:cubicBezTo>
                  <a:cubicBezTo>
                    <a:pt x="262" y="16"/>
                    <a:pt x="262" y="16"/>
                    <a:pt x="262" y="16"/>
                  </a:cubicBezTo>
                  <a:cubicBezTo>
                    <a:pt x="262" y="16"/>
                    <a:pt x="254" y="16"/>
                    <a:pt x="251" y="21"/>
                  </a:cubicBezTo>
                  <a:cubicBezTo>
                    <a:pt x="248" y="26"/>
                    <a:pt x="237" y="30"/>
                    <a:pt x="237" y="30"/>
                  </a:cubicBezTo>
                  <a:cubicBezTo>
                    <a:pt x="221" y="17"/>
                    <a:pt x="221" y="17"/>
                    <a:pt x="221" y="17"/>
                  </a:cubicBezTo>
                  <a:cubicBezTo>
                    <a:pt x="204" y="25"/>
                    <a:pt x="204" y="25"/>
                    <a:pt x="204" y="25"/>
                  </a:cubicBezTo>
                  <a:cubicBezTo>
                    <a:pt x="204" y="25"/>
                    <a:pt x="175" y="23"/>
                    <a:pt x="173" y="23"/>
                  </a:cubicBezTo>
                  <a:cubicBezTo>
                    <a:pt x="170" y="23"/>
                    <a:pt x="161" y="10"/>
                    <a:pt x="161" y="10"/>
                  </a:cubicBezTo>
                  <a:cubicBezTo>
                    <a:pt x="161" y="10"/>
                    <a:pt x="154" y="8"/>
                    <a:pt x="145" y="7"/>
                  </a:cubicBezTo>
                  <a:cubicBezTo>
                    <a:pt x="135" y="5"/>
                    <a:pt x="139" y="1"/>
                    <a:pt x="127" y="1"/>
                  </a:cubicBezTo>
                  <a:cubicBezTo>
                    <a:pt x="114" y="0"/>
                    <a:pt x="106" y="11"/>
                    <a:pt x="106" y="11"/>
                  </a:cubicBezTo>
                  <a:cubicBezTo>
                    <a:pt x="102" y="4"/>
                    <a:pt x="102" y="4"/>
                    <a:pt x="102" y="4"/>
                  </a:cubicBezTo>
                  <a:cubicBezTo>
                    <a:pt x="96" y="13"/>
                    <a:pt x="96" y="13"/>
                    <a:pt x="96" y="13"/>
                  </a:cubicBezTo>
                  <a:cubicBezTo>
                    <a:pt x="88" y="4"/>
                    <a:pt x="88" y="4"/>
                    <a:pt x="88" y="4"/>
                  </a:cubicBezTo>
                  <a:cubicBezTo>
                    <a:pt x="88" y="4"/>
                    <a:pt x="78" y="18"/>
                    <a:pt x="77" y="24"/>
                  </a:cubicBezTo>
                  <a:cubicBezTo>
                    <a:pt x="76" y="29"/>
                    <a:pt x="70" y="35"/>
                    <a:pt x="69" y="37"/>
                  </a:cubicBezTo>
                  <a:cubicBezTo>
                    <a:pt x="69" y="39"/>
                    <a:pt x="55" y="34"/>
                    <a:pt x="55" y="34"/>
                  </a:cubicBezTo>
                  <a:cubicBezTo>
                    <a:pt x="51" y="44"/>
                    <a:pt x="51" y="44"/>
                    <a:pt x="51" y="44"/>
                  </a:cubicBezTo>
                  <a:cubicBezTo>
                    <a:pt x="37" y="36"/>
                    <a:pt x="37" y="36"/>
                    <a:pt x="37" y="36"/>
                  </a:cubicBezTo>
                  <a:cubicBezTo>
                    <a:pt x="28" y="35"/>
                    <a:pt x="28" y="35"/>
                    <a:pt x="28" y="35"/>
                  </a:cubicBezTo>
                  <a:cubicBezTo>
                    <a:pt x="28" y="36"/>
                    <a:pt x="29" y="38"/>
                    <a:pt x="30" y="41"/>
                  </a:cubicBezTo>
                  <a:cubicBezTo>
                    <a:pt x="35" y="55"/>
                    <a:pt x="47" y="65"/>
                    <a:pt x="47" y="65"/>
                  </a:cubicBezTo>
                  <a:cubicBezTo>
                    <a:pt x="47" y="65"/>
                    <a:pt x="39" y="67"/>
                    <a:pt x="39" y="68"/>
                  </a:cubicBezTo>
                  <a:cubicBezTo>
                    <a:pt x="39" y="68"/>
                    <a:pt x="27" y="94"/>
                    <a:pt x="27" y="101"/>
                  </a:cubicBezTo>
                  <a:cubicBezTo>
                    <a:pt x="27" y="107"/>
                    <a:pt x="36" y="110"/>
                    <a:pt x="36" y="110"/>
                  </a:cubicBezTo>
                  <a:cubicBezTo>
                    <a:pt x="36" y="110"/>
                    <a:pt x="27" y="113"/>
                    <a:pt x="25" y="116"/>
                  </a:cubicBezTo>
                  <a:cubicBezTo>
                    <a:pt x="22" y="119"/>
                    <a:pt x="5" y="155"/>
                    <a:pt x="5" y="155"/>
                  </a:cubicBezTo>
                  <a:cubicBezTo>
                    <a:pt x="23" y="167"/>
                    <a:pt x="23" y="167"/>
                    <a:pt x="23" y="167"/>
                  </a:cubicBezTo>
                  <a:cubicBezTo>
                    <a:pt x="9" y="174"/>
                    <a:pt x="9" y="174"/>
                    <a:pt x="9" y="174"/>
                  </a:cubicBezTo>
                  <a:cubicBezTo>
                    <a:pt x="0" y="181"/>
                    <a:pt x="0" y="181"/>
                    <a:pt x="0" y="181"/>
                  </a:cubicBezTo>
                  <a:cubicBezTo>
                    <a:pt x="0" y="181"/>
                    <a:pt x="9" y="193"/>
                    <a:pt x="10" y="194"/>
                  </a:cubicBezTo>
                  <a:cubicBezTo>
                    <a:pt x="10" y="195"/>
                    <a:pt x="12" y="206"/>
                    <a:pt x="12" y="208"/>
                  </a:cubicBezTo>
                  <a:cubicBezTo>
                    <a:pt x="12" y="210"/>
                    <a:pt x="17" y="212"/>
                    <a:pt x="23" y="221"/>
                  </a:cubicBezTo>
                  <a:cubicBezTo>
                    <a:pt x="29" y="230"/>
                    <a:pt x="24" y="251"/>
                    <a:pt x="24" y="251"/>
                  </a:cubicBezTo>
                  <a:cubicBezTo>
                    <a:pt x="24" y="251"/>
                    <a:pt x="19" y="262"/>
                    <a:pt x="17" y="264"/>
                  </a:cubicBezTo>
                  <a:cubicBezTo>
                    <a:pt x="16" y="266"/>
                    <a:pt x="19" y="275"/>
                    <a:pt x="17" y="284"/>
                  </a:cubicBezTo>
                  <a:cubicBezTo>
                    <a:pt x="16" y="293"/>
                    <a:pt x="16" y="297"/>
                    <a:pt x="21" y="300"/>
                  </a:cubicBezTo>
                  <a:cubicBezTo>
                    <a:pt x="26" y="304"/>
                    <a:pt x="30" y="298"/>
                    <a:pt x="30" y="298"/>
                  </a:cubicBezTo>
                  <a:cubicBezTo>
                    <a:pt x="48" y="304"/>
                    <a:pt x="48" y="304"/>
                    <a:pt x="48" y="304"/>
                  </a:cubicBezTo>
                  <a:cubicBezTo>
                    <a:pt x="93" y="311"/>
                    <a:pt x="93" y="311"/>
                    <a:pt x="93" y="311"/>
                  </a:cubicBezTo>
                  <a:cubicBezTo>
                    <a:pt x="105" y="295"/>
                    <a:pt x="105" y="295"/>
                    <a:pt x="105" y="295"/>
                  </a:cubicBezTo>
                  <a:cubicBezTo>
                    <a:pt x="123" y="310"/>
                    <a:pt x="123" y="310"/>
                    <a:pt x="123" y="310"/>
                  </a:cubicBezTo>
                  <a:cubicBezTo>
                    <a:pt x="123" y="310"/>
                    <a:pt x="130" y="310"/>
                    <a:pt x="143" y="310"/>
                  </a:cubicBezTo>
                  <a:cubicBezTo>
                    <a:pt x="155" y="311"/>
                    <a:pt x="154" y="329"/>
                    <a:pt x="154" y="329"/>
                  </a:cubicBezTo>
                  <a:cubicBezTo>
                    <a:pt x="154" y="329"/>
                    <a:pt x="157" y="357"/>
                    <a:pt x="158" y="358"/>
                  </a:cubicBezTo>
                  <a:cubicBezTo>
                    <a:pt x="158" y="360"/>
                    <a:pt x="162" y="366"/>
                    <a:pt x="162" y="366"/>
                  </a:cubicBezTo>
                  <a:cubicBezTo>
                    <a:pt x="162" y="366"/>
                    <a:pt x="160" y="374"/>
                    <a:pt x="160" y="381"/>
                  </a:cubicBezTo>
                  <a:cubicBezTo>
                    <a:pt x="160" y="388"/>
                    <a:pt x="165" y="392"/>
                    <a:pt x="165" y="392"/>
                  </a:cubicBezTo>
                  <a:cubicBezTo>
                    <a:pt x="165" y="392"/>
                    <a:pt x="165" y="402"/>
                    <a:pt x="167" y="410"/>
                  </a:cubicBezTo>
                  <a:cubicBezTo>
                    <a:pt x="169" y="418"/>
                    <a:pt x="195" y="412"/>
                    <a:pt x="196" y="412"/>
                  </a:cubicBezTo>
                  <a:cubicBezTo>
                    <a:pt x="196" y="412"/>
                    <a:pt x="203" y="406"/>
                    <a:pt x="216" y="402"/>
                  </a:cubicBezTo>
                  <a:cubicBezTo>
                    <a:pt x="230" y="398"/>
                    <a:pt x="235" y="415"/>
                    <a:pt x="235" y="415"/>
                  </a:cubicBezTo>
                  <a:cubicBezTo>
                    <a:pt x="236" y="418"/>
                    <a:pt x="236" y="418"/>
                    <a:pt x="236" y="418"/>
                  </a:cubicBezTo>
                  <a:cubicBezTo>
                    <a:pt x="240" y="415"/>
                    <a:pt x="245" y="412"/>
                    <a:pt x="245" y="412"/>
                  </a:cubicBezTo>
                  <a:cubicBezTo>
                    <a:pt x="254" y="379"/>
                    <a:pt x="254" y="379"/>
                    <a:pt x="254" y="379"/>
                  </a:cubicBezTo>
                  <a:cubicBezTo>
                    <a:pt x="254" y="379"/>
                    <a:pt x="270" y="373"/>
                    <a:pt x="272" y="369"/>
                  </a:cubicBezTo>
                  <a:cubicBezTo>
                    <a:pt x="273" y="366"/>
                    <a:pt x="276" y="347"/>
                    <a:pt x="276" y="347"/>
                  </a:cubicBezTo>
                  <a:cubicBezTo>
                    <a:pt x="303" y="336"/>
                    <a:pt x="303" y="336"/>
                    <a:pt x="303" y="336"/>
                  </a:cubicBezTo>
                  <a:cubicBezTo>
                    <a:pt x="310" y="326"/>
                    <a:pt x="310" y="326"/>
                    <a:pt x="310" y="326"/>
                  </a:cubicBezTo>
                  <a:cubicBezTo>
                    <a:pt x="310" y="326"/>
                    <a:pt x="357" y="300"/>
                    <a:pt x="357" y="295"/>
                  </a:cubicBezTo>
                  <a:cubicBezTo>
                    <a:pt x="357" y="290"/>
                    <a:pt x="356" y="285"/>
                    <a:pt x="357" y="283"/>
                  </a:cubicBezTo>
                  <a:cubicBezTo>
                    <a:pt x="358" y="282"/>
                    <a:pt x="373" y="270"/>
                    <a:pt x="373" y="270"/>
                  </a:cubicBezTo>
                  <a:cubicBezTo>
                    <a:pt x="368" y="261"/>
                    <a:pt x="368" y="261"/>
                    <a:pt x="368" y="261"/>
                  </a:cubicBezTo>
                  <a:cubicBezTo>
                    <a:pt x="378" y="259"/>
                    <a:pt x="378" y="259"/>
                    <a:pt x="378" y="259"/>
                  </a:cubicBezTo>
                  <a:cubicBezTo>
                    <a:pt x="378" y="259"/>
                    <a:pt x="383" y="239"/>
                    <a:pt x="384" y="238"/>
                  </a:cubicBezTo>
                  <a:cubicBezTo>
                    <a:pt x="385" y="237"/>
                    <a:pt x="403" y="223"/>
                    <a:pt x="403" y="223"/>
                  </a:cubicBezTo>
                  <a:cubicBezTo>
                    <a:pt x="396" y="212"/>
                    <a:pt x="396" y="212"/>
                    <a:pt x="396" y="212"/>
                  </a:cubicBezTo>
                  <a:cubicBezTo>
                    <a:pt x="418" y="190"/>
                    <a:pt x="418" y="190"/>
                    <a:pt x="418" y="190"/>
                  </a:cubicBezTo>
                  <a:cubicBezTo>
                    <a:pt x="433" y="189"/>
                    <a:pt x="433" y="189"/>
                    <a:pt x="433" y="189"/>
                  </a:cubicBezTo>
                  <a:cubicBezTo>
                    <a:pt x="435" y="151"/>
                    <a:pt x="435" y="151"/>
                    <a:pt x="435" y="151"/>
                  </a:cubicBezTo>
                  <a:cubicBezTo>
                    <a:pt x="435" y="151"/>
                    <a:pt x="443" y="147"/>
                    <a:pt x="443" y="146"/>
                  </a:cubicBezTo>
                  <a:cubicBezTo>
                    <a:pt x="443" y="145"/>
                    <a:pt x="443" y="143"/>
                    <a:pt x="444" y="140"/>
                  </a:cubicBezTo>
                  <a:cubicBezTo>
                    <a:pt x="432" y="127"/>
                    <a:pt x="432" y="127"/>
                    <a:pt x="432" y="127"/>
                  </a:cubicBezTo>
                  <a:cubicBezTo>
                    <a:pt x="432" y="127"/>
                    <a:pt x="414" y="122"/>
                    <a:pt x="399" y="12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53" name="Freeform 327">
              <a:extLst>
                <a:ext uri="{FF2B5EF4-FFF2-40B4-BE49-F238E27FC236}">
                  <a16:creationId xmlns:a16="http://schemas.microsoft.com/office/drawing/2014/main" id="{95627AF4-2E7E-47E9-ACE4-AB59F7E0D97B}"/>
                </a:ext>
              </a:extLst>
            </p:cNvPr>
            <p:cNvSpPr>
              <a:spLocks noChangeAspect="1" noEditPoints="1"/>
            </p:cNvSpPr>
            <p:nvPr/>
          </p:nvSpPr>
          <p:spPr bwMode="auto">
            <a:xfrm>
              <a:off x="12607" y="2332"/>
              <a:ext cx="893" cy="860"/>
            </a:xfrm>
            <a:custGeom>
              <a:avLst/>
              <a:gdLst/>
              <a:ahLst/>
              <a:cxnLst>
                <a:cxn ang="0">
                  <a:pos x="426" y="83"/>
                </a:cxn>
                <a:cxn ang="0">
                  <a:pos x="419" y="42"/>
                </a:cxn>
                <a:cxn ang="0">
                  <a:pos x="417" y="31"/>
                </a:cxn>
                <a:cxn ang="0">
                  <a:pos x="375" y="48"/>
                </a:cxn>
                <a:cxn ang="0">
                  <a:pos x="356" y="52"/>
                </a:cxn>
                <a:cxn ang="0">
                  <a:pos x="344" y="60"/>
                </a:cxn>
                <a:cxn ang="0">
                  <a:pos x="323" y="55"/>
                </a:cxn>
                <a:cxn ang="0">
                  <a:pos x="303" y="49"/>
                </a:cxn>
                <a:cxn ang="0">
                  <a:pos x="291" y="51"/>
                </a:cxn>
                <a:cxn ang="0">
                  <a:pos x="284" y="44"/>
                </a:cxn>
                <a:cxn ang="0">
                  <a:pos x="259" y="35"/>
                </a:cxn>
                <a:cxn ang="0">
                  <a:pos x="236" y="55"/>
                </a:cxn>
                <a:cxn ang="0">
                  <a:pos x="178" y="31"/>
                </a:cxn>
                <a:cxn ang="0">
                  <a:pos x="165" y="23"/>
                </a:cxn>
                <a:cxn ang="0">
                  <a:pos x="146" y="80"/>
                </a:cxn>
                <a:cxn ang="0">
                  <a:pos x="138" y="109"/>
                </a:cxn>
                <a:cxn ang="0">
                  <a:pos x="116" y="156"/>
                </a:cxn>
                <a:cxn ang="0">
                  <a:pos x="87" y="202"/>
                </a:cxn>
                <a:cxn ang="0">
                  <a:pos x="37" y="235"/>
                </a:cxn>
                <a:cxn ang="0">
                  <a:pos x="13" y="271"/>
                </a:cxn>
                <a:cxn ang="0">
                  <a:pos x="0" y="293"/>
                </a:cxn>
                <a:cxn ang="0">
                  <a:pos x="11" y="339"/>
                </a:cxn>
                <a:cxn ang="0">
                  <a:pos x="13" y="363"/>
                </a:cxn>
                <a:cxn ang="0">
                  <a:pos x="32" y="359"/>
                </a:cxn>
                <a:cxn ang="0">
                  <a:pos x="21" y="370"/>
                </a:cxn>
                <a:cxn ang="0">
                  <a:pos x="40" y="375"/>
                </a:cxn>
                <a:cxn ang="0">
                  <a:pos x="67" y="387"/>
                </a:cxn>
                <a:cxn ang="0">
                  <a:pos x="87" y="398"/>
                </a:cxn>
                <a:cxn ang="0">
                  <a:pos x="133" y="416"/>
                </a:cxn>
                <a:cxn ang="0">
                  <a:pos x="152" y="410"/>
                </a:cxn>
                <a:cxn ang="0">
                  <a:pos x="179" y="381"/>
                </a:cxn>
                <a:cxn ang="0">
                  <a:pos x="226" y="367"/>
                </a:cxn>
                <a:cxn ang="0">
                  <a:pos x="254" y="359"/>
                </a:cxn>
                <a:cxn ang="0">
                  <a:pos x="281" y="356"/>
                </a:cxn>
                <a:cxn ang="0">
                  <a:pos x="301" y="356"/>
                </a:cxn>
                <a:cxn ang="0">
                  <a:pos x="362" y="340"/>
                </a:cxn>
                <a:cxn ang="0">
                  <a:pos x="363" y="315"/>
                </a:cxn>
                <a:cxn ang="0">
                  <a:pos x="368" y="279"/>
                </a:cxn>
                <a:cxn ang="0">
                  <a:pos x="353" y="243"/>
                </a:cxn>
                <a:cxn ang="0">
                  <a:pos x="360" y="220"/>
                </a:cxn>
                <a:cxn ang="0">
                  <a:pos x="393" y="212"/>
                </a:cxn>
                <a:cxn ang="0">
                  <a:pos x="389" y="182"/>
                </a:cxn>
                <a:cxn ang="0">
                  <a:pos x="407" y="164"/>
                </a:cxn>
                <a:cxn ang="0">
                  <a:pos x="424" y="153"/>
                </a:cxn>
                <a:cxn ang="0">
                  <a:pos x="437" y="127"/>
                </a:cxn>
                <a:cxn ang="0">
                  <a:pos x="421" y="96"/>
                </a:cxn>
                <a:cxn ang="0">
                  <a:pos x="355" y="215"/>
                </a:cxn>
                <a:cxn ang="0">
                  <a:pos x="306" y="219"/>
                </a:cxn>
                <a:cxn ang="0">
                  <a:pos x="306" y="205"/>
                </a:cxn>
                <a:cxn ang="0">
                  <a:pos x="309" y="190"/>
                </a:cxn>
                <a:cxn ang="0">
                  <a:pos x="358" y="197"/>
                </a:cxn>
              </a:cxnLst>
              <a:rect l="0" t="0" r="r" b="b"/>
              <a:pathLst>
                <a:path w="446" h="429">
                  <a:moveTo>
                    <a:pt x="421" y="96"/>
                  </a:moveTo>
                  <a:cubicBezTo>
                    <a:pt x="421" y="96"/>
                    <a:pt x="423" y="93"/>
                    <a:pt x="426" y="83"/>
                  </a:cubicBezTo>
                  <a:cubicBezTo>
                    <a:pt x="429" y="73"/>
                    <a:pt x="437" y="57"/>
                    <a:pt x="437" y="57"/>
                  </a:cubicBezTo>
                  <a:cubicBezTo>
                    <a:pt x="419" y="42"/>
                    <a:pt x="419" y="42"/>
                    <a:pt x="419" y="42"/>
                  </a:cubicBezTo>
                  <a:cubicBezTo>
                    <a:pt x="431" y="34"/>
                    <a:pt x="431" y="34"/>
                    <a:pt x="431" y="34"/>
                  </a:cubicBezTo>
                  <a:cubicBezTo>
                    <a:pt x="431" y="34"/>
                    <a:pt x="421" y="32"/>
                    <a:pt x="417" y="31"/>
                  </a:cubicBezTo>
                  <a:cubicBezTo>
                    <a:pt x="388" y="36"/>
                    <a:pt x="388" y="36"/>
                    <a:pt x="388" y="36"/>
                  </a:cubicBezTo>
                  <a:cubicBezTo>
                    <a:pt x="375" y="48"/>
                    <a:pt x="375" y="48"/>
                    <a:pt x="375" y="48"/>
                  </a:cubicBezTo>
                  <a:cubicBezTo>
                    <a:pt x="363" y="46"/>
                    <a:pt x="363" y="46"/>
                    <a:pt x="363" y="46"/>
                  </a:cubicBezTo>
                  <a:cubicBezTo>
                    <a:pt x="356" y="52"/>
                    <a:pt x="356" y="52"/>
                    <a:pt x="356" y="52"/>
                  </a:cubicBezTo>
                  <a:cubicBezTo>
                    <a:pt x="340" y="43"/>
                    <a:pt x="340" y="43"/>
                    <a:pt x="340" y="43"/>
                  </a:cubicBezTo>
                  <a:cubicBezTo>
                    <a:pt x="344" y="60"/>
                    <a:pt x="344" y="60"/>
                    <a:pt x="344" y="60"/>
                  </a:cubicBezTo>
                  <a:cubicBezTo>
                    <a:pt x="338" y="67"/>
                    <a:pt x="338" y="67"/>
                    <a:pt x="338" y="67"/>
                  </a:cubicBezTo>
                  <a:cubicBezTo>
                    <a:pt x="323" y="55"/>
                    <a:pt x="323" y="55"/>
                    <a:pt x="323" y="55"/>
                  </a:cubicBezTo>
                  <a:cubicBezTo>
                    <a:pt x="311" y="56"/>
                    <a:pt x="311" y="56"/>
                    <a:pt x="311" y="56"/>
                  </a:cubicBezTo>
                  <a:cubicBezTo>
                    <a:pt x="303" y="49"/>
                    <a:pt x="303" y="49"/>
                    <a:pt x="303" y="49"/>
                  </a:cubicBezTo>
                  <a:cubicBezTo>
                    <a:pt x="292" y="58"/>
                    <a:pt x="292" y="58"/>
                    <a:pt x="292" y="58"/>
                  </a:cubicBezTo>
                  <a:cubicBezTo>
                    <a:pt x="291" y="51"/>
                    <a:pt x="291" y="51"/>
                    <a:pt x="291" y="51"/>
                  </a:cubicBezTo>
                  <a:cubicBezTo>
                    <a:pt x="280" y="54"/>
                    <a:pt x="280" y="54"/>
                    <a:pt x="280" y="54"/>
                  </a:cubicBezTo>
                  <a:cubicBezTo>
                    <a:pt x="284" y="44"/>
                    <a:pt x="284" y="44"/>
                    <a:pt x="284" y="44"/>
                  </a:cubicBezTo>
                  <a:cubicBezTo>
                    <a:pt x="269" y="28"/>
                    <a:pt x="269" y="28"/>
                    <a:pt x="269" y="28"/>
                  </a:cubicBezTo>
                  <a:cubicBezTo>
                    <a:pt x="259" y="35"/>
                    <a:pt x="259" y="35"/>
                    <a:pt x="259" y="35"/>
                  </a:cubicBezTo>
                  <a:cubicBezTo>
                    <a:pt x="251" y="24"/>
                    <a:pt x="251" y="24"/>
                    <a:pt x="251" y="24"/>
                  </a:cubicBezTo>
                  <a:cubicBezTo>
                    <a:pt x="236" y="55"/>
                    <a:pt x="236" y="55"/>
                    <a:pt x="236" y="55"/>
                  </a:cubicBezTo>
                  <a:cubicBezTo>
                    <a:pt x="203" y="36"/>
                    <a:pt x="203" y="36"/>
                    <a:pt x="203" y="36"/>
                  </a:cubicBezTo>
                  <a:cubicBezTo>
                    <a:pt x="178" y="31"/>
                    <a:pt x="178" y="31"/>
                    <a:pt x="178" y="31"/>
                  </a:cubicBezTo>
                  <a:cubicBezTo>
                    <a:pt x="190" y="0"/>
                    <a:pt x="190" y="0"/>
                    <a:pt x="190" y="0"/>
                  </a:cubicBezTo>
                  <a:cubicBezTo>
                    <a:pt x="165" y="23"/>
                    <a:pt x="165" y="23"/>
                    <a:pt x="165" y="23"/>
                  </a:cubicBezTo>
                  <a:cubicBezTo>
                    <a:pt x="163" y="34"/>
                    <a:pt x="162" y="47"/>
                    <a:pt x="161" y="56"/>
                  </a:cubicBezTo>
                  <a:cubicBezTo>
                    <a:pt x="160" y="74"/>
                    <a:pt x="146" y="80"/>
                    <a:pt x="146" y="80"/>
                  </a:cubicBezTo>
                  <a:cubicBezTo>
                    <a:pt x="146" y="80"/>
                    <a:pt x="145" y="102"/>
                    <a:pt x="145" y="104"/>
                  </a:cubicBezTo>
                  <a:cubicBezTo>
                    <a:pt x="145" y="105"/>
                    <a:pt x="138" y="107"/>
                    <a:pt x="138" y="109"/>
                  </a:cubicBezTo>
                  <a:cubicBezTo>
                    <a:pt x="138" y="111"/>
                    <a:pt x="137" y="150"/>
                    <a:pt x="130" y="157"/>
                  </a:cubicBezTo>
                  <a:cubicBezTo>
                    <a:pt x="123" y="164"/>
                    <a:pt x="116" y="158"/>
                    <a:pt x="116" y="156"/>
                  </a:cubicBezTo>
                  <a:cubicBezTo>
                    <a:pt x="116" y="155"/>
                    <a:pt x="96" y="175"/>
                    <a:pt x="94" y="178"/>
                  </a:cubicBezTo>
                  <a:cubicBezTo>
                    <a:pt x="92" y="180"/>
                    <a:pt x="93" y="195"/>
                    <a:pt x="87" y="202"/>
                  </a:cubicBezTo>
                  <a:cubicBezTo>
                    <a:pt x="82" y="209"/>
                    <a:pt x="64" y="211"/>
                    <a:pt x="62" y="211"/>
                  </a:cubicBezTo>
                  <a:cubicBezTo>
                    <a:pt x="60" y="211"/>
                    <a:pt x="37" y="235"/>
                    <a:pt x="37" y="235"/>
                  </a:cubicBezTo>
                  <a:cubicBezTo>
                    <a:pt x="45" y="247"/>
                    <a:pt x="45" y="247"/>
                    <a:pt x="45" y="247"/>
                  </a:cubicBezTo>
                  <a:cubicBezTo>
                    <a:pt x="13" y="271"/>
                    <a:pt x="13" y="271"/>
                    <a:pt x="13" y="271"/>
                  </a:cubicBezTo>
                  <a:cubicBezTo>
                    <a:pt x="12" y="283"/>
                    <a:pt x="12" y="283"/>
                    <a:pt x="12" y="283"/>
                  </a:cubicBezTo>
                  <a:cubicBezTo>
                    <a:pt x="0" y="293"/>
                    <a:pt x="0" y="293"/>
                    <a:pt x="0" y="293"/>
                  </a:cubicBezTo>
                  <a:cubicBezTo>
                    <a:pt x="0" y="293"/>
                    <a:pt x="0" y="321"/>
                    <a:pt x="5" y="323"/>
                  </a:cubicBezTo>
                  <a:cubicBezTo>
                    <a:pt x="11" y="326"/>
                    <a:pt x="11" y="339"/>
                    <a:pt x="11" y="339"/>
                  </a:cubicBezTo>
                  <a:cubicBezTo>
                    <a:pt x="9" y="346"/>
                    <a:pt x="9" y="346"/>
                    <a:pt x="9" y="346"/>
                  </a:cubicBezTo>
                  <a:cubicBezTo>
                    <a:pt x="9" y="346"/>
                    <a:pt x="11" y="363"/>
                    <a:pt x="13" y="363"/>
                  </a:cubicBezTo>
                  <a:cubicBezTo>
                    <a:pt x="16" y="363"/>
                    <a:pt x="17" y="358"/>
                    <a:pt x="17" y="358"/>
                  </a:cubicBezTo>
                  <a:cubicBezTo>
                    <a:pt x="32" y="359"/>
                    <a:pt x="32" y="359"/>
                    <a:pt x="32" y="359"/>
                  </a:cubicBezTo>
                  <a:cubicBezTo>
                    <a:pt x="31" y="364"/>
                    <a:pt x="31" y="364"/>
                    <a:pt x="31" y="364"/>
                  </a:cubicBezTo>
                  <a:cubicBezTo>
                    <a:pt x="31" y="364"/>
                    <a:pt x="16" y="362"/>
                    <a:pt x="21" y="370"/>
                  </a:cubicBezTo>
                  <a:cubicBezTo>
                    <a:pt x="26" y="378"/>
                    <a:pt x="31" y="383"/>
                    <a:pt x="32" y="383"/>
                  </a:cubicBezTo>
                  <a:cubicBezTo>
                    <a:pt x="34" y="383"/>
                    <a:pt x="40" y="375"/>
                    <a:pt x="40" y="375"/>
                  </a:cubicBezTo>
                  <a:cubicBezTo>
                    <a:pt x="54" y="387"/>
                    <a:pt x="54" y="387"/>
                    <a:pt x="54" y="387"/>
                  </a:cubicBezTo>
                  <a:cubicBezTo>
                    <a:pt x="67" y="387"/>
                    <a:pt x="67" y="387"/>
                    <a:pt x="67" y="387"/>
                  </a:cubicBezTo>
                  <a:cubicBezTo>
                    <a:pt x="67" y="387"/>
                    <a:pt x="69" y="398"/>
                    <a:pt x="72" y="398"/>
                  </a:cubicBezTo>
                  <a:cubicBezTo>
                    <a:pt x="76" y="398"/>
                    <a:pt x="87" y="398"/>
                    <a:pt x="87" y="398"/>
                  </a:cubicBezTo>
                  <a:cubicBezTo>
                    <a:pt x="87" y="398"/>
                    <a:pt x="86" y="407"/>
                    <a:pt x="100" y="409"/>
                  </a:cubicBezTo>
                  <a:cubicBezTo>
                    <a:pt x="115" y="411"/>
                    <a:pt x="133" y="416"/>
                    <a:pt x="133" y="416"/>
                  </a:cubicBezTo>
                  <a:cubicBezTo>
                    <a:pt x="145" y="429"/>
                    <a:pt x="145" y="429"/>
                    <a:pt x="145" y="429"/>
                  </a:cubicBezTo>
                  <a:cubicBezTo>
                    <a:pt x="147" y="422"/>
                    <a:pt x="150" y="410"/>
                    <a:pt x="152" y="410"/>
                  </a:cubicBezTo>
                  <a:cubicBezTo>
                    <a:pt x="155" y="410"/>
                    <a:pt x="165" y="410"/>
                    <a:pt x="165" y="410"/>
                  </a:cubicBezTo>
                  <a:cubicBezTo>
                    <a:pt x="165" y="410"/>
                    <a:pt x="154" y="385"/>
                    <a:pt x="179" y="381"/>
                  </a:cubicBezTo>
                  <a:cubicBezTo>
                    <a:pt x="203" y="378"/>
                    <a:pt x="209" y="378"/>
                    <a:pt x="211" y="377"/>
                  </a:cubicBezTo>
                  <a:cubicBezTo>
                    <a:pt x="213" y="375"/>
                    <a:pt x="226" y="367"/>
                    <a:pt x="226" y="367"/>
                  </a:cubicBezTo>
                  <a:cubicBezTo>
                    <a:pt x="233" y="378"/>
                    <a:pt x="233" y="378"/>
                    <a:pt x="233" y="378"/>
                  </a:cubicBezTo>
                  <a:cubicBezTo>
                    <a:pt x="254" y="359"/>
                    <a:pt x="254" y="359"/>
                    <a:pt x="254" y="359"/>
                  </a:cubicBezTo>
                  <a:cubicBezTo>
                    <a:pt x="273" y="362"/>
                    <a:pt x="273" y="362"/>
                    <a:pt x="273" y="362"/>
                  </a:cubicBezTo>
                  <a:cubicBezTo>
                    <a:pt x="281" y="356"/>
                    <a:pt x="281" y="356"/>
                    <a:pt x="281" y="356"/>
                  </a:cubicBezTo>
                  <a:cubicBezTo>
                    <a:pt x="289" y="362"/>
                    <a:pt x="289" y="362"/>
                    <a:pt x="289" y="362"/>
                  </a:cubicBezTo>
                  <a:cubicBezTo>
                    <a:pt x="301" y="356"/>
                    <a:pt x="301" y="356"/>
                    <a:pt x="301" y="356"/>
                  </a:cubicBezTo>
                  <a:cubicBezTo>
                    <a:pt x="301" y="356"/>
                    <a:pt x="323" y="369"/>
                    <a:pt x="323" y="368"/>
                  </a:cubicBezTo>
                  <a:cubicBezTo>
                    <a:pt x="324" y="367"/>
                    <a:pt x="362" y="340"/>
                    <a:pt x="362" y="340"/>
                  </a:cubicBezTo>
                  <a:cubicBezTo>
                    <a:pt x="352" y="330"/>
                    <a:pt x="352" y="330"/>
                    <a:pt x="352" y="330"/>
                  </a:cubicBezTo>
                  <a:cubicBezTo>
                    <a:pt x="352" y="330"/>
                    <a:pt x="371" y="320"/>
                    <a:pt x="363" y="315"/>
                  </a:cubicBezTo>
                  <a:cubicBezTo>
                    <a:pt x="355" y="310"/>
                    <a:pt x="346" y="307"/>
                    <a:pt x="347" y="305"/>
                  </a:cubicBezTo>
                  <a:cubicBezTo>
                    <a:pt x="348" y="303"/>
                    <a:pt x="366" y="283"/>
                    <a:pt x="368" y="279"/>
                  </a:cubicBezTo>
                  <a:cubicBezTo>
                    <a:pt x="370" y="274"/>
                    <a:pt x="367" y="263"/>
                    <a:pt x="366" y="262"/>
                  </a:cubicBezTo>
                  <a:cubicBezTo>
                    <a:pt x="364" y="261"/>
                    <a:pt x="349" y="249"/>
                    <a:pt x="353" y="243"/>
                  </a:cubicBezTo>
                  <a:cubicBezTo>
                    <a:pt x="356" y="238"/>
                    <a:pt x="362" y="235"/>
                    <a:pt x="362" y="234"/>
                  </a:cubicBezTo>
                  <a:cubicBezTo>
                    <a:pt x="362" y="234"/>
                    <a:pt x="360" y="220"/>
                    <a:pt x="360" y="220"/>
                  </a:cubicBezTo>
                  <a:cubicBezTo>
                    <a:pt x="372" y="213"/>
                    <a:pt x="372" y="213"/>
                    <a:pt x="372" y="213"/>
                  </a:cubicBezTo>
                  <a:cubicBezTo>
                    <a:pt x="393" y="212"/>
                    <a:pt x="393" y="212"/>
                    <a:pt x="393" y="212"/>
                  </a:cubicBezTo>
                  <a:cubicBezTo>
                    <a:pt x="379" y="188"/>
                    <a:pt x="379" y="188"/>
                    <a:pt x="379" y="188"/>
                  </a:cubicBezTo>
                  <a:cubicBezTo>
                    <a:pt x="389" y="182"/>
                    <a:pt x="389" y="182"/>
                    <a:pt x="389" y="182"/>
                  </a:cubicBezTo>
                  <a:cubicBezTo>
                    <a:pt x="389" y="182"/>
                    <a:pt x="380" y="161"/>
                    <a:pt x="384" y="158"/>
                  </a:cubicBezTo>
                  <a:cubicBezTo>
                    <a:pt x="387" y="156"/>
                    <a:pt x="407" y="166"/>
                    <a:pt x="407" y="164"/>
                  </a:cubicBezTo>
                  <a:cubicBezTo>
                    <a:pt x="407" y="163"/>
                    <a:pt x="396" y="136"/>
                    <a:pt x="409" y="142"/>
                  </a:cubicBezTo>
                  <a:cubicBezTo>
                    <a:pt x="422" y="148"/>
                    <a:pt x="424" y="153"/>
                    <a:pt x="424" y="153"/>
                  </a:cubicBezTo>
                  <a:cubicBezTo>
                    <a:pt x="436" y="150"/>
                    <a:pt x="436" y="150"/>
                    <a:pt x="436" y="150"/>
                  </a:cubicBezTo>
                  <a:cubicBezTo>
                    <a:pt x="437" y="127"/>
                    <a:pt x="437" y="127"/>
                    <a:pt x="437" y="127"/>
                  </a:cubicBezTo>
                  <a:cubicBezTo>
                    <a:pt x="446" y="121"/>
                    <a:pt x="446" y="121"/>
                    <a:pt x="446" y="121"/>
                  </a:cubicBezTo>
                  <a:lnTo>
                    <a:pt x="421" y="96"/>
                  </a:lnTo>
                  <a:close/>
                  <a:moveTo>
                    <a:pt x="356" y="206"/>
                  </a:moveTo>
                  <a:cubicBezTo>
                    <a:pt x="355" y="215"/>
                    <a:pt x="355" y="215"/>
                    <a:pt x="355" y="215"/>
                  </a:cubicBezTo>
                  <a:cubicBezTo>
                    <a:pt x="351" y="220"/>
                    <a:pt x="351" y="220"/>
                    <a:pt x="351" y="220"/>
                  </a:cubicBezTo>
                  <a:cubicBezTo>
                    <a:pt x="306" y="219"/>
                    <a:pt x="306" y="219"/>
                    <a:pt x="306" y="219"/>
                  </a:cubicBezTo>
                  <a:cubicBezTo>
                    <a:pt x="306" y="219"/>
                    <a:pt x="301" y="215"/>
                    <a:pt x="301" y="211"/>
                  </a:cubicBezTo>
                  <a:cubicBezTo>
                    <a:pt x="301" y="206"/>
                    <a:pt x="306" y="205"/>
                    <a:pt x="306" y="205"/>
                  </a:cubicBezTo>
                  <a:cubicBezTo>
                    <a:pt x="305" y="194"/>
                    <a:pt x="305" y="194"/>
                    <a:pt x="305" y="194"/>
                  </a:cubicBezTo>
                  <a:cubicBezTo>
                    <a:pt x="309" y="190"/>
                    <a:pt x="309" y="190"/>
                    <a:pt x="309" y="190"/>
                  </a:cubicBezTo>
                  <a:cubicBezTo>
                    <a:pt x="352" y="189"/>
                    <a:pt x="352" y="189"/>
                    <a:pt x="352" y="189"/>
                  </a:cubicBezTo>
                  <a:cubicBezTo>
                    <a:pt x="358" y="197"/>
                    <a:pt x="358" y="197"/>
                    <a:pt x="358" y="197"/>
                  </a:cubicBezTo>
                  <a:lnTo>
                    <a:pt x="356" y="20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4" name="Freeform 328">
              <a:extLst>
                <a:ext uri="{FF2B5EF4-FFF2-40B4-BE49-F238E27FC236}">
                  <a16:creationId xmlns:a16="http://schemas.microsoft.com/office/drawing/2014/main" id="{71342230-66DE-4BC9-B299-9B8C09496C20}"/>
                </a:ext>
              </a:extLst>
            </p:cNvPr>
            <p:cNvSpPr>
              <a:spLocks noChangeAspect="1"/>
            </p:cNvSpPr>
            <p:nvPr/>
          </p:nvSpPr>
          <p:spPr bwMode="auto">
            <a:xfrm>
              <a:off x="13209" y="2711"/>
              <a:ext cx="114" cy="62"/>
            </a:xfrm>
            <a:custGeom>
              <a:avLst/>
              <a:gdLst>
                <a:gd name="T0" fmla="*/ 4096 w 57"/>
                <a:gd name="T1" fmla="*/ 512 h 31"/>
                <a:gd name="T2" fmla="*/ 2048 w 57"/>
                <a:gd name="T3" fmla="*/ 2560 h 31"/>
                <a:gd name="T4" fmla="*/ 2560 w 57"/>
                <a:gd name="T5" fmla="*/ 8192 h 31"/>
                <a:gd name="T6" fmla="*/ 0 w 57"/>
                <a:gd name="T7" fmla="*/ 11264 h 31"/>
                <a:gd name="T8" fmla="*/ 2560 w 57"/>
                <a:gd name="T9" fmla="*/ 15360 h 31"/>
                <a:gd name="T10" fmla="*/ 25600 w 57"/>
                <a:gd name="T11" fmla="*/ 15872 h 31"/>
                <a:gd name="T12" fmla="*/ 27648 w 57"/>
                <a:gd name="T13" fmla="*/ 13312 h 31"/>
                <a:gd name="T14" fmla="*/ 28160 w 57"/>
                <a:gd name="T15" fmla="*/ 8704 h 31"/>
                <a:gd name="T16" fmla="*/ 29184 w 57"/>
                <a:gd name="T17" fmla="*/ 4096 h 31"/>
                <a:gd name="T18" fmla="*/ 26112 w 57"/>
                <a:gd name="T19" fmla="*/ 0 h 31"/>
                <a:gd name="T20" fmla="*/ 4096 w 57"/>
                <a:gd name="T21" fmla="*/ 51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1"/>
                <a:gd name="T35" fmla="*/ 57 w 5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1">
                  <a:moveTo>
                    <a:pt x="8" y="1"/>
                  </a:moveTo>
                  <a:cubicBezTo>
                    <a:pt x="4" y="5"/>
                    <a:pt x="4" y="5"/>
                    <a:pt x="4" y="5"/>
                  </a:cubicBezTo>
                  <a:cubicBezTo>
                    <a:pt x="5" y="16"/>
                    <a:pt x="5" y="16"/>
                    <a:pt x="5" y="16"/>
                  </a:cubicBezTo>
                  <a:cubicBezTo>
                    <a:pt x="5" y="16"/>
                    <a:pt x="0" y="17"/>
                    <a:pt x="0" y="22"/>
                  </a:cubicBezTo>
                  <a:cubicBezTo>
                    <a:pt x="0" y="26"/>
                    <a:pt x="5" y="30"/>
                    <a:pt x="5" y="30"/>
                  </a:cubicBezTo>
                  <a:cubicBezTo>
                    <a:pt x="50" y="31"/>
                    <a:pt x="50" y="31"/>
                    <a:pt x="50" y="31"/>
                  </a:cubicBezTo>
                  <a:cubicBezTo>
                    <a:pt x="54" y="26"/>
                    <a:pt x="54" y="26"/>
                    <a:pt x="54" y="26"/>
                  </a:cubicBezTo>
                  <a:cubicBezTo>
                    <a:pt x="55" y="17"/>
                    <a:pt x="55" y="17"/>
                    <a:pt x="55" y="17"/>
                  </a:cubicBezTo>
                  <a:cubicBezTo>
                    <a:pt x="57" y="8"/>
                    <a:pt x="57" y="8"/>
                    <a:pt x="57" y="8"/>
                  </a:cubicBezTo>
                  <a:cubicBezTo>
                    <a:pt x="51" y="0"/>
                    <a:pt x="51" y="0"/>
                    <a:pt x="51" y="0"/>
                  </a:cubicBezTo>
                  <a:lnTo>
                    <a:pt x="8" y="1"/>
                  </a:lnTo>
                  <a:close/>
                </a:path>
              </a:pathLst>
            </a:custGeom>
            <a:grpFill/>
            <a:ln w="12700">
              <a:solidFill>
                <a:schemeClr val="bg1"/>
              </a:solidFill>
              <a:round/>
              <a:headEnd/>
              <a:tailEnd/>
            </a:ln>
          </p:spPr>
          <p:txBody>
            <a:bodyPr/>
            <a:lstStyle/>
            <a:p>
              <a:endParaRPr lang="en-US" sz="500" dirty="0">
                <a:solidFill>
                  <a:srgbClr val="000000"/>
                </a:solidFill>
              </a:endParaRPr>
            </a:p>
          </p:txBody>
        </p:sp>
        <p:sp>
          <p:nvSpPr>
            <p:cNvPr id="155" name="Freeform 330">
              <a:extLst>
                <a:ext uri="{FF2B5EF4-FFF2-40B4-BE49-F238E27FC236}">
                  <a16:creationId xmlns:a16="http://schemas.microsoft.com/office/drawing/2014/main" id="{71C581A5-79D6-4EBE-824A-6E6F6FF7673B}"/>
                </a:ext>
              </a:extLst>
            </p:cNvPr>
            <p:cNvSpPr>
              <a:spLocks noChangeAspect="1"/>
            </p:cNvSpPr>
            <p:nvPr/>
          </p:nvSpPr>
          <p:spPr bwMode="auto">
            <a:xfrm>
              <a:off x="12436" y="3555"/>
              <a:ext cx="812" cy="490"/>
            </a:xfrm>
            <a:custGeom>
              <a:avLst/>
              <a:gdLst/>
              <a:ahLst/>
              <a:cxnLst>
                <a:cxn ang="0">
                  <a:pos x="77" y="226"/>
                </a:cxn>
                <a:cxn ang="0">
                  <a:pos x="89" y="231"/>
                </a:cxn>
                <a:cxn ang="0">
                  <a:pos x="97" y="237"/>
                </a:cxn>
                <a:cxn ang="0">
                  <a:pos x="103" y="231"/>
                </a:cxn>
                <a:cxn ang="0">
                  <a:pos x="123" y="233"/>
                </a:cxn>
                <a:cxn ang="0">
                  <a:pos x="128" y="236"/>
                </a:cxn>
                <a:cxn ang="0">
                  <a:pos x="158" y="243"/>
                </a:cxn>
                <a:cxn ang="0">
                  <a:pos x="173" y="237"/>
                </a:cxn>
                <a:cxn ang="0">
                  <a:pos x="195" y="243"/>
                </a:cxn>
                <a:cxn ang="0">
                  <a:pos x="204" y="238"/>
                </a:cxn>
                <a:cxn ang="0">
                  <a:pos x="213" y="227"/>
                </a:cxn>
                <a:cxn ang="0">
                  <a:pos x="236" y="225"/>
                </a:cxn>
                <a:cxn ang="0">
                  <a:pos x="248" y="212"/>
                </a:cxn>
                <a:cxn ang="0">
                  <a:pos x="262" y="220"/>
                </a:cxn>
                <a:cxn ang="0">
                  <a:pos x="289" y="214"/>
                </a:cxn>
                <a:cxn ang="0">
                  <a:pos x="302" y="225"/>
                </a:cxn>
                <a:cxn ang="0">
                  <a:pos x="314" y="224"/>
                </a:cxn>
                <a:cxn ang="0">
                  <a:pos x="329" y="212"/>
                </a:cxn>
                <a:cxn ang="0">
                  <a:pos x="363" y="212"/>
                </a:cxn>
                <a:cxn ang="0">
                  <a:pos x="362" y="212"/>
                </a:cxn>
                <a:cxn ang="0">
                  <a:pos x="371" y="201"/>
                </a:cxn>
                <a:cxn ang="0">
                  <a:pos x="404" y="167"/>
                </a:cxn>
                <a:cxn ang="0">
                  <a:pos x="388" y="152"/>
                </a:cxn>
                <a:cxn ang="0">
                  <a:pos x="367" y="156"/>
                </a:cxn>
                <a:cxn ang="0">
                  <a:pos x="370" y="134"/>
                </a:cxn>
                <a:cxn ang="0">
                  <a:pos x="322" y="132"/>
                </a:cxn>
                <a:cxn ang="0">
                  <a:pos x="329" y="110"/>
                </a:cxn>
                <a:cxn ang="0">
                  <a:pos x="307" y="84"/>
                </a:cxn>
                <a:cxn ang="0">
                  <a:pos x="302" y="45"/>
                </a:cxn>
                <a:cxn ang="0">
                  <a:pos x="288" y="29"/>
                </a:cxn>
                <a:cxn ang="0">
                  <a:pos x="248" y="26"/>
                </a:cxn>
                <a:cxn ang="0">
                  <a:pos x="236" y="29"/>
                </a:cxn>
                <a:cxn ang="0">
                  <a:pos x="198" y="8"/>
                </a:cxn>
                <a:cxn ang="0">
                  <a:pos x="180" y="12"/>
                </a:cxn>
                <a:cxn ang="0">
                  <a:pos x="155" y="0"/>
                </a:cxn>
                <a:cxn ang="0">
                  <a:pos x="149" y="13"/>
                </a:cxn>
                <a:cxn ang="0">
                  <a:pos x="127" y="5"/>
                </a:cxn>
                <a:cxn ang="0">
                  <a:pos x="116" y="10"/>
                </a:cxn>
                <a:cxn ang="0">
                  <a:pos x="110" y="3"/>
                </a:cxn>
                <a:cxn ang="0">
                  <a:pos x="96" y="5"/>
                </a:cxn>
                <a:cxn ang="0">
                  <a:pos x="89" y="15"/>
                </a:cxn>
                <a:cxn ang="0">
                  <a:pos x="62" y="26"/>
                </a:cxn>
                <a:cxn ang="0">
                  <a:pos x="58" y="48"/>
                </a:cxn>
                <a:cxn ang="0">
                  <a:pos x="40" y="58"/>
                </a:cxn>
                <a:cxn ang="0">
                  <a:pos x="31" y="91"/>
                </a:cxn>
                <a:cxn ang="0">
                  <a:pos x="22" y="97"/>
                </a:cxn>
                <a:cxn ang="0">
                  <a:pos x="23" y="103"/>
                </a:cxn>
                <a:cxn ang="0">
                  <a:pos x="29" y="109"/>
                </a:cxn>
                <a:cxn ang="0">
                  <a:pos x="23" y="117"/>
                </a:cxn>
                <a:cxn ang="0">
                  <a:pos x="21" y="134"/>
                </a:cxn>
                <a:cxn ang="0">
                  <a:pos x="12" y="156"/>
                </a:cxn>
                <a:cxn ang="0">
                  <a:pos x="16" y="163"/>
                </a:cxn>
                <a:cxn ang="0">
                  <a:pos x="3" y="177"/>
                </a:cxn>
                <a:cxn ang="0">
                  <a:pos x="14" y="191"/>
                </a:cxn>
                <a:cxn ang="0">
                  <a:pos x="33" y="183"/>
                </a:cxn>
                <a:cxn ang="0">
                  <a:pos x="48" y="192"/>
                </a:cxn>
                <a:cxn ang="0">
                  <a:pos x="53" y="211"/>
                </a:cxn>
                <a:cxn ang="0">
                  <a:pos x="62" y="222"/>
                </a:cxn>
                <a:cxn ang="0">
                  <a:pos x="64" y="228"/>
                </a:cxn>
                <a:cxn ang="0">
                  <a:pos x="71" y="231"/>
                </a:cxn>
                <a:cxn ang="0">
                  <a:pos x="77" y="226"/>
                </a:cxn>
              </a:cxnLst>
              <a:rect l="0" t="0" r="r" b="b"/>
              <a:pathLst>
                <a:path w="404" h="245">
                  <a:moveTo>
                    <a:pt x="77" y="226"/>
                  </a:moveTo>
                  <a:cubicBezTo>
                    <a:pt x="77" y="226"/>
                    <a:pt x="86" y="228"/>
                    <a:pt x="89" y="231"/>
                  </a:cubicBezTo>
                  <a:cubicBezTo>
                    <a:pt x="91" y="233"/>
                    <a:pt x="96" y="237"/>
                    <a:pt x="97" y="237"/>
                  </a:cubicBezTo>
                  <a:cubicBezTo>
                    <a:pt x="98" y="236"/>
                    <a:pt x="103" y="231"/>
                    <a:pt x="103" y="231"/>
                  </a:cubicBezTo>
                  <a:cubicBezTo>
                    <a:pt x="104" y="231"/>
                    <a:pt x="123" y="233"/>
                    <a:pt x="123" y="233"/>
                  </a:cubicBezTo>
                  <a:cubicBezTo>
                    <a:pt x="123" y="233"/>
                    <a:pt x="126" y="236"/>
                    <a:pt x="128" y="236"/>
                  </a:cubicBezTo>
                  <a:cubicBezTo>
                    <a:pt x="129" y="236"/>
                    <a:pt x="153" y="243"/>
                    <a:pt x="158" y="243"/>
                  </a:cubicBezTo>
                  <a:cubicBezTo>
                    <a:pt x="163" y="242"/>
                    <a:pt x="173" y="237"/>
                    <a:pt x="173" y="237"/>
                  </a:cubicBezTo>
                  <a:cubicBezTo>
                    <a:pt x="173" y="237"/>
                    <a:pt x="193" y="245"/>
                    <a:pt x="195" y="243"/>
                  </a:cubicBezTo>
                  <a:cubicBezTo>
                    <a:pt x="197" y="242"/>
                    <a:pt x="204" y="238"/>
                    <a:pt x="204" y="238"/>
                  </a:cubicBezTo>
                  <a:cubicBezTo>
                    <a:pt x="204" y="237"/>
                    <a:pt x="211" y="227"/>
                    <a:pt x="213" y="227"/>
                  </a:cubicBezTo>
                  <a:cubicBezTo>
                    <a:pt x="215" y="226"/>
                    <a:pt x="235" y="225"/>
                    <a:pt x="236" y="225"/>
                  </a:cubicBezTo>
                  <a:cubicBezTo>
                    <a:pt x="237" y="225"/>
                    <a:pt x="240" y="209"/>
                    <a:pt x="248" y="212"/>
                  </a:cubicBezTo>
                  <a:cubicBezTo>
                    <a:pt x="256" y="214"/>
                    <a:pt x="261" y="220"/>
                    <a:pt x="262" y="220"/>
                  </a:cubicBezTo>
                  <a:cubicBezTo>
                    <a:pt x="263" y="219"/>
                    <a:pt x="280" y="207"/>
                    <a:pt x="289" y="214"/>
                  </a:cubicBezTo>
                  <a:cubicBezTo>
                    <a:pt x="299" y="220"/>
                    <a:pt x="302" y="225"/>
                    <a:pt x="302" y="225"/>
                  </a:cubicBezTo>
                  <a:cubicBezTo>
                    <a:pt x="302" y="225"/>
                    <a:pt x="314" y="225"/>
                    <a:pt x="314" y="224"/>
                  </a:cubicBezTo>
                  <a:cubicBezTo>
                    <a:pt x="314" y="223"/>
                    <a:pt x="328" y="212"/>
                    <a:pt x="329" y="212"/>
                  </a:cubicBezTo>
                  <a:cubicBezTo>
                    <a:pt x="330" y="212"/>
                    <a:pt x="350" y="212"/>
                    <a:pt x="363" y="212"/>
                  </a:cubicBezTo>
                  <a:cubicBezTo>
                    <a:pt x="363" y="212"/>
                    <a:pt x="362" y="212"/>
                    <a:pt x="362" y="212"/>
                  </a:cubicBezTo>
                  <a:cubicBezTo>
                    <a:pt x="362" y="204"/>
                    <a:pt x="371" y="201"/>
                    <a:pt x="371" y="201"/>
                  </a:cubicBezTo>
                  <a:cubicBezTo>
                    <a:pt x="404" y="167"/>
                    <a:pt x="404" y="167"/>
                    <a:pt x="404" y="167"/>
                  </a:cubicBezTo>
                  <a:cubicBezTo>
                    <a:pt x="388" y="152"/>
                    <a:pt x="388" y="152"/>
                    <a:pt x="388" y="152"/>
                  </a:cubicBezTo>
                  <a:cubicBezTo>
                    <a:pt x="367" y="156"/>
                    <a:pt x="367" y="156"/>
                    <a:pt x="367" y="156"/>
                  </a:cubicBezTo>
                  <a:cubicBezTo>
                    <a:pt x="370" y="134"/>
                    <a:pt x="370" y="134"/>
                    <a:pt x="370" y="134"/>
                  </a:cubicBezTo>
                  <a:cubicBezTo>
                    <a:pt x="322" y="132"/>
                    <a:pt x="322" y="132"/>
                    <a:pt x="322" y="132"/>
                  </a:cubicBezTo>
                  <a:cubicBezTo>
                    <a:pt x="329" y="110"/>
                    <a:pt x="329" y="110"/>
                    <a:pt x="329" y="110"/>
                  </a:cubicBezTo>
                  <a:cubicBezTo>
                    <a:pt x="307" y="84"/>
                    <a:pt x="307" y="84"/>
                    <a:pt x="307" y="84"/>
                  </a:cubicBezTo>
                  <a:cubicBezTo>
                    <a:pt x="307" y="84"/>
                    <a:pt x="310" y="57"/>
                    <a:pt x="302" y="45"/>
                  </a:cubicBezTo>
                  <a:cubicBezTo>
                    <a:pt x="295" y="33"/>
                    <a:pt x="288" y="29"/>
                    <a:pt x="288" y="29"/>
                  </a:cubicBezTo>
                  <a:cubicBezTo>
                    <a:pt x="248" y="26"/>
                    <a:pt x="248" y="26"/>
                    <a:pt x="248" y="26"/>
                  </a:cubicBezTo>
                  <a:cubicBezTo>
                    <a:pt x="236" y="29"/>
                    <a:pt x="236" y="29"/>
                    <a:pt x="236" y="29"/>
                  </a:cubicBezTo>
                  <a:cubicBezTo>
                    <a:pt x="236" y="29"/>
                    <a:pt x="198" y="9"/>
                    <a:pt x="198" y="8"/>
                  </a:cubicBezTo>
                  <a:cubicBezTo>
                    <a:pt x="197" y="8"/>
                    <a:pt x="180" y="12"/>
                    <a:pt x="180" y="12"/>
                  </a:cubicBezTo>
                  <a:cubicBezTo>
                    <a:pt x="155" y="0"/>
                    <a:pt x="155" y="0"/>
                    <a:pt x="155" y="0"/>
                  </a:cubicBezTo>
                  <a:cubicBezTo>
                    <a:pt x="155" y="0"/>
                    <a:pt x="150" y="12"/>
                    <a:pt x="149" y="13"/>
                  </a:cubicBezTo>
                  <a:cubicBezTo>
                    <a:pt x="149" y="14"/>
                    <a:pt x="127" y="5"/>
                    <a:pt x="127" y="5"/>
                  </a:cubicBezTo>
                  <a:cubicBezTo>
                    <a:pt x="127" y="5"/>
                    <a:pt x="117" y="10"/>
                    <a:pt x="116" y="10"/>
                  </a:cubicBezTo>
                  <a:cubicBezTo>
                    <a:pt x="115" y="10"/>
                    <a:pt x="110" y="3"/>
                    <a:pt x="110" y="3"/>
                  </a:cubicBezTo>
                  <a:cubicBezTo>
                    <a:pt x="96" y="5"/>
                    <a:pt x="96" y="5"/>
                    <a:pt x="96" y="5"/>
                  </a:cubicBezTo>
                  <a:cubicBezTo>
                    <a:pt x="89" y="15"/>
                    <a:pt x="89" y="15"/>
                    <a:pt x="89" y="15"/>
                  </a:cubicBezTo>
                  <a:cubicBezTo>
                    <a:pt x="62" y="26"/>
                    <a:pt x="62" y="26"/>
                    <a:pt x="62" y="26"/>
                  </a:cubicBezTo>
                  <a:cubicBezTo>
                    <a:pt x="62" y="26"/>
                    <a:pt x="59" y="45"/>
                    <a:pt x="58" y="48"/>
                  </a:cubicBezTo>
                  <a:cubicBezTo>
                    <a:pt x="56" y="52"/>
                    <a:pt x="40" y="58"/>
                    <a:pt x="40" y="58"/>
                  </a:cubicBezTo>
                  <a:cubicBezTo>
                    <a:pt x="31" y="91"/>
                    <a:pt x="31" y="91"/>
                    <a:pt x="31" y="91"/>
                  </a:cubicBezTo>
                  <a:cubicBezTo>
                    <a:pt x="31" y="91"/>
                    <a:pt x="26" y="94"/>
                    <a:pt x="22" y="97"/>
                  </a:cubicBezTo>
                  <a:cubicBezTo>
                    <a:pt x="23" y="103"/>
                    <a:pt x="23" y="103"/>
                    <a:pt x="23" y="103"/>
                  </a:cubicBezTo>
                  <a:cubicBezTo>
                    <a:pt x="29" y="109"/>
                    <a:pt x="29" y="109"/>
                    <a:pt x="29" y="109"/>
                  </a:cubicBezTo>
                  <a:cubicBezTo>
                    <a:pt x="23" y="117"/>
                    <a:pt x="23" y="117"/>
                    <a:pt x="23" y="117"/>
                  </a:cubicBezTo>
                  <a:cubicBezTo>
                    <a:pt x="23" y="117"/>
                    <a:pt x="26" y="128"/>
                    <a:pt x="21" y="134"/>
                  </a:cubicBezTo>
                  <a:cubicBezTo>
                    <a:pt x="17" y="140"/>
                    <a:pt x="12" y="156"/>
                    <a:pt x="12" y="156"/>
                  </a:cubicBezTo>
                  <a:cubicBezTo>
                    <a:pt x="16" y="163"/>
                    <a:pt x="16" y="163"/>
                    <a:pt x="16" y="163"/>
                  </a:cubicBezTo>
                  <a:cubicBezTo>
                    <a:pt x="16" y="163"/>
                    <a:pt x="6" y="172"/>
                    <a:pt x="3" y="177"/>
                  </a:cubicBezTo>
                  <a:cubicBezTo>
                    <a:pt x="0" y="183"/>
                    <a:pt x="14" y="191"/>
                    <a:pt x="14" y="191"/>
                  </a:cubicBezTo>
                  <a:cubicBezTo>
                    <a:pt x="33" y="183"/>
                    <a:pt x="33" y="183"/>
                    <a:pt x="33" y="183"/>
                  </a:cubicBezTo>
                  <a:cubicBezTo>
                    <a:pt x="33" y="183"/>
                    <a:pt x="44" y="189"/>
                    <a:pt x="48" y="192"/>
                  </a:cubicBezTo>
                  <a:cubicBezTo>
                    <a:pt x="52" y="194"/>
                    <a:pt x="53" y="206"/>
                    <a:pt x="53" y="211"/>
                  </a:cubicBezTo>
                  <a:cubicBezTo>
                    <a:pt x="53" y="217"/>
                    <a:pt x="55" y="217"/>
                    <a:pt x="62" y="222"/>
                  </a:cubicBezTo>
                  <a:cubicBezTo>
                    <a:pt x="65" y="224"/>
                    <a:pt x="65" y="226"/>
                    <a:pt x="64" y="228"/>
                  </a:cubicBezTo>
                  <a:cubicBezTo>
                    <a:pt x="71" y="231"/>
                    <a:pt x="71" y="231"/>
                    <a:pt x="71" y="231"/>
                  </a:cubicBezTo>
                  <a:lnTo>
                    <a:pt x="77" y="22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6" name="Freeform 331">
              <a:extLst>
                <a:ext uri="{FF2B5EF4-FFF2-40B4-BE49-F238E27FC236}">
                  <a16:creationId xmlns:a16="http://schemas.microsoft.com/office/drawing/2014/main" id="{41A36D61-812A-499A-8F72-3C5EF92512C6}"/>
                </a:ext>
              </a:extLst>
            </p:cNvPr>
            <p:cNvSpPr>
              <a:spLocks noChangeAspect="1"/>
            </p:cNvSpPr>
            <p:nvPr/>
          </p:nvSpPr>
          <p:spPr bwMode="auto">
            <a:xfrm>
              <a:off x="12546" y="3969"/>
              <a:ext cx="653" cy="410"/>
            </a:xfrm>
            <a:custGeom>
              <a:avLst/>
              <a:gdLst/>
              <a:ahLst/>
              <a:cxnLst>
                <a:cxn ang="0">
                  <a:pos x="6" y="30"/>
                </a:cxn>
                <a:cxn ang="0">
                  <a:pos x="1" y="40"/>
                </a:cxn>
                <a:cxn ang="0">
                  <a:pos x="4" y="55"/>
                </a:cxn>
                <a:cxn ang="0">
                  <a:pos x="0" y="70"/>
                </a:cxn>
                <a:cxn ang="0">
                  <a:pos x="13" y="78"/>
                </a:cxn>
                <a:cxn ang="0">
                  <a:pos x="23" y="70"/>
                </a:cxn>
                <a:cxn ang="0">
                  <a:pos x="31" y="78"/>
                </a:cxn>
                <a:cxn ang="0">
                  <a:pos x="43" y="70"/>
                </a:cxn>
                <a:cxn ang="0">
                  <a:pos x="50" y="79"/>
                </a:cxn>
                <a:cxn ang="0">
                  <a:pos x="66" y="78"/>
                </a:cxn>
                <a:cxn ang="0">
                  <a:pos x="119" y="95"/>
                </a:cxn>
                <a:cxn ang="0">
                  <a:pos x="138" y="93"/>
                </a:cxn>
                <a:cxn ang="0">
                  <a:pos x="156" y="112"/>
                </a:cxn>
                <a:cxn ang="0">
                  <a:pos x="196" y="153"/>
                </a:cxn>
                <a:cxn ang="0">
                  <a:pos x="244" y="153"/>
                </a:cxn>
                <a:cxn ang="0">
                  <a:pos x="243" y="162"/>
                </a:cxn>
                <a:cxn ang="0">
                  <a:pos x="229" y="178"/>
                </a:cxn>
                <a:cxn ang="0">
                  <a:pos x="227" y="193"/>
                </a:cxn>
                <a:cxn ang="0">
                  <a:pos x="218" y="199"/>
                </a:cxn>
                <a:cxn ang="0">
                  <a:pos x="222" y="204"/>
                </a:cxn>
                <a:cxn ang="0">
                  <a:pos x="231" y="198"/>
                </a:cxn>
                <a:cxn ang="0">
                  <a:pos x="243" y="205"/>
                </a:cxn>
                <a:cxn ang="0">
                  <a:pos x="278" y="170"/>
                </a:cxn>
                <a:cxn ang="0">
                  <a:pos x="299" y="160"/>
                </a:cxn>
                <a:cxn ang="0">
                  <a:pos x="310" y="128"/>
                </a:cxn>
                <a:cxn ang="0">
                  <a:pos x="324" y="94"/>
                </a:cxn>
                <a:cxn ang="0">
                  <a:pos x="307" y="83"/>
                </a:cxn>
                <a:cxn ang="0">
                  <a:pos x="318" y="74"/>
                </a:cxn>
                <a:cxn ang="0">
                  <a:pos x="306" y="47"/>
                </a:cxn>
                <a:cxn ang="0">
                  <a:pos x="318" y="18"/>
                </a:cxn>
                <a:cxn ang="0">
                  <a:pos x="308" y="5"/>
                </a:cxn>
                <a:cxn ang="0">
                  <a:pos x="274" y="5"/>
                </a:cxn>
                <a:cxn ang="0">
                  <a:pos x="259" y="17"/>
                </a:cxn>
                <a:cxn ang="0">
                  <a:pos x="247" y="18"/>
                </a:cxn>
                <a:cxn ang="0">
                  <a:pos x="234" y="7"/>
                </a:cxn>
                <a:cxn ang="0">
                  <a:pos x="207" y="13"/>
                </a:cxn>
                <a:cxn ang="0">
                  <a:pos x="193" y="5"/>
                </a:cxn>
                <a:cxn ang="0">
                  <a:pos x="181" y="18"/>
                </a:cxn>
                <a:cxn ang="0">
                  <a:pos x="158" y="20"/>
                </a:cxn>
                <a:cxn ang="0">
                  <a:pos x="149" y="31"/>
                </a:cxn>
                <a:cxn ang="0">
                  <a:pos x="140" y="36"/>
                </a:cxn>
                <a:cxn ang="0">
                  <a:pos x="118" y="30"/>
                </a:cxn>
                <a:cxn ang="0">
                  <a:pos x="103" y="36"/>
                </a:cxn>
                <a:cxn ang="0">
                  <a:pos x="73" y="29"/>
                </a:cxn>
                <a:cxn ang="0">
                  <a:pos x="68" y="26"/>
                </a:cxn>
                <a:cxn ang="0">
                  <a:pos x="48" y="24"/>
                </a:cxn>
                <a:cxn ang="0">
                  <a:pos x="42" y="30"/>
                </a:cxn>
                <a:cxn ang="0">
                  <a:pos x="34" y="24"/>
                </a:cxn>
                <a:cxn ang="0">
                  <a:pos x="22" y="19"/>
                </a:cxn>
                <a:cxn ang="0">
                  <a:pos x="16" y="24"/>
                </a:cxn>
                <a:cxn ang="0">
                  <a:pos x="9" y="21"/>
                </a:cxn>
                <a:cxn ang="0">
                  <a:pos x="6" y="30"/>
                </a:cxn>
              </a:cxnLst>
              <a:rect l="0" t="0" r="r" b="b"/>
              <a:pathLst>
                <a:path w="326" h="205">
                  <a:moveTo>
                    <a:pt x="6" y="30"/>
                  </a:moveTo>
                  <a:cubicBezTo>
                    <a:pt x="7" y="35"/>
                    <a:pt x="1" y="40"/>
                    <a:pt x="1" y="40"/>
                  </a:cubicBezTo>
                  <a:cubicBezTo>
                    <a:pt x="1" y="40"/>
                    <a:pt x="4" y="53"/>
                    <a:pt x="4" y="55"/>
                  </a:cubicBezTo>
                  <a:cubicBezTo>
                    <a:pt x="5" y="56"/>
                    <a:pt x="3" y="64"/>
                    <a:pt x="0" y="70"/>
                  </a:cubicBezTo>
                  <a:cubicBezTo>
                    <a:pt x="4" y="74"/>
                    <a:pt x="10" y="78"/>
                    <a:pt x="13" y="78"/>
                  </a:cubicBezTo>
                  <a:cubicBezTo>
                    <a:pt x="17" y="78"/>
                    <a:pt x="23" y="70"/>
                    <a:pt x="23" y="70"/>
                  </a:cubicBezTo>
                  <a:cubicBezTo>
                    <a:pt x="31" y="78"/>
                    <a:pt x="31" y="78"/>
                    <a:pt x="31" y="78"/>
                  </a:cubicBezTo>
                  <a:cubicBezTo>
                    <a:pt x="43" y="70"/>
                    <a:pt x="43" y="70"/>
                    <a:pt x="43" y="70"/>
                  </a:cubicBezTo>
                  <a:cubicBezTo>
                    <a:pt x="43" y="70"/>
                    <a:pt x="50" y="79"/>
                    <a:pt x="50" y="79"/>
                  </a:cubicBezTo>
                  <a:cubicBezTo>
                    <a:pt x="51" y="79"/>
                    <a:pt x="66" y="78"/>
                    <a:pt x="66" y="78"/>
                  </a:cubicBezTo>
                  <a:cubicBezTo>
                    <a:pt x="119" y="95"/>
                    <a:pt x="119" y="95"/>
                    <a:pt x="119" y="95"/>
                  </a:cubicBezTo>
                  <a:cubicBezTo>
                    <a:pt x="119" y="95"/>
                    <a:pt x="130" y="84"/>
                    <a:pt x="138" y="93"/>
                  </a:cubicBezTo>
                  <a:cubicBezTo>
                    <a:pt x="147" y="101"/>
                    <a:pt x="156" y="112"/>
                    <a:pt x="156" y="112"/>
                  </a:cubicBezTo>
                  <a:cubicBezTo>
                    <a:pt x="196" y="153"/>
                    <a:pt x="196" y="153"/>
                    <a:pt x="196" y="153"/>
                  </a:cubicBezTo>
                  <a:cubicBezTo>
                    <a:pt x="196" y="153"/>
                    <a:pt x="245" y="153"/>
                    <a:pt x="244" y="153"/>
                  </a:cubicBezTo>
                  <a:cubicBezTo>
                    <a:pt x="244" y="154"/>
                    <a:pt x="248" y="160"/>
                    <a:pt x="243" y="162"/>
                  </a:cubicBezTo>
                  <a:cubicBezTo>
                    <a:pt x="238" y="164"/>
                    <a:pt x="229" y="178"/>
                    <a:pt x="229" y="178"/>
                  </a:cubicBezTo>
                  <a:cubicBezTo>
                    <a:pt x="227" y="193"/>
                    <a:pt x="227" y="193"/>
                    <a:pt x="227" y="193"/>
                  </a:cubicBezTo>
                  <a:cubicBezTo>
                    <a:pt x="218" y="199"/>
                    <a:pt x="218" y="199"/>
                    <a:pt x="218" y="199"/>
                  </a:cubicBezTo>
                  <a:cubicBezTo>
                    <a:pt x="222" y="204"/>
                    <a:pt x="222" y="204"/>
                    <a:pt x="222" y="204"/>
                  </a:cubicBezTo>
                  <a:cubicBezTo>
                    <a:pt x="231" y="198"/>
                    <a:pt x="231" y="198"/>
                    <a:pt x="231" y="198"/>
                  </a:cubicBezTo>
                  <a:cubicBezTo>
                    <a:pt x="243" y="205"/>
                    <a:pt x="243" y="205"/>
                    <a:pt x="243" y="205"/>
                  </a:cubicBezTo>
                  <a:cubicBezTo>
                    <a:pt x="255" y="190"/>
                    <a:pt x="269" y="178"/>
                    <a:pt x="278" y="170"/>
                  </a:cubicBezTo>
                  <a:cubicBezTo>
                    <a:pt x="289" y="161"/>
                    <a:pt x="292" y="164"/>
                    <a:pt x="299" y="160"/>
                  </a:cubicBezTo>
                  <a:cubicBezTo>
                    <a:pt x="306" y="156"/>
                    <a:pt x="310" y="128"/>
                    <a:pt x="310" y="128"/>
                  </a:cubicBezTo>
                  <a:cubicBezTo>
                    <a:pt x="310" y="128"/>
                    <a:pt x="323" y="94"/>
                    <a:pt x="324" y="94"/>
                  </a:cubicBezTo>
                  <a:cubicBezTo>
                    <a:pt x="326" y="94"/>
                    <a:pt x="307" y="83"/>
                    <a:pt x="307" y="83"/>
                  </a:cubicBezTo>
                  <a:cubicBezTo>
                    <a:pt x="307" y="83"/>
                    <a:pt x="317" y="74"/>
                    <a:pt x="318" y="74"/>
                  </a:cubicBezTo>
                  <a:cubicBezTo>
                    <a:pt x="319" y="74"/>
                    <a:pt x="311" y="58"/>
                    <a:pt x="306" y="47"/>
                  </a:cubicBezTo>
                  <a:cubicBezTo>
                    <a:pt x="302" y="36"/>
                    <a:pt x="315" y="24"/>
                    <a:pt x="318" y="18"/>
                  </a:cubicBezTo>
                  <a:cubicBezTo>
                    <a:pt x="321" y="12"/>
                    <a:pt x="308" y="14"/>
                    <a:pt x="308" y="5"/>
                  </a:cubicBezTo>
                  <a:cubicBezTo>
                    <a:pt x="295" y="5"/>
                    <a:pt x="275" y="5"/>
                    <a:pt x="274" y="5"/>
                  </a:cubicBezTo>
                  <a:cubicBezTo>
                    <a:pt x="273" y="5"/>
                    <a:pt x="259" y="16"/>
                    <a:pt x="259" y="17"/>
                  </a:cubicBezTo>
                  <a:cubicBezTo>
                    <a:pt x="259" y="18"/>
                    <a:pt x="247" y="18"/>
                    <a:pt x="247" y="18"/>
                  </a:cubicBezTo>
                  <a:cubicBezTo>
                    <a:pt x="247" y="18"/>
                    <a:pt x="244" y="13"/>
                    <a:pt x="234" y="7"/>
                  </a:cubicBezTo>
                  <a:cubicBezTo>
                    <a:pt x="225" y="0"/>
                    <a:pt x="208" y="12"/>
                    <a:pt x="207" y="13"/>
                  </a:cubicBezTo>
                  <a:cubicBezTo>
                    <a:pt x="206" y="13"/>
                    <a:pt x="201" y="7"/>
                    <a:pt x="193" y="5"/>
                  </a:cubicBezTo>
                  <a:cubicBezTo>
                    <a:pt x="185" y="2"/>
                    <a:pt x="182" y="18"/>
                    <a:pt x="181" y="18"/>
                  </a:cubicBezTo>
                  <a:cubicBezTo>
                    <a:pt x="180" y="18"/>
                    <a:pt x="160" y="19"/>
                    <a:pt x="158" y="20"/>
                  </a:cubicBezTo>
                  <a:cubicBezTo>
                    <a:pt x="156" y="20"/>
                    <a:pt x="149" y="30"/>
                    <a:pt x="149" y="31"/>
                  </a:cubicBezTo>
                  <a:cubicBezTo>
                    <a:pt x="149" y="31"/>
                    <a:pt x="142" y="35"/>
                    <a:pt x="140" y="36"/>
                  </a:cubicBezTo>
                  <a:cubicBezTo>
                    <a:pt x="138" y="38"/>
                    <a:pt x="118" y="30"/>
                    <a:pt x="118" y="30"/>
                  </a:cubicBezTo>
                  <a:cubicBezTo>
                    <a:pt x="118" y="30"/>
                    <a:pt x="108" y="35"/>
                    <a:pt x="103" y="36"/>
                  </a:cubicBezTo>
                  <a:cubicBezTo>
                    <a:pt x="98" y="36"/>
                    <a:pt x="74" y="29"/>
                    <a:pt x="73" y="29"/>
                  </a:cubicBezTo>
                  <a:cubicBezTo>
                    <a:pt x="71" y="29"/>
                    <a:pt x="68" y="26"/>
                    <a:pt x="68" y="26"/>
                  </a:cubicBezTo>
                  <a:cubicBezTo>
                    <a:pt x="68" y="26"/>
                    <a:pt x="49" y="24"/>
                    <a:pt x="48" y="24"/>
                  </a:cubicBezTo>
                  <a:cubicBezTo>
                    <a:pt x="48" y="24"/>
                    <a:pt x="43" y="29"/>
                    <a:pt x="42" y="30"/>
                  </a:cubicBezTo>
                  <a:cubicBezTo>
                    <a:pt x="41" y="30"/>
                    <a:pt x="36" y="26"/>
                    <a:pt x="34" y="24"/>
                  </a:cubicBezTo>
                  <a:cubicBezTo>
                    <a:pt x="31" y="21"/>
                    <a:pt x="22" y="19"/>
                    <a:pt x="22" y="19"/>
                  </a:cubicBezTo>
                  <a:cubicBezTo>
                    <a:pt x="16" y="24"/>
                    <a:pt x="16" y="24"/>
                    <a:pt x="16" y="24"/>
                  </a:cubicBezTo>
                  <a:cubicBezTo>
                    <a:pt x="9" y="21"/>
                    <a:pt x="9" y="21"/>
                    <a:pt x="9" y="21"/>
                  </a:cubicBezTo>
                  <a:cubicBezTo>
                    <a:pt x="8" y="24"/>
                    <a:pt x="5" y="27"/>
                    <a:pt x="6" y="3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7" name="Freeform 332">
              <a:extLst>
                <a:ext uri="{FF2B5EF4-FFF2-40B4-BE49-F238E27FC236}">
                  <a16:creationId xmlns:a16="http://schemas.microsoft.com/office/drawing/2014/main" id="{6D89575B-2B55-4BF7-9685-6D0BE225C7BB}"/>
                </a:ext>
              </a:extLst>
            </p:cNvPr>
            <p:cNvSpPr>
              <a:spLocks noChangeAspect="1"/>
            </p:cNvSpPr>
            <p:nvPr/>
          </p:nvSpPr>
          <p:spPr bwMode="auto">
            <a:xfrm>
              <a:off x="12628" y="3223"/>
              <a:ext cx="1081" cy="664"/>
            </a:xfrm>
            <a:custGeom>
              <a:avLst/>
              <a:gdLst/>
              <a:ahLst/>
              <a:cxnLst>
                <a:cxn ang="0">
                  <a:pos x="529" y="184"/>
                </a:cxn>
                <a:cxn ang="0">
                  <a:pos x="534" y="174"/>
                </a:cxn>
                <a:cxn ang="0">
                  <a:pos x="511" y="172"/>
                </a:cxn>
                <a:cxn ang="0">
                  <a:pos x="501" y="160"/>
                </a:cxn>
                <a:cxn ang="0">
                  <a:pos x="471" y="173"/>
                </a:cxn>
                <a:cxn ang="0">
                  <a:pos x="453" y="173"/>
                </a:cxn>
                <a:cxn ang="0">
                  <a:pos x="440" y="184"/>
                </a:cxn>
                <a:cxn ang="0">
                  <a:pos x="424" y="190"/>
                </a:cxn>
                <a:cxn ang="0">
                  <a:pos x="400" y="178"/>
                </a:cxn>
                <a:cxn ang="0">
                  <a:pos x="388" y="161"/>
                </a:cxn>
                <a:cxn ang="0">
                  <a:pos x="392" y="141"/>
                </a:cxn>
                <a:cxn ang="0">
                  <a:pos x="391" y="132"/>
                </a:cxn>
                <a:cxn ang="0">
                  <a:pos x="395" y="113"/>
                </a:cxn>
                <a:cxn ang="0">
                  <a:pos x="367" y="102"/>
                </a:cxn>
                <a:cxn ang="0">
                  <a:pos x="358" y="79"/>
                </a:cxn>
                <a:cxn ang="0">
                  <a:pos x="361" y="55"/>
                </a:cxn>
                <a:cxn ang="0">
                  <a:pos x="353" y="27"/>
                </a:cxn>
                <a:cxn ang="0">
                  <a:pos x="336" y="14"/>
                </a:cxn>
                <a:cxn ang="0">
                  <a:pos x="321" y="12"/>
                </a:cxn>
                <a:cxn ang="0">
                  <a:pos x="307" y="18"/>
                </a:cxn>
                <a:cxn ang="0">
                  <a:pos x="293" y="17"/>
                </a:cxn>
                <a:cxn ang="0">
                  <a:pos x="270" y="25"/>
                </a:cxn>
                <a:cxn ang="0">
                  <a:pos x="256" y="26"/>
                </a:cxn>
                <a:cxn ang="0">
                  <a:pos x="249" y="29"/>
                </a:cxn>
                <a:cxn ang="0">
                  <a:pos x="236" y="33"/>
                </a:cxn>
                <a:cxn ang="0">
                  <a:pos x="221" y="14"/>
                </a:cxn>
                <a:cxn ang="0">
                  <a:pos x="203" y="8"/>
                </a:cxn>
                <a:cxn ang="0">
                  <a:pos x="175" y="12"/>
                </a:cxn>
                <a:cxn ang="0">
                  <a:pos x="164" y="8"/>
                </a:cxn>
                <a:cxn ang="0">
                  <a:pos x="148" y="10"/>
                </a:cxn>
                <a:cxn ang="0">
                  <a:pos x="124" y="19"/>
                </a:cxn>
                <a:cxn ang="0">
                  <a:pos x="108" y="34"/>
                </a:cxn>
                <a:cxn ang="0">
                  <a:pos x="93" y="67"/>
                </a:cxn>
                <a:cxn ang="0">
                  <a:pos x="68" y="103"/>
                </a:cxn>
                <a:cxn ang="0">
                  <a:pos x="63" y="114"/>
                </a:cxn>
                <a:cxn ang="0">
                  <a:pos x="47" y="139"/>
                </a:cxn>
                <a:cxn ang="0">
                  <a:pos x="0" y="170"/>
                </a:cxn>
                <a:cxn ang="0">
                  <a:pos x="20" y="175"/>
                </a:cxn>
                <a:cxn ang="0">
                  <a:pos x="53" y="178"/>
                </a:cxn>
                <a:cxn ang="0">
                  <a:pos x="84" y="177"/>
                </a:cxn>
                <a:cxn ang="0">
                  <a:pos x="140" y="194"/>
                </a:cxn>
                <a:cxn ang="0">
                  <a:pos x="192" y="194"/>
                </a:cxn>
                <a:cxn ang="0">
                  <a:pos x="211" y="249"/>
                </a:cxn>
                <a:cxn ang="0">
                  <a:pos x="226" y="297"/>
                </a:cxn>
                <a:cxn ang="0">
                  <a:pos x="271" y="321"/>
                </a:cxn>
                <a:cxn ang="0">
                  <a:pos x="308" y="332"/>
                </a:cxn>
                <a:cxn ang="0">
                  <a:pos x="327" y="305"/>
                </a:cxn>
                <a:cxn ang="0">
                  <a:pos x="375" y="269"/>
                </a:cxn>
                <a:cxn ang="0">
                  <a:pos x="401" y="254"/>
                </a:cxn>
                <a:cxn ang="0">
                  <a:pos x="426" y="241"/>
                </a:cxn>
                <a:cxn ang="0">
                  <a:pos x="466" y="253"/>
                </a:cxn>
                <a:cxn ang="0">
                  <a:pos x="463" y="230"/>
                </a:cxn>
                <a:cxn ang="0">
                  <a:pos x="496" y="212"/>
                </a:cxn>
                <a:cxn ang="0">
                  <a:pos x="498" y="195"/>
                </a:cxn>
              </a:cxnLst>
              <a:rect l="0" t="0" r="r" b="b"/>
              <a:pathLst>
                <a:path w="539" h="332">
                  <a:moveTo>
                    <a:pt x="512" y="186"/>
                  </a:moveTo>
                  <a:cubicBezTo>
                    <a:pt x="521" y="184"/>
                    <a:pt x="526" y="184"/>
                    <a:pt x="529" y="184"/>
                  </a:cubicBezTo>
                  <a:cubicBezTo>
                    <a:pt x="532" y="184"/>
                    <a:pt x="539" y="178"/>
                    <a:pt x="539" y="178"/>
                  </a:cubicBezTo>
                  <a:cubicBezTo>
                    <a:pt x="534" y="174"/>
                    <a:pt x="534" y="174"/>
                    <a:pt x="534" y="174"/>
                  </a:cubicBezTo>
                  <a:cubicBezTo>
                    <a:pt x="527" y="169"/>
                    <a:pt x="527" y="169"/>
                    <a:pt x="527" y="169"/>
                  </a:cubicBezTo>
                  <a:cubicBezTo>
                    <a:pt x="527" y="169"/>
                    <a:pt x="519" y="172"/>
                    <a:pt x="511" y="172"/>
                  </a:cubicBezTo>
                  <a:cubicBezTo>
                    <a:pt x="503" y="172"/>
                    <a:pt x="508" y="171"/>
                    <a:pt x="506" y="164"/>
                  </a:cubicBezTo>
                  <a:cubicBezTo>
                    <a:pt x="504" y="157"/>
                    <a:pt x="501" y="160"/>
                    <a:pt x="501" y="160"/>
                  </a:cubicBezTo>
                  <a:cubicBezTo>
                    <a:pt x="484" y="162"/>
                    <a:pt x="484" y="162"/>
                    <a:pt x="484" y="162"/>
                  </a:cubicBezTo>
                  <a:cubicBezTo>
                    <a:pt x="484" y="162"/>
                    <a:pt x="477" y="170"/>
                    <a:pt x="471" y="173"/>
                  </a:cubicBezTo>
                  <a:cubicBezTo>
                    <a:pt x="464" y="175"/>
                    <a:pt x="455" y="169"/>
                    <a:pt x="455" y="169"/>
                  </a:cubicBezTo>
                  <a:cubicBezTo>
                    <a:pt x="453" y="173"/>
                    <a:pt x="453" y="173"/>
                    <a:pt x="453" y="173"/>
                  </a:cubicBezTo>
                  <a:cubicBezTo>
                    <a:pt x="446" y="170"/>
                    <a:pt x="446" y="170"/>
                    <a:pt x="446" y="170"/>
                  </a:cubicBezTo>
                  <a:cubicBezTo>
                    <a:pt x="440" y="184"/>
                    <a:pt x="440" y="184"/>
                    <a:pt x="440" y="184"/>
                  </a:cubicBezTo>
                  <a:cubicBezTo>
                    <a:pt x="429" y="184"/>
                    <a:pt x="429" y="184"/>
                    <a:pt x="429" y="184"/>
                  </a:cubicBezTo>
                  <a:cubicBezTo>
                    <a:pt x="424" y="190"/>
                    <a:pt x="424" y="190"/>
                    <a:pt x="424" y="190"/>
                  </a:cubicBezTo>
                  <a:cubicBezTo>
                    <a:pt x="410" y="189"/>
                    <a:pt x="410" y="189"/>
                    <a:pt x="410" y="189"/>
                  </a:cubicBezTo>
                  <a:cubicBezTo>
                    <a:pt x="400" y="178"/>
                    <a:pt x="400" y="178"/>
                    <a:pt x="400" y="178"/>
                  </a:cubicBezTo>
                  <a:cubicBezTo>
                    <a:pt x="400" y="166"/>
                    <a:pt x="400" y="166"/>
                    <a:pt x="400" y="166"/>
                  </a:cubicBezTo>
                  <a:cubicBezTo>
                    <a:pt x="400" y="166"/>
                    <a:pt x="393" y="162"/>
                    <a:pt x="388" y="161"/>
                  </a:cubicBezTo>
                  <a:cubicBezTo>
                    <a:pt x="382" y="159"/>
                    <a:pt x="380" y="152"/>
                    <a:pt x="384" y="152"/>
                  </a:cubicBezTo>
                  <a:cubicBezTo>
                    <a:pt x="388" y="152"/>
                    <a:pt x="392" y="141"/>
                    <a:pt x="392" y="141"/>
                  </a:cubicBezTo>
                  <a:cubicBezTo>
                    <a:pt x="383" y="136"/>
                    <a:pt x="383" y="136"/>
                    <a:pt x="383" y="136"/>
                  </a:cubicBezTo>
                  <a:cubicBezTo>
                    <a:pt x="391" y="132"/>
                    <a:pt x="391" y="132"/>
                    <a:pt x="391" y="132"/>
                  </a:cubicBezTo>
                  <a:cubicBezTo>
                    <a:pt x="386" y="127"/>
                    <a:pt x="386" y="127"/>
                    <a:pt x="386" y="127"/>
                  </a:cubicBezTo>
                  <a:cubicBezTo>
                    <a:pt x="386" y="127"/>
                    <a:pt x="393" y="115"/>
                    <a:pt x="395" y="113"/>
                  </a:cubicBezTo>
                  <a:cubicBezTo>
                    <a:pt x="397" y="111"/>
                    <a:pt x="397" y="99"/>
                    <a:pt x="384" y="97"/>
                  </a:cubicBezTo>
                  <a:cubicBezTo>
                    <a:pt x="371" y="94"/>
                    <a:pt x="367" y="102"/>
                    <a:pt x="367" y="102"/>
                  </a:cubicBezTo>
                  <a:cubicBezTo>
                    <a:pt x="367" y="102"/>
                    <a:pt x="367" y="94"/>
                    <a:pt x="365" y="90"/>
                  </a:cubicBezTo>
                  <a:cubicBezTo>
                    <a:pt x="363" y="86"/>
                    <a:pt x="358" y="86"/>
                    <a:pt x="358" y="79"/>
                  </a:cubicBezTo>
                  <a:cubicBezTo>
                    <a:pt x="357" y="72"/>
                    <a:pt x="353" y="73"/>
                    <a:pt x="352" y="66"/>
                  </a:cubicBezTo>
                  <a:cubicBezTo>
                    <a:pt x="351" y="58"/>
                    <a:pt x="360" y="56"/>
                    <a:pt x="361" y="55"/>
                  </a:cubicBezTo>
                  <a:cubicBezTo>
                    <a:pt x="362" y="53"/>
                    <a:pt x="347" y="39"/>
                    <a:pt x="347" y="39"/>
                  </a:cubicBezTo>
                  <a:cubicBezTo>
                    <a:pt x="353" y="27"/>
                    <a:pt x="353" y="27"/>
                    <a:pt x="353" y="27"/>
                  </a:cubicBezTo>
                  <a:cubicBezTo>
                    <a:pt x="353" y="27"/>
                    <a:pt x="346" y="21"/>
                    <a:pt x="343" y="20"/>
                  </a:cubicBezTo>
                  <a:cubicBezTo>
                    <a:pt x="339" y="18"/>
                    <a:pt x="336" y="14"/>
                    <a:pt x="336" y="14"/>
                  </a:cubicBezTo>
                  <a:cubicBezTo>
                    <a:pt x="330" y="18"/>
                    <a:pt x="330" y="18"/>
                    <a:pt x="330" y="18"/>
                  </a:cubicBezTo>
                  <a:cubicBezTo>
                    <a:pt x="330" y="18"/>
                    <a:pt x="328" y="13"/>
                    <a:pt x="321" y="12"/>
                  </a:cubicBezTo>
                  <a:cubicBezTo>
                    <a:pt x="315" y="12"/>
                    <a:pt x="314" y="20"/>
                    <a:pt x="314" y="20"/>
                  </a:cubicBezTo>
                  <a:cubicBezTo>
                    <a:pt x="307" y="18"/>
                    <a:pt x="307" y="18"/>
                    <a:pt x="307" y="18"/>
                  </a:cubicBezTo>
                  <a:cubicBezTo>
                    <a:pt x="307" y="18"/>
                    <a:pt x="307" y="22"/>
                    <a:pt x="304" y="22"/>
                  </a:cubicBezTo>
                  <a:cubicBezTo>
                    <a:pt x="300" y="23"/>
                    <a:pt x="293" y="17"/>
                    <a:pt x="293" y="17"/>
                  </a:cubicBezTo>
                  <a:cubicBezTo>
                    <a:pt x="293" y="22"/>
                    <a:pt x="293" y="22"/>
                    <a:pt x="293" y="22"/>
                  </a:cubicBezTo>
                  <a:cubicBezTo>
                    <a:pt x="293" y="22"/>
                    <a:pt x="273" y="21"/>
                    <a:pt x="270" y="25"/>
                  </a:cubicBezTo>
                  <a:cubicBezTo>
                    <a:pt x="267" y="28"/>
                    <a:pt x="261" y="20"/>
                    <a:pt x="261" y="20"/>
                  </a:cubicBezTo>
                  <a:cubicBezTo>
                    <a:pt x="256" y="26"/>
                    <a:pt x="256" y="26"/>
                    <a:pt x="256" y="26"/>
                  </a:cubicBezTo>
                  <a:cubicBezTo>
                    <a:pt x="256" y="26"/>
                    <a:pt x="256" y="42"/>
                    <a:pt x="251" y="42"/>
                  </a:cubicBezTo>
                  <a:cubicBezTo>
                    <a:pt x="247" y="42"/>
                    <a:pt x="249" y="34"/>
                    <a:pt x="249" y="29"/>
                  </a:cubicBezTo>
                  <a:cubicBezTo>
                    <a:pt x="249" y="24"/>
                    <a:pt x="244" y="23"/>
                    <a:pt x="244" y="23"/>
                  </a:cubicBezTo>
                  <a:cubicBezTo>
                    <a:pt x="244" y="23"/>
                    <a:pt x="242" y="33"/>
                    <a:pt x="236" y="33"/>
                  </a:cubicBezTo>
                  <a:cubicBezTo>
                    <a:pt x="229" y="33"/>
                    <a:pt x="226" y="23"/>
                    <a:pt x="226" y="23"/>
                  </a:cubicBezTo>
                  <a:cubicBezTo>
                    <a:pt x="226" y="23"/>
                    <a:pt x="222" y="14"/>
                    <a:pt x="221" y="14"/>
                  </a:cubicBezTo>
                  <a:cubicBezTo>
                    <a:pt x="220" y="14"/>
                    <a:pt x="217" y="9"/>
                    <a:pt x="217" y="9"/>
                  </a:cubicBezTo>
                  <a:cubicBezTo>
                    <a:pt x="203" y="8"/>
                    <a:pt x="203" y="8"/>
                    <a:pt x="203" y="8"/>
                  </a:cubicBezTo>
                  <a:cubicBezTo>
                    <a:pt x="196" y="12"/>
                    <a:pt x="196" y="12"/>
                    <a:pt x="196" y="12"/>
                  </a:cubicBezTo>
                  <a:cubicBezTo>
                    <a:pt x="196" y="12"/>
                    <a:pt x="176" y="12"/>
                    <a:pt x="175" y="12"/>
                  </a:cubicBezTo>
                  <a:cubicBezTo>
                    <a:pt x="174" y="12"/>
                    <a:pt x="173" y="5"/>
                    <a:pt x="173" y="5"/>
                  </a:cubicBezTo>
                  <a:cubicBezTo>
                    <a:pt x="164" y="8"/>
                    <a:pt x="164" y="8"/>
                    <a:pt x="164" y="8"/>
                  </a:cubicBezTo>
                  <a:cubicBezTo>
                    <a:pt x="164" y="8"/>
                    <a:pt x="159" y="1"/>
                    <a:pt x="158" y="0"/>
                  </a:cubicBezTo>
                  <a:cubicBezTo>
                    <a:pt x="157" y="0"/>
                    <a:pt x="148" y="10"/>
                    <a:pt x="148" y="10"/>
                  </a:cubicBezTo>
                  <a:cubicBezTo>
                    <a:pt x="139" y="8"/>
                    <a:pt x="139" y="8"/>
                    <a:pt x="139" y="8"/>
                  </a:cubicBezTo>
                  <a:cubicBezTo>
                    <a:pt x="139" y="8"/>
                    <a:pt x="130" y="15"/>
                    <a:pt x="124" y="19"/>
                  </a:cubicBezTo>
                  <a:cubicBezTo>
                    <a:pt x="123" y="33"/>
                    <a:pt x="123" y="33"/>
                    <a:pt x="123" y="33"/>
                  </a:cubicBezTo>
                  <a:cubicBezTo>
                    <a:pt x="108" y="34"/>
                    <a:pt x="108" y="34"/>
                    <a:pt x="108" y="34"/>
                  </a:cubicBezTo>
                  <a:cubicBezTo>
                    <a:pt x="86" y="56"/>
                    <a:pt x="86" y="56"/>
                    <a:pt x="86" y="56"/>
                  </a:cubicBezTo>
                  <a:cubicBezTo>
                    <a:pt x="93" y="67"/>
                    <a:pt x="93" y="67"/>
                    <a:pt x="93" y="67"/>
                  </a:cubicBezTo>
                  <a:cubicBezTo>
                    <a:pt x="93" y="67"/>
                    <a:pt x="75" y="81"/>
                    <a:pt x="74" y="82"/>
                  </a:cubicBezTo>
                  <a:cubicBezTo>
                    <a:pt x="73" y="83"/>
                    <a:pt x="68" y="103"/>
                    <a:pt x="68" y="103"/>
                  </a:cubicBezTo>
                  <a:cubicBezTo>
                    <a:pt x="58" y="105"/>
                    <a:pt x="58" y="105"/>
                    <a:pt x="58" y="105"/>
                  </a:cubicBezTo>
                  <a:cubicBezTo>
                    <a:pt x="63" y="114"/>
                    <a:pt x="63" y="114"/>
                    <a:pt x="63" y="114"/>
                  </a:cubicBezTo>
                  <a:cubicBezTo>
                    <a:pt x="63" y="114"/>
                    <a:pt x="48" y="126"/>
                    <a:pt x="47" y="127"/>
                  </a:cubicBezTo>
                  <a:cubicBezTo>
                    <a:pt x="46" y="129"/>
                    <a:pt x="47" y="134"/>
                    <a:pt x="47" y="139"/>
                  </a:cubicBezTo>
                  <a:cubicBezTo>
                    <a:pt x="47" y="144"/>
                    <a:pt x="0" y="170"/>
                    <a:pt x="0" y="170"/>
                  </a:cubicBezTo>
                  <a:cubicBezTo>
                    <a:pt x="0" y="170"/>
                    <a:pt x="0" y="170"/>
                    <a:pt x="0" y="170"/>
                  </a:cubicBezTo>
                  <a:cubicBezTo>
                    <a:pt x="14" y="168"/>
                    <a:pt x="14" y="168"/>
                    <a:pt x="14" y="168"/>
                  </a:cubicBezTo>
                  <a:cubicBezTo>
                    <a:pt x="14" y="168"/>
                    <a:pt x="19" y="175"/>
                    <a:pt x="20" y="175"/>
                  </a:cubicBezTo>
                  <a:cubicBezTo>
                    <a:pt x="21" y="175"/>
                    <a:pt x="31" y="170"/>
                    <a:pt x="31" y="170"/>
                  </a:cubicBezTo>
                  <a:cubicBezTo>
                    <a:pt x="31" y="170"/>
                    <a:pt x="53" y="179"/>
                    <a:pt x="53" y="178"/>
                  </a:cubicBezTo>
                  <a:cubicBezTo>
                    <a:pt x="54" y="177"/>
                    <a:pt x="59" y="165"/>
                    <a:pt x="59" y="165"/>
                  </a:cubicBezTo>
                  <a:cubicBezTo>
                    <a:pt x="84" y="177"/>
                    <a:pt x="84" y="177"/>
                    <a:pt x="84" y="177"/>
                  </a:cubicBezTo>
                  <a:cubicBezTo>
                    <a:pt x="84" y="177"/>
                    <a:pt x="101" y="173"/>
                    <a:pt x="102" y="173"/>
                  </a:cubicBezTo>
                  <a:cubicBezTo>
                    <a:pt x="102" y="174"/>
                    <a:pt x="140" y="194"/>
                    <a:pt x="140" y="194"/>
                  </a:cubicBezTo>
                  <a:cubicBezTo>
                    <a:pt x="152" y="191"/>
                    <a:pt x="152" y="191"/>
                    <a:pt x="152" y="191"/>
                  </a:cubicBezTo>
                  <a:cubicBezTo>
                    <a:pt x="192" y="194"/>
                    <a:pt x="192" y="194"/>
                    <a:pt x="192" y="194"/>
                  </a:cubicBezTo>
                  <a:cubicBezTo>
                    <a:pt x="192" y="194"/>
                    <a:pt x="199" y="198"/>
                    <a:pt x="206" y="210"/>
                  </a:cubicBezTo>
                  <a:cubicBezTo>
                    <a:pt x="214" y="222"/>
                    <a:pt x="211" y="249"/>
                    <a:pt x="211" y="249"/>
                  </a:cubicBezTo>
                  <a:cubicBezTo>
                    <a:pt x="233" y="275"/>
                    <a:pt x="233" y="275"/>
                    <a:pt x="233" y="275"/>
                  </a:cubicBezTo>
                  <a:cubicBezTo>
                    <a:pt x="226" y="297"/>
                    <a:pt x="226" y="297"/>
                    <a:pt x="226" y="297"/>
                  </a:cubicBezTo>
                  <a:cubicBezTo>
                    <a:pt x="274" y="299"/>
                    <a:pt x="274" y="299"/>
                    <a:pt x="274" y="299"/>
                  </a:cubicBezTo>
                  <a:cubicBezTo>
                    <a:pt x="271" y="321"/>
                    <a:pt x="271" y="321"/>
                    <a:pt x="271" y="321"/>
                  </a:cubicBezTo>
                  <a:cubicBezTo>
                    <a:pt x="292" y="317"/>
                    <a:pt x="292" y="317"/>
                    <a:pt x="292" y="317"/>
                  </a:cubicBezTo>
                  <a:cubicBezTo>
                    <a:pt x="308" y="332"/>
                    <a:pt x="308" y="332"/>
                    <a:pt x="308" y="332"/>
                  </a:cubicBezTo>
                  <a:cubicBezTo>
                    <a:pt x="312" y="328"/>
                    <a:pt x="312" y="328"/>
                    <a:pt x="312" y="328"/>
                  </a:cubicBezTo>
                  <a:cubicBezTo>
                    <a:pt x="312" y="328"/>
                    <a:pt x="320" y="310"/>
                    <a:pt x="327" y="305"/>
                  </a:cubicBezTo>
                  <a:cubicBezTo>
                    <a:pt x="335" y="301"/>
                    <a:pt x="346" y="294"/>
                    <a:pt x="360" y="285"/>
                  </a:cubicBezTo>
                  <a:cubicBezTo>
                    <a:pt x="375" y="276"/>
                    <a:pt x="368" y="274"/>
                    <a:pt x="375" y="269"/>
                  </a:cubicBezTo>
                  <a:cubicBezTo>
                    <a:pt x="382" y="264"/>
                    <a:pt x="380" y="265"/>
                    <a:pt x="387" y="264"/>
                  </a:cubicBezTo>
                  <a:cubicBezTo>
                    <a:pt x="394" y="262"/>
                    <a:pt x="401" y="254"/>
                    <a:pt x="401" y="254"/>
                  </a:cubicBezTo>
                  <a:cubicBezTo>
                    <a:pt x="412" y="256"/>
                    <a:pt x="412" y="256"/>
                    <a:pt x="412" y="256"/>
                  </a:cubicBezTo>
                  <a:cubicBezTo>
                    <a:pt x="426" y="241"/>
                    <a:pt x="426" y="241"/>
                    <a:pt x="426" y="241"/>
                  </a:cubicBezTo>
                  <a:cubicBezTo>
                    <a:pt x="451" y="242"/>
                    <a:pt x="451" y="242"/>
                    <a:pt x="451" y="242"/>
                  </a:cubicBezTo>
                  <a:cubicBezTo>
                    <a:pt x="466" y="253"/>
                    <a:pt x="466" y="253"/>
                    <a:pt x="466" y="253"/>
                  </a:cubicBezTo>
                  <a:cubicBezTo>
                    <a:pt x="477" y="245"/>
                    <a:pt x="477" y="245"/>
                    <a:pt x="477" y="245"/>
                  </a:cubicBezTo>
                  <a:cubicBezTo>
                    <a:pt x="463" y="230"/>
                    <a:pt x="463" y="230"/>
                    <a:pt x="463" y="230"/>
                  </a:cubicBezTo>
                  <a:cubicBezTo>
                    <a:pt x="473" y="229"/>
                    <a:pt x="473" y="229"/>
                    <a:pt x="473" y="229"/>
                  </a:cubicBezTo>
                  <a:cubicBezTo>
                    <a:pt x="496" y="212"/>
                    <a:pt x="496" y="212"/>
                    <a:pt x="496" y="212"/>
                  </a:cubicBezTo>
                  <a:cubicBezTo>
                    <a:pt x="498" y="213"/>
                    <a:pt x="498" y="213"/>
                    <a:pt x="498" y="213"/>
                  </a:cubicBezTo>
                  <a:cubicBezTo>
                    <a:pt x="498" y="207"/>
                    <a:pt x="498" y="196"/>
                    <a:pt x="498" y="195"/>
                  </a:cubicBezTo>
                  <a:cubicBezTo>
                    <a:pt x="498" y="194"/>
                    <a:pt x="504" y="189"/>
                    <a:pt x="512" y="186"/>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8" name="Freeform 333">
              <a:extLst>
                <a:ext uri="{FF2B5EF4-FFF2-40B4-BE49-F238E27FC236}">
                  <a16:creationId xmlns:a16="http://schemas.microsoft.com/office/drawing/2014/main" id="{4F0A4555-0E3C-4008-8454-B56CE4AFE950}"/>
                </a:ext>
              </a:extLst>
            </p:cNvPr>
            <p:cNvSpPr>
              <a:spLocks noChangeAspect="1"/>
            </p:cNvSpPr>
            <p:nvPr/>
          </p:nvSpPr>
          <p:spPr bwMode="auto">
            <a:xfrm>
              <a:off x="13627" y="3344"/>
              <a:ext cx="467" cy="309"/>
            </a:xfrm>
            <a:custGeom>
              <a:avLst/>
              <a:gdLst/>
              <a:ahLst/>
              <a:cxnLst>
                <a:cxn ang="0">
                  <a:pos x="189" y="26"/>
                </a:cxn>
                <a:cxn ang="0">
                  <a:pos x="187" y="5"/>
                </a:cxn>
                <a:cxn ang="0">
                  <a:pos x="182" y="0"/>
                </a:cxn>
                <a:cxn ang="0">
                  <a:pos x="174" y="10"/>
                </a:cxn>
                <a:cxn ang="0">
                  <a:pos x="164" y="10"/>
                </a:cxn>
                <a:cxn ang="0">
                  <a:pos x="165" y="20"/>
                </a:cxn>
                <a:cxn ang="0">
                  <a:pos x="158" y="30"/>
                </a:cxn>
                <a:cxn ang="0">
                  <a:pos x="158" y="44"/>
                </a:cxn>
                <a:cxn ang="0">
                  <a:pos x="150" y="50"/>
                </a:cxn>
                <a:cxn ang="0">
                  <a:pos x="152" y="56"/>
                </a:cxn>
                <a:cxn ang="0">
                  <a:pos x="144" y="60"/>
                </a:cxn>
                <a:cxn ang="0">
                  <a:pos x="107" y="81"/>
                </a:cxn>
                <a:cxn ang="0">
                  <a:pos x="64" y="77"/>
                </a:cxn>
                <a:cxn ang="0">
                  <a:pos x="37" y="91"/>
                </a:cxn>
                <a:cxn ang="0">
                  <a:pos x="20" y="86"/>
                </a:cxn>
                <a:cxn ang="0">
                  <a:pos x="1" y="101"/>
                </a:cxn>
                <a:cxn ang="0">
                  <a:pos x="3" y="100"/>
                </a:cxn>
                <a:cxn ang="0">
                  <a:pos x="8" y="104"/>
                </a:cxn>
                <a:cxn ang="0">
                  <a:pos x="13" y="112"/>
                </a:cxn>
                <a:cxn ang="0">
                  <a:pos x="29" y="109"/>
                </a:cxn>
                <a:cxn ang="0">
                  <a:pos x="36" y="114"/>
                </a:cxn>
                <a:cxn ang="0">
                  <a:pos x="41" y="118"/>
                </a:cxn>
                <a:cxn ang="0">
                  <a:pos x="31" y="124"/>
                </a:cxn>
                <a:cxn ang="0">
                  <a:pos x="14" y="126"/>
                </a:cxn>
                <a:cxn ang="0">
                  <a:pos x="0" y="135"/>
                </a:cxn>
                <a:cxn ang="0">
                  <a:pos x="0" y="153"/>
                </a:cxn>
                <a:cxn ang="0">
                  <a:pos x="6" y="155"/>
                </a:cxn>
                <a:cxn ang="0">
                  <a:pos x="8" y="137"/>
                </a:cxn>
                <a:cxn ang="0">
                  <a:pos x="24" y="138"/>
                </a:cxn>
                <a:cxn ang="0">
                  <a:pos x="32" y="130"/>
                </a:cxn>
                <a:cxn ang="0">
                  <a:pos x="44" y="139"/>
                </a:cxn>
                <a:cxn ang="0">
                  <a:pos x="61" y="132"/>
                </a:cxn>
                <a:cxn ang="0">
                  <a:pos x="70" y="137"/>
                </a:cxn>
                <a:cxn ang="0">
                  <a:pos x="97" y="137"/>
                </a:cxn>
                <a:cxn ang="0">
                  <a:pos x="95" y="126"/>
                </a:cxn>
                <a:cxn ang="0">
                  <a:pos x="104" y="119"/>
                </a:cxn>
                <a:cxn ang="0">
                  <a:pos x="106" y="132"/>
                </a:cxn>
                <a:cxn ang="0">
                  <a:pos x="144" y="129"/>
                </a:cxn>
                <a:cxn ang="0">
                  <a:pos x="165" y="133"/>
                </a:cxn>
                <a:cxn ang="0">
                  <a:pos x="178" y="122"/>
                </a:cxn>
                <a:cxn ang="0">
                  <a:pos x="172" y="109"/>
                </a:cxn>
                <a:cxn ang="0">
                  <a:pos x="192" y="89"/>
                </a:cxn>
                <a:cxn ang="0">
                  <a:pos x="217" y="83"/>
                </a:cxn>
                <a:cxn ang="0">
                  <a:pos x="234" y="72"/>
                </a:cxn>
                <a:cxn ang="0">
                  <a:pos x="228" y="44"/>
                </a:cxn>
                <a:cxn ang="0">
                  <a:pos x="234" y="29"/>
                </a:cxn>
                <a:cxn ang="0">
                  <a:pos x="207" y="29"/>
                </a:cxn>
                <a:cxn ang="0">
                  <a:pos x="189" y="26"/>
                </a:cxn>
              </a:cxnLst>
              <a:rect l="0" t="0" r="r" b="b"/>
              <a:pathLst>
                <a:path w="234" h="155">
                  <a:moveTo>
                    <a:pt x="189" y="26"/>
                  </a:moveTo>
                  <a:cubicBezTo>
                    <a:pt x="189" y="26"/>
                    <a:pt x="187" y="9"/>
                    <a:pt x="187" y="5"/>
                  </a:cubicBezTo>
                  <a:cubicBezTo>
                    <a:pt x="187" y="0"/>
                    <a:pt x="182" y="0"/>
                    <a:pt x="182" y="0"/>
                  </a:cubicBezTo>
                  <a:cubicBezTo>
                    <a:pt x="174" y="10"/>
                    <a:pt x="174" y="10"/>
                    <a:pt x="174" y="10"/>
                  </a:cubicBezTo>
                  <a:cubicBezTo>
                    <a:pt x="164" y="10"/>
                    <a:pt x="164" y="10"/>
                    <a:pt x="164" y="10"/>
                  </a:cubicBezTo>
                  <a:cubicBezTo>
                    <a:pt x="165" y="20"/>
                    <a:pt x="165" y="20"/>
                    <a:pt x="165" y="20"/>
                  </a:cubicBezTo>
                  <a:cubicBezTo>
                    <a:pt x="165" y="20"/>
                    <a:pt x="158" y="28"/>
                    <a:pt x="158" y="30"/>
                  </a:cubicBezTo>
                  <a:cubicBezTo>
                    <a:pt x="158" y="31"/>
                    <a:pt x="158" y="44"/>
                    <a:pt x="158" y="44"/>
                  </a:cubicBezTo>
                  <a:cubicBezTo>
                    <a:pt x="150" y="50"/>
                    <a:pt x="150" y="50"/>
                    <a:pt x="150" y="50"/>
                  </a:cubicBezTo>
                  <a:cubicBezTo>
                    <a:pt x="152" y="56"/>
                    <a:pt x="152" y="56"/>
                    <a:pt x="152" y="56"/>
                  </a:cubicBezTo>
                  <a:cubicBezTo>
                    <a:pt x="152" y="56"/>
                    <a:pt x="152" y="59"/>
                    <a:pt x="144" y="60"/>
                  </a:cubicBezTo>
                  <a:cubicBezTo>
                    <a:pt x="136" y="61"/>
                    <a:pt x="107" y="81"/>
                    <a:pt x="107" y="81"/>
                  </a:cubicBezTo>
                  <a:cubicBezTo>
                    <a:pt x="107" y="81"/>
                    <a:pt x="65" y="77"/>
                    <a:pt x="64" y="77"/>
                  </a:cubicBezTo>
                  <a:cubicBezTo>
                    <a:pt x="62" y="77"/>
                    <a:pt x="38" y="90"/>
                    <a:pt x="37" y="91"/>
                  </a:cubicBezTo>
                  <a:cubicBezTo>
                    <a:pt x="36" y="91"/>
                    <a:pt x="20" y="86"/>
                    <a:pt x="20" y="86"/>
                  </a:cubicBezTo>
                  <a:cubicBezTo>
                    <a:pt x="1" y="101"/>
                    <a:pt x="1" y="101"/>
                    <a:pt x="1" y="101"/>
                  </a:cubicBezTo>
                  <a:cubicBezTo>
                    <a:pt x="3" y="100"/>
                    <a:pt x="3" y="100"/>
                    <a:pt x="3" y="100"/>
                  </a:cubicBezTo>
                  <a:cubicBezTo>
                    <a:pt x="3" y="100"/>
                    <a:pt x="6" y="97"/>
                    <a:pt x="8" y="104"/>
                  </a:cubicBezTo>
                  <a:cubicBezTo>
                    <a:pt x="10" y="111"/>
                    <a:pt x="5" y="112"/>
                    <a:pt x="13" y="112"/>
                  </a:cubicBezTo>
                  <a:cubicBezTo>
                    <a:pt x="21" y="112"/>
                    <a:pt x="29" y="109"/>
                    <a:pt x="29" y="109"/>
                  </a:cubicBezTo>
                  <a:cubicBezTo>
                    <a:pt x="36" y="114"/>
                    <a:pt x="36" y="114"/>
                    <a:pt x="36" y="114"/>
                  </a:cubicBezTo>
                  <a:cubicBezTo>
                    <a:pt x="41" y="118"/>
                    <a:pt x="41" y="118"/>
                    <a:pt x="41" y="118"/>
                  </a:cubicBezTo>
                  <a:cubicBezTo>
                    <a:pt x="41" y="118"/>
                    <a:pt x="34" y="124"/>
                    <a:pt x="31" y="124"/>
                  </a:cubicBezTo>
                  <a:cubicBezTo>
                    <a:pt x="28" y="124"/>
                    <a:pt x="23" y="124"/>
                    <a:pt x="14" y="126"/>
                  </a:cubicBezTo>
                  <a:cubicBezTo>
                    <a:pt x="6" y="129"/>
                    <a:pt x="0" y="134"/>
                    <a:pt x="0" y="135"/>
                  </a:cubicBezTo>
                  <a:cubicBezTo>
                    <a:pt x="0" y="136"/>
                    <a:pt x="0" y="147"/>
                    <a:pt x="0" y="153"/>
                  </a:cubicBezTo>
                  <a:cubicBezTo>
                    <a:pt x="6" y="155"/>
                    <a:pt x="6" y="155"/>
                    <a:pt x="6" y="155"/>
                  </a:cubicBezTo>
                  <a:cubicBezTo>
                    <a:pt x="8" y="137"/>
                    <a:pt x="8" y="137"/>
                    <a:pt x="8" y="137"/>
                  </a:cubicBezTo>
                  <a:cubicBezTo>
                    <a:pt x="24" y="138"/>
                    <a:pt x="24" y="138"/>
                    <a:pt x="24" y="138"/>
                  </a:cubicBezTo>
                  <a:cubicBezTo>
                    <a:pt x="32" y="130"/>
                    <a:pt x="32" y="130"/>
                    <a:pt x="32" y="130"/>
                  </a:cubicBezTo>
                  <a:cubicBezTo>
                    <a:pt x="32" y="130"/>
                    <a:pt x="44" y="139"/>
                    <a:pt x="44" y="139"/>
                  </a:cubicBezTo>
                  <a:cubicBezTo>
                    <a:pt x="45" y="140"/>
                    <a:pt x="50" y="132"/>
                    <a:pt x="61" y="132"/>
                  </a:cubicBezTo>
                  <a:cubicBezTo>
                    <a:pt x="72" y="132"/>
                    <a:pt x="70" y="137"/>
                    <a:pt x="70" y="137"/>
                  </a:cubicBezTo>
                  <a:cubicBezTo>
                    <a:pt x="97" y="137"/>
                    <a:pt x="97" y="137"/>
                    <a:pt x="97" y="137"/>
                  </a:cubicBezTo>
                  <a:cubicBezTo>
                    <a:pt x="95" y="126"/>
                    <a:pt x="95" y="126"/>
                    <a:pt x="95" y="126"/>
                  </a:cubicBezTo>
                  <a:cubicBezTo>
                    <a:pt x="104" y="119"/>
                    <a:pt x="104" y="119"/>
                    <a:pt x="104" y="119"/>
                  </a:cubicBezTo>
                  <a:cubicBezTo>
                    <a:pt x="106" y="132"/>
                    <a:pt x="106" y="132"/>
                    <a:pt x="106" y="132"/>
                  </a:cubicBezTo>
                  <a:cubicBezTo>
                    <a:pt x="106" y="132"/>
                    <a:pt x="131" y="130"/>
                    <a:pt x="144" y="129"/>
                  </a:cubicBezTo>
                  <a:cubicBezTo>
                    <a:pt x="157" y="129"/>
                    <a:pt x="165" y="133"/>
                    <a:pt x="165" y="133"/>
                  </a:cubicBezTo>
                  <a:cubicBezTo>
                    <a:pt x="178" y="122"/>
                    <a:pt x="178" y="122"/>
                    <a:pt x="178" y="122"/>
                  </a:cubicBezTo>
                  <a:cubicBezTo>
                    <a:pt x="172" y="109"/>
                    <a:pt x="172" y="109"/>
                    <a:pt x="172" y="109"/>
                  </a:cubicBezTo>
                  <a:cubicBezTo>
                    <a:pt x="172" y="109"/>
                    <a:pt x="190" y="89"/>
                    <a:pt x="192" y="89"/>
                  </a:cubicBezTo>
                  <a:cubicBezTo>
                    <a:pt x="194" y="89"/>
                    <a:pt x="207" y="87"/>
                    <a:pt x="217" y="83"/>
                  </a:cubicBezTo>
                  <a:cubicBezTo>
                    <a:pt x="228" y="79"/>
                    <a:pt x="234" y="72"/>
                    <a:pt x="234" y="72"/>
                  </a:cubicBezTo>
                  <a:cubicBezTo>
                    <a:pt x="228" y="44"/>
                    <a:pt x="228" y="44"/>
                    <a:pt x="228" y="44"/>
                  </a:cubicBezTo>
                  <a:cubicBezTo>
                    <a:pt x="234" y="29"/>
                    <a:pt x="234" y="29"/>
                    <a:pt x="234" y="29"/>
                  </a:cubicBezTo>
                  <a:cubicBezTo>
                    <a:pt x="207" y="29"/>
                    <a:pt x="207" y="29"/>
                    <a:pt x="207" y="29"/>
                  </a:cubicBezTo>
                  <a:lnTo>
                    <a:pt x="189" y="2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59" name="Freeform 334">
              <a:extLst>
                <a:ext uri="{FF2B5EF4-FFF2-40B4-BE49-F238E27FC236}">
                  <a16:creationId xmlns:a16="http://schemas.microsoft.com/office/drawing/2014/main" id="{D9C8E8EB-2BC9-4511-9EEE-B813BCB5F0CD}"/>
                </a:ext>
              </a:extLst>
            </p:cNvPr>
            <p:cNvSpPr>
              <a:spLocks noChangeAspect="1"/>
            </p:cNvSpPr>
            <p:nvPr/>
          </p:nvSpPr>
          <p:spPr bwMode="auto">
            <a:xfrm>
              <a:off x="12877" y="2540"/>
              <a:ext cx="1350" cy="1063"/>
            </a:xfrm>
            <a:custGeom>
              <a:avLst/>
              <a:gdLst/>
              <a:ahLst/>
              <a:cxnLst>
                <a:cxn ang="0">
                  <a:pos x="561" y="367"/>
                </a:cxn>
                <a:cxn ang="0">
                  <a:pos x="593" y="349"/>
                </a:cxn>
                <a:cxn ang="0">
                  <a:pos x="611" y="304"/>
                </a:cxn>
                <a:cxn ang="0">
                  <a:pos x="605" y="273"/>
                </a:cxn>
                <a:cxn ang="0">
                  <a:pos x="607" y="241"/>
                </a:cxn>
                <a:cxn ang="0">
                  <a:pos x="629" y="236"/>
                </a:cxn>
                <a:cxn ang="0">
                  <a:pos x="657" y="224"/>
                </a:cxn>
                <a:cxn ang="0">
                  <a:pos x="653" y="170"/>
                </a:cxn>
                <a:cxn ang="0">
                  <a:pos x="657" y="149"/>
                </a:cxn>
                <a:cxn ang="0">
                  <a:pos x="603" y="98"/>
                </a:cxn>
                <a:cxn ang="0">
                  <a:pos x="552" y="59"/>
                </a:cxn>
                <a:cxn ang="0">
                  <a:pos x="476" y="34"/>
                </a:cxn>
                <a:cxn ang="0">
                  <a:pos x="434" y="12"/>
                </a:cxn>
                <a:cxn ang="0">
                  <a:pos x="326" y="52"/>
                </a:cxn>
                <a:cxn ang="0">
                  <a:pos x="309" y="55"/>
                </a:cxn>
                <a:cxn ang="0">
                  <a:pos x="289" y="49"/>
                </a:cxn>
                <a:cxn ang="0">
                  <a:pos x="249" y="54"/>
                </a:cxn>
                <a:cxn ang="0">
                  <a:pos x="258" y="108"/>
                </a:cxn>
                <a:cxn ang="0">
                  <a:pos x="227" y="130"/>
                </a:cxn>
                <a:cxn ang="0">
                  <a:pos x="233" y="175"/>
                </a:cxn>
                <a:cxn ang="0">
                  <a:pos x="217" y="226"/>
                </a:cxn>
                <a:cxn ang="0">
                  <a:pos x="166" y="252"/>
                </a:cxn>
                <a:cxn ang="0">
                  <a:pos x="138" y="258"/>
                </a:cxn>
                <a:cxn ang="0">
                  <a:pos x="91" y="263"/>
                </a:cxn>
                <a:cxn ang="0">
                  <a:pos x="30" y="306"/>
                </a:cxn>
                <a:cxn ang="0">
                  <a:pos x="1" y="336"/>
                </a:cxn>
                <a:cxn ang="0">
                  <a:pos x="24" y="351"/>
                </a:cxn>
                <a:cxn ang="0">
                  <a:pos x="49" y="346"/>
                </a:cxn>
                <a:cxn ang="0">
                  <a:pos x="79" y="349"/>
                </a:cxn>
                <a:cxn ang="0">
                  <a:pos x="102" y="364"/>
                </a:cxn>
                <a:cxn ang="0">
                  <a:pos x="125" y="370"/>
                </a:cxn>
                <a:cxn ang="0">
                  <a:pos x="137" y="361"/>
                </a:cxn>
                <a:cxn ang="0">
                  <a:pos x="169" y="358"/>
                </a:cxn>
                <a:cxn ang="0">
                  <a:pos x="190" y="361"/>
                </a:cxn>
                <a:cxn ang="0">
                  <a:pos x="212" y="355"/>
                </a:cxn>
                <a:cxn ang="0">
                  <a:pos x="223" y="380"/>
                </a:cxn>
                <a:cxn ang="0">
                  <a:pos x="234" y="420"/>
                </a:cxn>
                <a:cxn ang="0">
                  <a:pos x="260" y="438"/>
                </a:cxn>
                <a:cxn ang="0">
                  <a:pos x="267" y="473"/>
                </a:cxn>
                <a:cxn ang="0">
                  <a:pos x="260" y="493"/>
                </a:cxn>
                <a:cxn ang="0">
                  <a:pos x="276" y="519"/>
                </a:cxn>
                <a:cxn ang="0">
                  <a:pos x="305" y="525"/>
                </a:cxn>
                <a:cxn ang="0">
                  <a:pos x="329" y="514"/>
                </a:cxn>
                <a:cxn ang="0">
                  <a:pos x="360" y="503"/>
                </a:cxn>
                <a:cxn ang="0">
                  <a:pos x="411" y="492"/>
                </a:cxn>
                <a:cxn ang="0">
                  <a:pos x="518" y="461"/>
                </a:cxn>
                <a:cxn ang="0">
                  <a:pos x="532" y="445"/>
                </a:cxn>
                <a:cxn ang="0">
                  <a:pos x="538" y="411"/>
                </a:cxn>
                <a:cxn ang="0">
                  <a:pos x="555" y="393"/>
                </a:cxn>
              </a:cxnLst>
              <a:rect l="0" t="0" r="r" b="b"/>
              <a:pathLst>
                <a:path w="675" h="531">
                  <a:moveTo>
                    <a:pt x="560" y="385"/>
                  </a:moveTo>
                  <a:cubicBezTo>
                    <a:pt x="553" y="377"/>
                    <a:pt x="553" y="377"/>
                    <a:pt x="553" y="377"/>
                  </a:cubicBezTo>
                  <a:cubicBezTo>
                    <a:pt x="561" y="367"/>
                    <a:pt x="561" y="367"/>
                    <a:pt x="561" y="367"/>
                  </a:cubicBezTo>
                  <a:cubicBezTo>
                    <a:pt x="586" y="366"/>
                    <a:pt x="586" y="366"/>
                    <a:pt x="586" y="366"/>
                  </a:cubicBezTo>
                  <a:cubicBezTo>
                    <a:pt x="587" y="353"/>
                    <a:pt x="587" y="353"/>
                    <a:pt x="587" y="353"/>
                  </a:cubicBezTo>
                  <a:cubicBezTo>
                    <a:pt x="593" y="349"/>
                    <a:pt x="593" y="349"/>
                    <a:pt x="593" y="349"/>
                  </a:cubicBezTo>
                  <a:cubicBezTo>
                    <a:pt x="597" y="334"/>
                    <a:pt x="597" y="334"/>
                    <a:pt x="597" y="334"/>
                  </a:cubicBezTo>
                  <a:cubicBezTo>
                    <a:pt x="597" y="334"/>
                    <a:pt x="612" y="328"/>
                    <a:pt x="612" y="322"/>
                  </a:cubicBezTo>
                  <a:cubicBezTo>
                    <a:pt x="612" y="316"/>
                    <a:pt x="620" y="309"/>
                    <a:pt x="611" y="304"/>
                  </a:cubicBezTo>
                  <a:cubicBezTo>
                    <a:pt x="602" y="299"/>
                    <a:pt x="591" y="285"/>
                    <a:pt x="591" y="285"/>
                  </a:cubicBezTo>
                  <a:cubicBezTo>
                    <a:pt x="612" y="283"/>
                    <a:pt x="612" y="283"/>
                    <a:pt x="612" y="283"/>
                  </a:cubicBezTo>
                  <a:cubicBezTo>
                    <a:pt x="612" y="283"/>
                    <a:pt x="605" y="275"/>
                    <a:pt x="605" y="273"/>
                  </a:cubicBezTo>
                  <a:cubicBezTo>
                    <a:pt x="605" y="272"/>
                    <a:pt x="608" y="265"/>
                    <a:pt x="608" y="265"/>
                  </a:cubicBezTo>
                  <a:cubicBezTo>
                    <a:pt x="598" y="258"/>
                    <a:pt x="598" y="258"/>
                    <a:pt x="598" y="258"/>
                  </a:cubicBezTo>
                  <a:cubicBezTo>
                    <a:pt x="598" y="258"/>
                    <a:pt x="599" y="241"/>
                    <a:pt x="607" y="241"/>
                  </a:cubicBezTo>
                  <a:cubicBezTo>
                    <a:pt x="615" y="241"/>
                    <a:pt x="617" y="241"/>
                    <a:pt x="617" y="241"/>
                  </a:cubicBezTo>
                  <a:cubicBezTo>
                    <a:pt x="617" y="241"/>
                    <a:pt x="616" y="236"/>
                    <a:pt x="617" y="236"/>
                  </a:cubicBezTo>
                  <a:cubicBezTo>
                    <a:pt x="619" y="236"/>
                    <a:pt x="629" y="236"/>
                    <a:pt x="629" y="236"/>
                  </a:cubicBezTo>
                  <a:cubicBezTo>
                    <a:pt x="629" y="230"/>
                    <a:pt x="629" y="230"/>
                    <a:pt x="629" y="230"/>
                  </a:cubicBezTo>
                  <a:cubicBezTo>
                    <a:pt x="654" y="229"/>
                    <a:pt x="654" y="229"/>
                    <a:pt x="654" y="229"/>
                  </a:cubicBezTo>
                  <a:cubicBezTo>
                    <a:pt x="657" y="224"/>
                    <a:pt x="657" y="224"/>
                    <a:pt x="657" y="224"/>
                  </a:cubicBezTo>
                  <a:cubicBezTo>
                    <a:pt x="629" y="197"/>
                    <a:pt x="629" y="197"/>
                    <a:pt x="629" y="197"/>
                  </a:cubicBezTo>
                  <a:cubicBezTo>
                    <a:pt x="635" y="171"/>
                    <a:pt x="635" y="171"/>
                    <a:pt x="635" y="171"/>
                  </a:cubicBezTo>
                  <a:cubicBezTo>
                    <a:pt x="653" y="170"/>
                    <a:pt x="653" y="170"/>
                    <a:pt x="653" y="170"/>
                  </a:cubicBezTo>
                  <a:cubicBezTo>
                    <a:pt x="645" y="160"/>
                    <a:pt x="645" y="160"/>
                    <a:pt x="645" y="160"/>
                  </a:cubicBezTo>
                  <a:cubicBezTo>
                    <a:pt x="650" y="149"/>
                    <a:pt x="650" y="149"/>
                    <a:pt x="650" y="149"/>
                  </a:cubicBezTo>
                  <a:cubicBezTo>
                    <a:pt x="657" y="149"/>
                    <a:pt x="657" y="149"/>
                    <a:pt x="657" y="149"/>
                  </a:cubicBezTo>
                  <a:cubicBezTo>
                    <a:pt x="657" y="149"/>
                    <a:pt x="670" y="132"/>
                    <a:pt x="672" y="123"/>
                  </a:cubicBezTo>
                  <a:cubicBezTo>
                    <a:pt x="675" y="114"/>
                    <a:pt x="622" y="94"/>
                    <a:pt x="614" y="92"/>
                  </a:cubicBezTo>
                  <a:cubicBezTo>
                    <a:pt x="606" y="89"/>
                    <a:pt x="603" y="98"/>
                    <a:pt x="603" y="98"/>
                  </a:cubicBezTo>
                  <a:cubicBezTo>
                    <a:pt x="586" y="98"/>
                    <a:pt x="586" y="98"/>
                    <a:pt x="586" y="98"/>
                  </a:cubicBezTo>
                  <a:cubicBezTo>
                    <a:pt x="586" y="85"/>
                    <a:pt x="586" y="85"/>
                    <a:pt x="586" y="85"/>
                  </a:cubicBezTo>
                  <a:cubicBezTo>
                    <a:pt x="552" y="59"/>
                    <a:pt x="552" y="59"/>
                    <a:pt x="552" y="59"/>
                  </a:cubicBezTo>
                  <a:cubicBezTo>
                    <a:pt x="552" y="59"/>
                    <a:pt x="548" y="65"/>
                    <a:pt x="547" y="66"/>
                  </a:cubicBezTo>
                  <a:cubicBezTo>
                    <a:pt x="546" y="68"/>
                    <a:pt x="521" y="62"/>
                    <a:pt x="521" y="62"/>
                  </a:cubicBezTo>
                  <a:cubicBezTo>
                    <a:pt x="521" y="62"/>
                    <a:pt x="487" y="36"/>
                    <a:pt x="476" y="34"/>
                  </a:cubicBezTo>
                  <a:cubicBezTo>
                    <a:pt x="465" y="32"/>
                    <a:pt x="457" y="41"/>
                    <a:pt x="457" y="41"/>
                  </a:cubicBezTo>
                  <a:cubicBezTo>
                    <a:pt x="429" y="28"/>
                    <a:pt x="429" y="28"/>
                    <a:pt x="429" y="28"/>
                  </a:cubicBezTo>
                  <a:cubicBezTo>
                    <a:pt x="429" y="28"/>
                    <a:pt x="434" y="25"/>
                    <a:pt x="434" y="12"/>
                  </a:cubicBezTo>
                  <a:cubicBezTo>
                    <a:pt x="433" y="0"/>
                    <a:pt x="393" y="13"/>
                    <a:pt x="393" y="13"/>
                  </a:cubicBezTo>
                  <a:cubicBezTo>
                    <a:pt x="393" y="13"/>
                    <a:pt x="369" y="28"/>
                    <a:pt x="364" y="34"/>
                  </a:cubicBezTo>
                  <a:cubicBezTo>
                    <a:pt x="358" y="40"/>
                    <a:pt x="332" y="51"/>
                    <a:pt x="326" y="52"/>
                  </a:cubicBezTo>
                  <a:cubicBezTo>
                    <a:pt x="320" y="52"/>
                    <a:pt x="300" y="71"/>
                    <a:pt x="300" y="71"/>
                  </a:cubicBezTo>
                  <a:cubicBezTo>
                    <a:pt x="300" y="71"/>
                    <a:pt x="297" y="64"/>
                    <a:pt x="297" y="63"/>
                  </a:cubicBezTo>
                  <a:cubicBezTo>
                    <a:pt x="297" y="62"/>
                    <a:pt x="309" y="55"/>
                    <a:pt x="309" y="55"/>
                  </a:cubicBezTo>
                  <a:cubicBezTo>
                    <a:pt x="301" y="49"/>
                    <a:pt x="301" y="49"/>
                    <a:pt x="301" y="49"/>
                  </a:cubicBezTo>
                  <a:cubicBezTo>
                    <a:pt x="301" y="46"/>
                    <a:pt x="301" y="46"/>
                    <a:pt x="301" y="46"/>
                  </a:cubicBezTo>
                  <a:cubicBezTo>
                    <a:pt x="289" y="49"/>
                    <a:pt x="289" y="49"/>
                    <a:pt x="289" y="49"/>
                  </a:cubicBezTo>
                  <a:cubicBezTo>
                    <a:pt x="289" y="49"/>
                    <a:pt x="287" y="44"/>
                    <a:pt x="274" y="38"/>
                  </a:cubicBezTo>
                  <a:cubicBezTo>
                    <a:pt x="261" y="32"/>
                    <a:pt x="272" y="59"/>
                    <a:pt x="272" y="60"/>
                  </a:cubicBezTo>
                  <a:cubicBezTo>
                    <a:pt x="272" y="62"/>
                    <a:pt x="252" y="52"/>
                    <a:pt x="249" y="54"/>
                  </a:cubicBezTo>
                  <a:cubicBezTo>
                    <a:pt x="245" y="57"/>
                    <a:pt x="254" y="78"/>
                    <a:pt x="254" y="78"/>
                  </a:cubicBezTo>
                  <a:cubicBezTo>
                    <a:pt x="244" y="84"/>
                    <a:pt x="244" y="84"/>
                    <a:pt x="244" y="84"/>
                  </a:cubicBezTo>
                  <a:cubicBezTo>
                    <a:pt x="258" y="108"/>
                    <a:pt x="258" y="108"/>
                    <a:pt x="258" y="108"/>
                  </a:cubicBezTo>
                  <a:cubicBezTo>
                    <a:pt x="237" y="109"/>
                    <a:pt x="237" y="109"/>
                    <a:pt x="237" y="109"/>
                  </a:cubicBezTo>
                  <a:cubicBezTo>
                    <a:pt x="225" y="116"/>
                    <a:pt x="225" y="116"/>
                    <a:pt x="225" y="116"/>
                  </a:cubicBezTo>
                  <a:cubicBezTo>
                    <a:pt x="225" y="116"/>
                    <a:pt x="227" y="130"/>
                    <a:pt x="227" y="130"/>
                  </a:cubicBezTo>
                  <a:cubicBezTo>
                    <a:pt x="227" y="131"/>
                    <a:pt x="221" y="134"/>
                    <a:pt x="218" y="139"/>
                  </a:cubicBezTo>
                  <a:cubicBezTo>
                    <a:pt x="214" y="145"/>
                    <a:pt x="229" y="157"/>
                    <a:pt x="231" y="158"/>
                  </a:cubicBezTo>
                  <a:cubicBezTo>
                    <a:pt x="232" y="159"/>
                    <a:pt x="235" y="170"/>
                    <a:pt x="233" y="175"/>
                  </a:cubicBezTo>
                  <a:cubicBezTo>
                    <a:pt x="231" y="179"/>
                    <a:pt x="213" y="199"/>
                    <a:pt x="212" y="201"/>
                  </a:cubicBezTo>
                  <a:cubicBezTo>
                    <a:pt x="211" y="203"/>
                    <a:pt x="220" y="206"/>
                    <a:pt x="228" y="211"/>
                  </a:cubicBezTo>
                  <a:cubicBezTo>
                    <a:pt x="236" y="216"/>
                    <a:pt x="217" y="226"/>
                    <a:pt x="217" y="226"/>
                  </a:cubicBezTo>
                  <a:cubicBezTo>
                    <a:pt x="227" y="236"/>
                    <a:pt x="227" y="236"/>
                    <a:pt x="227" y="236"/>
                  </a:cubicBezTo>
                  <a:cubicBezTo>
                    <a:pt x="227" y="236"/>
                    <a:pt x="189" y="263"/>
                    <a:pt x="188" y="264"/>
                  </a:cubicBezTo>
                  <a:cubicBezTo>
                    <a:pt x="188" y="265"/>
                    <a:pt x="166" y="252"/>
                    <a:pt x="166" y="252"/>
                  </a:cubicBezTo>
                  <a:cubicBezTo>
                    <a:pt x="154" y="258"/>
                    <a:pt x="154" y="258"/>
                    <a:pt x="154" y="258"/>
                  </a:cubicBezTo>
                  <a:cubicBezTo>
                    <a:pt x="146" y="252"/>
                    <a:pt x="146" y="252"/>
                    <a:pt x="146" y="252"/>
                  </a:cubicBezTo>
                  <a:cubicBezTo>
                    <a:pt x="138" y="258"/>
                    <a:pt x="138" y="258"/>
                    <a:pt x="138" y="258"/>
                  </a:cubicBezTo>
                  <a:cubicBezTo>
                    <a:pt x="119" y="255"/>
                    <a:pt x="119" y="255"/>
                    <a:pt x="119" y="255"/>
                  </a:cubicBezTo>
                  <a:cubicBezTo>
                    <a:pt x="98" y="274"/>
                    <a:pt x="98" y="274"/>
                    <a:pt x="98" y="274"/>
                  </a:cubicBezTo>
                  <a:cubicBezTo>
                    <a:pt x="91" y="263"/>
                    <a:pt x="91" y="263"/>
                    <a:pt x="91" y="263"/>
                  </a:cubicBezTo>
                  <a:cubicBezTo>
                    <a:pt x="91" y="263"/>
                    <a:pt x="78" y="271"/>
                    <a:pt x="76" y="273"/>
                  </a:cubicBezTo>
                  <a:cubicBezTo>
                    <a:pt x="74" y="274"/>
                    <a:pt x="68" y="274"/>
                    <a:pt x="44" y="277"/>
                  </a:cubicBezTo>
                  <a:cubicBezTo>
                    <a:pt x="19" y="281"/>
                    <a:pt x="30" y="306"/>
                    <a:pt x="30" y="306"/>
                  </a:cubicBezTo>
                  <a:cubicBezTo>
                    <a:pt x="30" y="306"/>
                    <a:pt x="20" y="306"/>
                    <a:pt x="17" y="306"/>
                  </a:cubicBezTo>
                  <a:cubicBezTo>
                    <a:pt x="14" y="306"/>
                    <a:pt x="9" y="330"/>
                    <a:pt x="9" y="331"/>
                  </a:cubicBezTo>
                  <a:cubicBezTo>
                    <a:pt x="9" y="332"/>
                    <a:pt x="1" y="336"/>
                    <a:pt x="1" y="336"/>
                  </a:cubicBezTo>
                  <a:cubicBezTo>
                    <a:pt x="0" y="360"/>
                    <a:pt x="0" y="360"/>
                    <a:pt x="0" y="360"/>
                  </a:cubicBezTo>
                  <a:cubicBezTo>
                    <a:pt x="6" y="356"/>
                    <a:pt x="15" y="349"/>
                    <a:pt x="15" y="349"/>
                  </a:cubicBezTo>
                  <a:cubicBezTo>
                    <a:pt x="24" y="351"/>
                    <a:pt x="24" y="351"/>
                    <a:pt x="24" y="351"/>
                  </a:cubicBezTo>
                  <a:cubicBezTo>
                    <a:pt x="24" y="351"/>
                    <a:pt x="33" y="341"/>
                    <a:pt x="34" y="341"/>
                  </a:cubicBezTo>
                  <a:cubicBezTo>
                    <a:pt x="35" y="342"/>
                    <a:pt x="40" y="349"/>
                    <a:pt x="40" y="349"/>
                  </a:cubicBezTo>
                  <a:cubicBezTo>
                    <a:pt x="49" y="346"/>
                    <a:pt x="49" y="346"/>
                    <a:pt x="49" y="346"/>
                  </a:cubicBezTo>
                  <a:cubicBezTo>
                    <a:pt x="49" y="346"/>
                    <a:pt x="50" y="353"/>
                    <a:pt x="51" y="353"/>
                  </a:cubicBezTo>
                  <a:cubicBezTo>
                    <a:pt x="52" y="353"/>
                    <a:pt x="72" y="353"/>
                    <a:pt x="72" y="353"/>
                  </a:cubicBezTo>
                  <a:cubicBezTo>
                    <a:pt x="79" y="349"/>
                    <a:pt x="79" y="349"/>
                    <a:pt x="79" y="349"/>
                  </a:cubicBezTo>
                  <a:cubicBezTo>
                    <a:pt x="93" y="350"/>
                    <a:pt x="93" y="350"/>
                    <a:pt x="93" y="350"/>
                  </a:cubicBezTo>
                  <a:cubicBezTo>
                    <a:pt x="93" y="350"/>
                    <a:pt x="96" y="355"/>
                    <a:pt x="97" y="355"/>
                  </a:cubicBezTo>
                  <a:cubicBezTo>
                    <a:pt x="98" y="355"/>
                    <a:pt x="102" y="364"/>
                    <a:pt x="102" y="364"/>
                  </a:cubicBezTo>
                  <a:cubicBezTo>
                    <a:pt x="102" y="364"/>
                    <a:pt x="105" y="374"/>
                    <a:pt x="112" y="374"/>
                  </a:cubicBezTo>
                  <a:cubicBezTo>
                    <a:pt x="118" y="374"/>
                    <a:pt x="120" y="364"/>
                    <a:pt x="120" y="364"/>
                  </a:cubicBezTo>
                  <a:cubicBezTo>
                    <a:pt x="120" y="364"/>
                    <a:pt x="125" y="365"/>
                    <a:pt x="125" y="370"/>
                  </a:cubicBezTo>
                  <a:cubicBezTo>
                    <a:pt x="125" y="375"/>
                    <a:pt x="123" y="383"/>
                    <a:pt x="127" y="383"/>
                  </a:cubicBezTo>
                  <a:cubicBezTo>
                    <a:pt x="132" y="383"/>
                    <a:pt x="132" y="367"/>
                    <a:pt x="132" y="367"/>
                  </a:cubicBezTo>
                  <a:cubicBezTo>
                    <a:pt x="137" y="361"/>
                    <a:pt x="137" y="361"/>
                    <a:pt x="137" y="361"/>
                  </a:cubicBezTo>
                  <a:cubicBezTo>
                    <a:pt x="137" y="361"/>
                    <a:pt x="143" y="369"/>
                    <a:pt x="146" y="366"/>
                  </a:cubicBezTo>
                  <a:cubicBezTo>
                    <a:pt x="149" y="362"/>
                    <a:pt x="169" y="363"/>
                    <a:pt x="169" y="363"/>
                  </a:cubicBezTo>
                  <a:cubicBezTo>
                    <a:pt x="169" y="358"/>
                    <a:pt x="169" y="358"/>
                    <a:pt x="169" y="358"/>
                  </a:cubicBezTo>
                  <a:cubicBezTo>
                    <a:pt x="169" y="358"/>
                    <a:pt x="176" y="364"/>
                    <a:pt x="180" y="363"/>
                  </a:cubicBezTo>
                  <a:cubicBezTo>
                    <a:pt x="183" y="363"/>
                    <a:pt x="183" y="359"/>
                    <a:pt x="183" y="359"/>
                  </a:cubicBezTo>
                  <a:cubicBezTo>
                    <a:pt x="190" y="361"/>
                    <a:pt x="190" y="361"/>
                    <a:pt x="190" y="361"/>
                  </a:cubicBezTo>
                  <a:cubicBezTo>
                    <a:pt x="190" y="361"/>
                    <a:pt x="191" y="353"/>
                    <a:pt x="197" y="353"/>
                  </a:cubicBezTo>
                  <a:cubicBezTo>
                    <a:pt x="204" y="354"/>
                    <a:pt x="206" y="359"/>
                    <a:pt x="206" y="359"/>
                  </a:cubicBezTo>
                  <a:cubicBezTo>
                    <a:pt x="212" y="355"/>
                    <a:pt x="212" y="355"/>
                    <a:pt x="212" y="355"/>
                  </a:cubicBezTo>
                  <a:cubicBezTo>
                    <a:pt x="212" y="355"/>
                    <a:pt x="215" y="359"/>
                    <a:pt x="219" y="361"/>
                  </a:cubicBezTo>
                  <a:cubicBezTo>
                    <a:pt x="222" y="362"/>
                    <a:pt x="229" y="368"/>
                    <a:pt x="229" y="368"/>
                  </a:cubicBezTo>
                  <a:cubicBezTo>
                    <a:pt x="223" y="380"/>
                    <a:pt x="223" y="380"/>
                    <a:pt x="223" y="380"/>
                  </a:cubicBezTo>
                  <a:cubicBezTo>
                    <a:pt x="223" y="380"/>
                    <a:pt x="238" y="394"/>
                    <a:pt x="237" y="396"/>
                  </a:cubicBezTo>
                  <a:cubicBezTo>
                    <a:pt x="236" y="397"/>
                    <a:pt x="227" y="399"/>
                    <a:pt x="228" y="407"/>
                  </a:cubicBezTo>
                  <a:cubicBezTo>
                    <a:pt x="229" y="414"/>
                    <a:pt x="233" y="413"/>
                    <a:pt x="234" y="420"/>
                  </a:cubicBezTo>
                  <a:cubicBezTo>
                    <a:pt x="234" y="427"/>
                    <a:pt x="239" y="427"/>
                    <a:pt x="241" y="431"/>
                  </a:cubicBezTo>
                  <a:cubicBezTo>
                    <a:pt x="243" y="435"/>
                    <a:pt x="243" y="443"/>
                    <a:pt x="243" y="443"/>
                  </a:cubicBezTo>
                  <a:cubicBezTo>
                    <a:pt x="243" y="443"/>
                    <a:pt x="247" y="435"/>
                    <a:pt x="260" y="438"/>
                  </a:cubicBezTo>
                  <a:cubicBezTo>
                    <a:pt x="273" y="440"/>
                    <a:pt x="273" y="452"/>
                    <a:pt x="271" y="454"/>
                  </a:cubicBezTo>
                  <a:cubicBezTo>
                    <a:pt x="269" y="456"/>
                    <a:pt x="262" y="468"/>
                    <a:pt x="262" y="468"/>
                  </a:cubicBezTo>
                  <a:cubicBezTo>
                    <a:pt x="267" y="473"/>
                    <a:pt x="267" y="473"/>
                    <a:pt x="267" y="473"/>
                  </a:cubicBezTo>
                  <a:cubicBezTo>
                    <a:pt x="259" y="477"/>
                    <a:pt x="259" y="477"/>
                    <a:pt x="259" y="477"/>
                  </a:cubicBezTo>
                  <a:cubicBezTo>
                    <a:pt x="268" y="482"/>
                    <a:pt x="268" y="482"/>
                    <a:pt x="268" y="482"/>
                  </a:cubicBezTo>
                  <a:cubicBezTo>
                    <a:pt x="268" y="482"/>
                    <a:pt x="264" y="493"/>
                    <a:pt x="260" y="493"/>
                  </a:cubicBezTo>
                  <a:cubicBezTo>
                    <a:pt x="256" y="493"/>
                    <a:pt x="258" y="500"/>
                    <a:pt x="264" y="502"/>
                  </a:cubicBezTo>
                  <a:cubicBezTo>
                    <a:pt x="269" y="503"/>
                    <a:pt x="276" y="507"/>
                    <a:pt x="276" y="507"/>
                  </a:cubicBezTo>
                  <a:cubicBezTo>
                    <a:pt x="276" y="519"/>
                    <a:pt x="276" y="519"/>
                    <a:pt x="276" y="519"/>
                  </a:cubicBezTo>
                  <a:cubicBezTo>
                    <a:pt x="286" y="530"/>
                    <a:pt x="286" y="530"/>
                    <a:pt x="286" y="530"/>
                  </a:cubicBezTo>
                  <a:cubicBezTo>
                    <a:pt x="300" y="531"/>
                    <a:pt x="300" y="531"/>
                    <a:pt x="300" y="531"/>
                  </a:cubicBezTo>
                  <a:cubicBezTo>
                    <a:pt x="305" y="525"/>
                    <a:pt x="305" y="525"/>
                    <a:pt x="305" y="525"/>
                  </a:cubicBezTo>
                  <a:cubicBezTo>
                    <a:pt x="316" y="525"/>
                    <a:pt x="316" y="525"/>
                    <a:pt x="316" y="525"/>
                  </a:cubicBezTo>
                  <a:cubicBezTo>
                    <a:pt x="322" y="511"/>
                    <a:pt x="322" y="511"/>
                    <a:pt x="322" y="511"/>
                  </a:cubicBezTo>
                  <a:cubicBezTo>
                    <a:pt x="329" y="514"/>
                    <a:pt x="329" y="514"/>
                    <a:pt x="329" y="514"/>
                  </a:cubicBezTo>
                  <a:cubicBezTo>
                    <a:pt x="331" y="510"/>
                    <a:pt x="331" y="510"/>
                    <a:pt x="331" y="510"/>
                  </a:cubicBezTo>
                  <a:cubicBezTo>
                    <a:pt x="331" y="510"/>
                    <a:pt x="340" y="516"/>
                    <a:pt x="347" y="514"/>
                  </a:cubicBezTo>
                  <a:cubicBezTo>
                    <a:pt x="353" y="511"/>
                    <a:pt x="360" y="503"/>
                    <a:pt x="360" y="503"/>
                  </a:cubicBezTo>
                  <a:cubicBezTo>
                    <a:pt x="375" y="502"/>
                    <a:pt x="375" y="502"/>
                    <a:pt x="375" y="502"/>
                  </a:cubicBezTo>
                  <a:cubicBezTo>
                    <a:pt x="394" y="487"/>
                    <a:pt x="394" y="487"/>
                    <a:pt x="394" y="487"/>
                  </a:cubicBezTo>
                  <a:cubicBezTo>
                    <a:pt x="394" y="487"/>
                    <a:pt x="410" y="492"/>
                    <a:pt x="411" y="492"/>
                  </a:cubicBezTo>
                  <a:cubicBezTo>
                    <a:pt x="412" y="491"/>
                    <a:pt x="436" y="478"/>
                    <a:pt x="438" y="478"/>
                  </a:cubicBezTo>
                  <a:cubicBezTo>
                    <a:pt x="439" y="478"/>
                    <a:pt x="481" y="482"/>
                    <a:pt x="481" y="482"/>
                  </a:cubicBezTo>
                  <a:cubicBezTo>
                    <a:pt x="481" y="482"/>
                    <a:pt x="510" y="462"/>
                    <a:pt x="518" y="461"/>
                  </a:cubicBezTo>
                  <a:cubicBezTo>
                    <a:pt x="526" y="460"/>
                    <a:pt x="526" y="457"/>
                    <a:pt x="526" y="457"/>
                  </a:cubicBezTo>
                  <a:cubicBezTo>
                    <a:pt x="524" y="451"/>
                    <a:pt x="524" y="451"/>
                    <a:pt x="524" y="451"/>
                  </a:cubicBezTo>
                  <a:cubicBezTo>
                    <a:pt x="532" y="445"/>
                    <a:pt x="532" y="445"/>
                    <a:pt x="532" y="445"/>
                  </a:cubicBezTo>
                  <a:cubicBezTo>
                    <a:pt x="532" y="445"/>
                    <a:pt x="532" y="432"/>
                    <a:pt x="532" y="431"/>
                  </a:cubicBezTo>
                  <a:cubicBezTo>
                    <a:pt x="532" y="429"/>
                    <a:pt x="539" y="421"/>
                    <a:pt x="539" y="421"/>
                  </a:cubicBezTo>
                  <a:cubicBezTo>
                    <a:pt x="538" y="411"/>
                    <a:pt x="538" y="411"/>
                    <a:pt x="538" y="411"/>
                  </a:cubicBezTo>
                  <a:cubicBezTo>
                    <a:pt x="548" y="411"/>
                    <a:pt x="548" y="411"/>
                    <a:pt x="548" y="411"/>
                  </a:cubicBezTo>
                  <a:cubicBezTo>
                    <a:pt x="556" y="401"/>
                    <a:pt x="556" y="401"/>
                    <a:pt x="556" y="401"/>
                  </a:cubicBezTo>
                  <a:cubicBezTo>
                    <a:pt x="556" y="397"/>
                    <a:pt x="555" y="393"/>
                    <a:pt x="555" y="393"/>
                  </a:cubicBezTo>
                  <a:lnTo>
                    <a:pt x="560" y="38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60" name="Freeform 335">
              <a:extLst>
                <a:ext uri="{FF2B5EF4-FFF2-40B4-BE49-F238E27FC236}">
                  <a16:creationId xmlns:a16="http://schemas.microsoft.com/office/drawing/2014/main" id="{69594D85-000D-41FB-A468-3B0F56087053}"/>
                </a:ext>
              </a:extLst>
            </p:cNvPr>
            <p:cNvSpPr>
              <a:spLocks noChangeAspect="1"/>
            </p:cNvSpPr>
            <p:nvPr/>
          </p:nvSpPr>
          <p:spPr bwMode="auto">
            <a:xfrm>
              <a:off x="13984" y="3001"/>
              <a:ext cx="257" cy="401"/>
            </a:xfrm>
            <a:custGeom>
              <a:avLst/>
              <a:gdLst/>
              <a:ahLst/>
              <a:cxnLst>
                <a:cxn ang="0">
                  <a:pos x="8" y="177"/>
                </a:cxn>
                <a:cxn ang="0">
                  <a:pos x="10" y="198"/>
                </a:cxn>
                <a:cxn ang="0">
                  <a:pos x="28" y="201"/>
                </a:cxn>
                <a:cxn ang="0">
                  <a:pos x="55" y="201"/>
                </a:cxn>
                <a:cxn ang="0">
                  <a:pos x="65" y="177"/>
                </a:cxn>
                <a:cxn ang="0">
                  <a:pos x="77" y="178"/>
                </a:cxn>
                <a:cxn ang="0">
                  <a:pos x="78" y="165"/>
                </a:cxn>
                <a:cxn ang="0">
                  <a:pos x="87" y="165"/>
                </a:cxn>
                <a:cxn ang="0">
                  <a:pos x="102" y="140"/>
                </a:cxn>
                <a:cxn ang="0">
                  <a:pos x="102" y="124"/>
                </a:cxn>
                <a:cxn ang="0">
                  <a:pos x="115" y="107"/>
                </a:cxn>
                <a:cxn ang="0">
                  <a:pos x="123" y="109"/>
                </a:cxn>
                <a:cxn ang="0">
                  <a:pos x="129" y="92"/>
                </a:cxn>
                <a:cxn ang="0">
                  <a:pos x="129" y="22"/>
                </a:cxn>
                <a:cxn ang="0">
                  <a:pos x="99" y="4"/>
                </a:cxn>
                <a:cxn ang="0">
                  <a:pos x="101" y="0"/>
                </a:cxn>
                <a:cxn ang="0">
                  <a:pos x="76" y="1"/>
                </a:cxn>
                <a:cxn ang="0">
                  <a:pos x="76" y="7"/>
                </a:cxn>
                <a:cxn ang="0">
                  <a:pos x="64" y="7"/>
                </a:cxn>
                <a:cxn ang="0">
                  <a:pos x="64" y="12"/>
                </a:cxn>
                <a:cxn ang="0">
                  <a:pos x="54" y="12"/>
                </a:cxn>
                <a:cxn ang="0">
                  <a:pos x="45" y="29"/>
                </a:cxn>
                <a:cxn ang="0">
                  <a:pos x="55" y="36"/>
                </a:cxn>
                <a:cxn ang="0">
                  <a:pos x="52" y="44"/>
                </a:cxn>
                <a:cxn ang="0">
                  <a:pos x="59" y="54"/>
                </a:cxn>
                <a:cxn ang="0">
                  <a:pos x="38" y="56"/>
                </a:cxn>
                <a:cxn ang="0">
                  <a:pos x="58" y="75"/>
                </a:cxn>
                <a:cxn ang="0">
                  <a:pos x="59" y="93"/>
                </a:cxn>
                <a:cxn ang="0">
                  <a:pos x="44" y="105"/>
                </a:cxn>
                <a:cxn ang="0">
                  <a:pos x="40" y="120"/>
                </a:cxn>
                <a:cxn ang="0">
                  <a:pos x="34" y="124"/>
                </a:cxn>
                <a:cxn ang="0">
                  <a:pos x="33" y="137"/>
                </a:cxn>
                <a:cxn ang="0">
                  <a:pos x="8" y="138"/>
                </a:cxn>
                <a:cxn ang="0">
                  <a:pos x="0" y="148"/>
                </a:cxn>
                <a:cxn ang="0">
                  <a:pos x="7" y="156"/>
                </a:cxn>
                <a:cxn ang="0">
                  <a:pos x="2" y="164"/>
                </a:cxn>
                <a:cxn ang="0">
                  <a:pos x="3" y="172"/>
                </a:cxn>
                <a:cxn ang="0">
                  <a:pos x="3" y="172"/>
                </a:cxn>
                <a:cxn ang="0">
                  <a:pos x="8" y="177"/>
                </a:cxn>
              </a:cxnLst>
              <a:rect l="0" t="0" r="r" b="b"/>
              <a:pathLst>
                <a:path w="129" h="201">
                  <a:moveTo>
                    <a:pt x="8" y="177"/>
                  </a:moveTo>
                  <a:cubicBezTo>
                    <a:pt x="8" y="181"/>
                    <a:pt x="10" y="198"/>
                    <a:pt x="10" y="198"/>
                  </a:cubicBezTo>
                  <a:cubicBezTo>
                    <a:pt x="28" y="201"/>
                    <a:pt x="28" y="201"/>
                    <a:pt x="28" y="201"/>
                  </a:cubicBezTo>
                  <a:cubicBezTo>
                    <a:pt x="55" y="201"/>
                    <a:pt x="55" y="201"/>
                    <a:pt x="55" y="201"/>
                  </a:cubicBezTo>
                  <a:cubicBezTo>
                    <a:pt x="65" y="177"/>
                    <a:pt x="65" y="177"/>
                    <a:pt x="65" y="177"/>
                  </a:cubicBezTo>
                  <a:cubicBezTo>
                    <a:pt x="77" y="178"/>
                    <a:pt x="77" y="178"/>
                    <a:pt x="77" y="178"/>
                  </a:cubicBezTo>
                  <a:cubicBezTo>
                    <a:pt x="78" y="165"/>
                    <a:pt x="78" y="165"/>
                    <a:pt x="78" y="165"/>
                  </a:cubicBezTo>
                  <a:cubicBezTo>
                    <a:pt x="87" y="165"/>
                    <a:pt x="87" y="165"/>
                    <a:pt x="87" y="165"/>
                  </a:cubicBezTo>
                  <a:cubicBezTo>
                    <a:pt x="102" y="140"/>
                    <a:pt x="102" y="140"/>
                    <a:pt x="102" y="140"/>
                  </a:cubicBezTo>
                  <a:cubicBezTo>
                    <a:pt x="102" y="140"/>
                    <a:pt x="102" y="126"/>
                    <a:pt x="102" y="124"/>
                  </a:cubicBezTo>
                  <a:cubicBezTo>
                    <a:pt x="102" y="121"/>
                    <a:pt x="107" y="114"/>
                    <a:pt x="115" y="107"/>
                  </a:cubicBezTo>
                  <a:cubicBezTo>
                    <a:pt x="123" y="101"/>
                    <a:pt x="123" y="109"/>
                    <a:pt x="123" y="109"/>
                  </a:cubicBezTo>
                  <a:cubicBezTo>
                    <a:pt x="129" y="92"/>
                    <a:pt x="129" y="92"/>
                    <a:pt x="129" y="92"/>
                  </a:cubicBezTo>
                  <a:cubicBezTo>
                    <a:pt x="129" y="22"/>
                    <a:pt x="129" y="22"/>
                    <a:pt x="129" y="22"/>
                  </a:cubicBezTo>
                  <a:cubicBezTo>
                    <a:pt x="99" y="4"/>
                    <a:pt x="99" y="4"/>
                    <a:pt x="99" y="4"/>
                  </a:cubicBezTo>
                  <a:cubicBezTo>
                    <a:pt x="101" y="0"/>
                    <a:pt x="101" y="0"/>
                    <a:pt x="101" y="0"/>
                  </a:cubicBezTo>
                  <a:cubicBezTo>
                    <a:pt x="76" y="1"/>
                    <a:pt x="76" y="1"/>
                    <a:pt x="76" y="1"/>
                  </a:cubicBezTo>
                  <a:cubicBezTo>
                    <a:pt x="76" y="7"/>
                    <a:pt x="76" y="7"/>
                    <a:pt x="76" y="7"/>
                  </a:cubicBezTo>
                  <a:cubicBezTo>
                    <a:pt x="76" y="7"/>
                    <a:pt x="66" y="7"/>
                    <a:pt x="64" y="7"/>
                  </a:cubicBezTo>
                  <a:cubicBezTo>
                    <a:pt x="63" y="7"/>
                    <a:pt x="64" y="12"/>
                    <a:pt x="64" y="12"/>
                  </a:cubicBezTo>
                  <a:cubicBezTo>
                    <a:pt x="64" y="12"/>
                    <a:pt x="62" y="12"/>
                    <a:pt x="54" y="12"/>
                  </a:cubicBezTo>
                  <a:cubicBezTo>
                    <a:pt x="46" y="12"/>
                    <a:pt x="45" y="29"/>
                    <a:pt x="45" y="29"/>
                  </a:cubicBezTo>
                  <a:cubicBezTo>
                    <a:pt x="55" y="36"/>
                    <a:pt x="55" y="36"/>
                    <a:pt x="55" y="36"/>
                  </a:cubicBezTo>
                  <a:cubicBezTo>
                    <a:pt x="55" y="36"/>
                    <a:pt x="52" y="43"/>
                    <a:pt x="52" y="44"/>
                  </a:cubicBezTo>
                  <a:cubicBezTo>
                    <a:pt x="52" y="46"/>
                    <a:pt x="59" y="54"/>
                    <a:pt x="59" y="54"/>
                  </a:cubicBezTo>
                  <a:cubicBezTo>
                    <a:pt x="38" y="56"/>
                    <a:pt x="38" y="56"/>
                    <a:pt x="38" y="56"/>
                  </a:cubicBezTo>
                  <a:cubicBezTo>
                    <a:pt x="38" y="56"/>
                    <a:pt x="49" y="70"/>
                    <a:pt x="58" y="75"/>
                  </a:cubicBezTo>
                  <a:cubicBezTo>
                    <a:pt x="67" y="80"/>
                    <a:pt x="59" y="87"/>
                    <a:pt x="59" y="93"/>
                  </a:cubicBezTo>
                  <a:cubicBezTo>
                    <a:pt x="59" y="99"/>
                    <a:pt x="44" y="105"/>
                    <a:pt x="44" y="105"/>
                  </a:cubicBezTo>
                  <a:cubicBezTo>
                    <a:pt x="40" y="120"/>
                    <a:pt x="40" y="120"/>
                    <a:pt x="40" y="120"/>
                  </a:cubicBezTo>
                  <a:cubicBezTo>
                    <a:pt x="34" y="124"/>
                    <a:pt x="34" y="124"/>
                    <a:pt x="34" y="124"/>
                  </a:cubicBezTo>
                  <a:cubicBezTo>
                    <a:pt x="33" y="137"/>
                    <a:pt x="33" y="137"/>
                    <a:pt x="33" y="137"/>
                  </a:cubicBezTo>
                  <a:cubicBezTo>
                    <a:pt x="8" y="138"/>
                    <a:pt x="8" y="138"/>
                    <a:pt x="8" y="138"/>
                  </a:cubicBezTo>
                  <a:cubicBezTo>
                    <a:pt x="0" y="148"/>
                    <a:pt x="0" y="148"/>
                    <a:pt x="0" y="148"/>
                  </a:cubicBezTo>
                  <a:cubicBezTo>
                    <a:pt x="7" y="156"/>
                    <a:pt x="7" y="156"/>
                    <a:pt x="7" y="156"/>
                  </a:cubicBezTo>
                  <a:cubicBezTo>
                    <a:pt x="2" y="164"/>
                    <a:pt x="2" y="164"/>
                    <a:pt x="2" y="164"/>
                  </a:cubicBezTo>
                  <a:cubicBezTo>
                    <a:pt x="2" y="164"/>
                    <a:pt x="3" y="168"/>
                    <a:pt x="3" y="172"/>
                  </a:cubicBezTo>
                  <a:cubicBezTo>
                    <a:pt x="3" y="172"/>
                    <a:pt x="3" y="172"/>
                    <a:pt x="3" y="172"/>
                  </a:cubicBezTo>
                  <a:cubicBezTo>
                    <a:pt x="3" y="172"/>
                    <a:pt x="8" y="172"/>
                    <a:pt x="8" y="177"/>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1" name="Freeform 337">
              <a:extLst>
                <a:ext uri="{FF2B5EF4-FFF2-40B4-BE49-F238E27FC236}">
                  <a16:creationId xmlns:a16="http://schemas.microsoft.com/office/drawing/2014/main" id="{4060AC07-7870-4A4D-9AC3-BD608E8343B2}"/>
                </a:ext>
              </a:extLst>
            </p:cNvPr>
            <p:cNvSpPr>
              <a:spLocks noChangeAspect="1"/>
            </p:cNvSpPr>
            <p:nvPr/>
          </p:nvSpPr>
          <p:spPr bwMode="auto">
            <a:xfrm>
              <a:off x="13479" y="1161"/>
              <a:ext cx="687" cy="1000"/>
            </a:xfrm>
            <a:custGeom>
              <a:avLst/>
              <a:gdLst/>
              <a:ahLst/>
              <a:cxnLst>
                <a:cxn ang="0">
                  <a:pos x="46" y="488"/>
                </a:cxn>
                <a:cxn ang="0">
                  <a:pos x="88" y="478"/>
                </a:cxn>
                <a:cxn ang="0">
                  <a:pos x="102" y="474"/>
                </a:cxn>
                <a:cxn ang="0">
                  <a:pos x="124" y="465"/>
                </a:cxn>
                <a:cxn ang="0">
                  <a:pos x="142" y="435"/>
                </a:cxn>
                <a:cxn ang="0">
                  <a:pos x="154" y="395"/>
                </a:cxn>
                <a:cxn ang="0">
                  <a:pos x="183" y="404"/>
                </a:cxn>
                <a:cxn ang="0">
                  <a:pos x="231" y="396"/>
                </a:cxn>
                <a:cxn ang="0">
                  <a:pos x="283" y="384"/>
                </a:cxn>
                <a:cxn ang="0">
                  <a:pos x="321" y="318"/>
                </a:cxn>
                <a:cxn ang="0">
                  <a:pos x="322" y="288"/>
                </a:cxn>
                <a:cxn ang="0">
                  <a:pos x="336" y="268"/>
                </a:cxn>
                <a:cxn ang="0">
                  <a:pos x="336" y="254"/>
                </a:cxn>
                <a:cxn ang="0">
                  <a:pos x="333" y="242"/>
                </a:cxn>
                <a:cxn ang="0">
                  <a:pos x="310" y="203"/>
                </a:cxn>
                <a:cxn ang="0">
                  <a:pos x="289" y="135"/>
                </a:cxn>
                <a:cxn ang="0">
                  <a:pos x="288" y="113"/>
                </a:cxn>
                <a:cxn ang="0">
                  <a:pos x="295" y="79"/>
                </a:cxn>
                <a:cxn ang="0">
                  <a:pos x="285" y="67"/>
                </a:cxn>
                <a:cxn ang="0">
                  <a:pos x="284" y="57"/>
                </a:cxn>
                <a:cxn ang="0">
                  <a:pos x="280" y="43"/>
                </a:cxn>
                <a:cxn ang="0">
                  <a:pos x="289" y="23"/>
                </a:cxn>
                <a:cxn ang="0">
                  <a:pos x="265" y="12"/>
                </a:cxn>
                <a:cxn ang="0">
                  <a:pos x="252" y="0"/>
                </a:cxn>
                <a:cxn ang="0">
                  <a:pos x="250" y="30"/>
                </a:cxn>
                <a:cxn ang="0">
                  <a:pos x="235" y="45"/>
                </a:cxn>
                <a:cxn ang="0">
                  <a:pos x="202" y="74"/>
                </a:cxn>
                <a:cxn ang="0">
                  <a:pos x="194" y="107"/>
                </a:cxn>
                <a:cxn ang="0">
                  <a:pos x="191" y="142"/>
                </a:cxn>
                <a:cxn ang="0">
                  <a:pos x="186" y="164"/>
                </a:cxn>
                <a:cxn ang="0">
                  <a:pos x="177" y="179"/>
                </a:cxn>
                <a:cxn ang="0">
                  <a:pos x="176" y="196"/>
                </a:cxn>
                <a:cxn ang="0">
                  <a:pos x="194" y="217"/>
                </a:cxn>
                <a:cxn ang="0">
                  <a:pos x="166" y="246"/>
                </a:cxn>
                <a:cxn ang="0">
                  <a:pos x="146" y="243"/>
                </a:cxn>
                <a:cxn ang="0">
                  <a:pos x="110" y="262"/>
                </a:cxn>
                <a:cxn ang="0">
                  <a:pos x="81" y="284"/>
                </a:cxn>
                <a:cxn ang="0">
                  <a:pos x="65" y="291"/>
                </a:cxn>
                <a:cxn ang="0">
                  <a:pos x="35" y="304"/>
                </a:cxn>
                <a:cxn ang="0">
                  <a:pos x="16" y="343"/>
                </a:cxn>
                <a:cxn ang="0">
                  <a:pos x="3" y="373"/>
                </a:cxn>
                <a:cxn ang="0">
                  <a:pos x="9" y="403"/>
                </a:cxn>
                <a:cxn ang="0">
                  <a:pos x="11" y="411"/>
                </a:cxn>
                <a:cxn ang="0">
                  <a:pos x="0" y="454"/>
                </a:cxn>
                <a:cxn ang="0">
                  <a:pos x="8" y="459"/>
                </a:cxn>
                <a:cxn ang="0">
                  <a:pos x="23" y="453"/>
                </a:cxn>
                <a:cxn ang="0">
                  <a:pos x="37" y="464"/>
                </a:cxn>
              </a:cxnLst>
              <a:rect l="0" t="0" r="r" b="b"/>
              <a:pathLst>
                <a:path w="343" h="499">
                  <a:moveTo>
                    <a:pt x="37" y="464"/>
                  </a:moveTo>
                  <a:cubicBezTo>
                    <a:pt x="37" y="471"/>
                    <a:pt x="36" y="487"/>
                    <a:pt x="46" y="488"/>
                  </a:cubicBezTo>
                  <a:cubicBezTo>
                    <a:pt x="56" y="489"/>
                    <a:pt x="56" y="499"/>
                    <a:pt x="69" y="496"/>
                  </a:cubicBezTo>
                  <a:cubicBezTo>
                    <a:pt x="82" y="493"/>
                    <a:pt x="88" y="478"/>
                    <a:pt x="88" y="478"/>
                  </a:cubicBezTo>
                  <a:cubicBezTo>
                    <a:pt x="100" y="481"/>
                    <a:pt x="100" y="481"/>
                    <a:pt x="100" y="481"/>
                  </a:cubicBezTo>
                  <a:cubicBezTo>
                    <a:pt x="102" y="474"/>
                    <a:pt x="102" y="474"/>
                    <a:pt x="102" y="474"/>
                  </a:cubicBezTo>
                  <a:cubicBezTo>
                    <a:pt x="102" y="474"/>
                    <a:pt x="114" y="481"/>
                    <a:pt x="115" y="479"/>
                  </a:cubicBezTo>
                  <a:cubicBezTo>
                    <a:pt x="115" y="478"/>
                    <a:pt x="124" y="465"/>
                    <a:pt x="124" y="465"/>
                  </a:cubicBezTo>
                  <a:cubicBezTo>
                    <a:pt x="124" y="465"/>
                    <a:pt x="135" y="465"/>
                    <a:pt x="135" y="463"/>
                  </a:cubicBezTo>
                  <a:cubicBezTo>
                    <a:pt x="135" y="461"/>
                    <a:pt x="144" y="443"/>
                    <a:pt x="142" y="435"/>
                  </a:cubicBezTo>
                  <a:cubicBezTo>
                    <a:pt x="140" y="427"/>
                    <a:pt x="129" y="422"/>
                    <a:pt x="133" y="416"/>
                  </a:cubicBezTo>
                  <a:cubicBezTo>
                    <a:pt x="137" y="410"/>
                    <a:pt x="154" y="395"/>
                    <a:pt x="154" y="395"/>
                  </a:cubicBezTo>
                  <a:cubicBezTo>
                    <a:pt x="173" y="407"/>
                    <a:pt x="173" y="407"/>
                    <a:pt x="173" y="407"/>
                  </a:cubicBezTo>
                  <a:cubicBezTo>
                    <a:pt x="183" y="404"/>
                    <a:pt x="183" y="404"/>
                    <a:pt x="183" y="404"/>
                  </a:cubicBezTo>
                  <a:cubicBezTo>
                    <a:pt x="183" y="404"/>
                    <a:pt x="185" y="415"/>
                    <a:pt x="194" y="414"/>
                  </a:cubicBezTo>
                  <a:cubicBezTo>
                    <a:pt x="203" y="413"/>
                    <a:pt x="231" y="396"/>
                    <a:pt x="231" y="396"/>
                  </a:cubicBezTo>
                  <a:cubicBezTo>
                    <a:pt x="256" y="394"/>
                    <a:pt x="256" y="394"/>
                    <a:pt x="256" y="394"/>
                  </a:cubicBezTo>
                  <a:cubicBezTo>
                    <a:pt x="256" y="394"/>
                    <a:pt x="276" y="389"/>
                    <a:pt x="283" y="384"/>
                  </a:cubicBezTo>
                  <a:cubicBezTo>
                    <a:pt x="291" y="379"/>
                    <a:pt x="313" y="365"/>
                    <a:pt x="313" y="365"/>
                  </a:cubicBezTo>
                  <a:cubicBezTo>
                    <a:pt x="313" y="365"/>
                    <a:pt x="321" y="328"/>
                    <a:pt x="321" y="318"/>
                  </a:cubicBezTo>
                  <a:cubicBezTo>
                    <a:pt x="321" y="308"/>
                    <a:pt x="327" y="302"/>
                    <a:pt x="326" y="298"/>
                  </a:cubicBezTo>
                  <a:cubicBezTo>
                    <a:pt x="324" y="294"/>
                    <a:pt x="322" y="289"/>
                    <a:pt x="322" y="288"/>
                  </a:cubicBezTo>
                  <a:cubicBezTo>
                    <a:pt x="322" y="288"/>
                    <a:pt x="335" y="281"/>
                    <a:pt x="335" y="281"/>
                  </a:cubicBezTo>
                  <a:cubicBezTo>
                    <a:pt x="335" y="281"/>
                    <a:pt x="329" y="272"/>
                    <a:pt x="336" y="268"/>
                  </a:cubicBezTo>
                  <a:cubicBezTo>
                    <a:pt x="342" y="264"/>
                    <a:pt x="339" y="258"/>
                    <a:pt x="339" y="258"/>
                  </a:cubicBezTo>
                  <a:cubicBezTo>
                    <a:pt x="336" y="254"/>
                    <a:pt x="336" y="254"/>
                    <a:pt x="336" y="254"/>
                  </a:cubicBezTo>
                  <a:cubicBezTo>
                    <a:pt x="336" y="254"/>
                    <a:pt x="343" y="251"/>
                    <a:pt x="340" y="249"/>
                  </a:cubicBezTo>
                  <a:cubicBezTo>
                    <a:pt x="337" y="246"/>
                    <a:pt x="333" y="242"/>
                    <a:pt x="333" y="242"/>
                  </a:cubicBezTo>
                  <a:cubicBezTo>
                    <a:pt x="322" y="243"/>
                    <a:pt x="322" y="243"/>
                    <a:pt x="322" y="243"/>
                  </a:cubicBezTo>
                  <a:cubicBezTo>
                    <a:pt x="310" y="203"/>
                    <a:pt x="310" y="203"/>
                    <a:pt x="310" y="203"/>
                  </a:cubicBezTo>
                  <a:cubicBezTo>
                    <a:pt x="309" y="151"/>
                    <a:pt x="309" y="151"/>
                    <a:pt x="309" y="151"/>
                  </a:cubicBezTo>
                  <a:cubicBezTo>
                    <a:pt x="289" y="135"/>
                    <a:pt x="289" y="135"/>
                    <a:pt x="289" y="135"/>
                  </a:cubicBezTo>
                  <a:cubicBezTo>
                    <a:pt x="293" y="123"/>
                    <a:pt x="293" y="123"/>
                    <a:pt x="293" y="123"/>
                  </a:cubicBezTo>
                  <a:cubicBezTo>
                    <a:pt x="293" y="123"/>
                    <a:pt x="288" y="114"/>
                    <a:pt x="288" y="113"/>
                  </a:cubicBezTo>
                  <a:cubicBezTo>
                    <a:pt x="288" y="112"/>
                    <a:pt x="297" y="98"/>
                    <a:pt x="297" y="98"/>
                  </a:cubicBezTo>
                  <a:cubicBezTo>
                    <a:pt x="295" y="79"/>
                    <a:pt x="295" y="79"/>
                    <a:pt x="295" y="79"/>
                  </a:cubicBezTo>
                  <a:cubicBezTo>
                    <a:pt x="288" y="78"/>
                    <a:pt x="288" y="78"/>
                    <a:pt x="288" y="78"/>
                  </a:cubicBezTo>
                  <a:cubicBezTo>
                    <a:pt x="285" y="67"/>
                    <a:pt x="285" y="67"/>
                    <a:pt x="285" y="67"/>
                  </a:cubicBezTo>
                  <a:cubicBezTo>
                    <a:pt x="290" y="61"/>
                    <a:pt x="290" y="61"/>
                    <a:pt x="290" y="61"/>
                  </a:cubicBezTo>
                  <a:cubicBezTo>
                    <a:pt x="284" y="57"/>
                    <a:pt x="284" y="57"/>
                    <a:pt x="284" y="57"/>
                  </a:cubicBezTo>
                  <a:cubicBezTo>
                    <a:pt x="284" y="44"/>
                    <a:pt x="284" y="44"/>
                    <a:pt x="284" y="44"/>
                  </a:cubicBezTo>
                  <a:cubicBezTo>
                    <a:pt x="280" y="43"/>
                    <a:pt x="280" y="43"/>
                    <a:pt x="280" y="43"/>
                  </a:cubicBezTo>
                  <a:cubicBezTo>
                    <a:pt x="281" y="29"/>
                    <a:pt x="281" y="29"/>
                    <a:pt x="281" y="29"/>
                  </a:cubicBezTo>
                  <a:cubicBezTo>
                    <a:pt x="289" y="23"/>
                    <a:pt x="289" y="23"/>
                    <a:pt x="289" y="23"/>
                  </a:cubicBezTo>
                  <a:cubicBezTo>
                    <a:pt x="287" y="12"/>
                    <a:pt x="287" y="12"/>
                    <a:pt x="287" y="12"/>
                  </a:cubicBezTo>
                  <a:cubicBezTo>
                    <a:pt x="275" y="12"/>
                    <a:pt x="265" y="12"/>
                    <a:pt x="265" y="12"/>
                  </a:cubicBezTo>
                  <a:cubicBezTo>
                    <a:pt x="255" y="2"/>
                    <a:pt x="255" y="2"/>
                    <a:pt x="255" y="2"/>
                  </a:cubicBezTo>
                  <a:cubicBezTo>
                    <a:pt x="252" y="0"/>
                    <a:pt x="252" y="0"/>
                    <a:pt x="252" y="0"/>
                  </a:cubicBezTo>
                  <a:cubicBezTo>
                    <a:pt x="256" y="17"/>
                    <a:pt x="256" y="17"/>
                    <a:pt x="256" y="17"/>
                  </a:cubicBezTo>
                  <a:cubicBezTo>
                    <a:pt x="250" y="30"/>
                    <a:pt x="250" y="30"/>
                    <a:pt x="250" y="30"/>
                  </a:cubicBezTo>
                  <a:cubicBezTo>
                    <a:pt x="239" y="31"/>
                    <a:pt x="239" y="31"/>
                    <a:pt x="239" y="31"/>
                  </a:cubicBezTo>
                  <a:cubicBezTo>
                    <a:pt x="239" y="31"/>
                    <a:pt x="238" y="39"/>
                    <a:pt x="235" y="45"/>
                  </a:cubicBezTo>
                  <a:cubicBezTo>
                    <a:pt x="232" y="50"/>
                    <a:pt x="215" y="47"/>
                    <a:pt x="211" y="49"/>
                  </a:cubicBezTo>
                  <a:cubicBezTo>
                    <a:pt x="206" y="51"/>
                    <a:pt x="203" y="72"/>
                    <a:pt x="202" y="74"/>
                  </a:cubicBezTo>
                  <a:cubicBezTo>
                    <a:pt x="202" y="76"/>
                    <a:pt x="184" y="90"/>
                    <a:pt x="185" y="94"/>
                  </a:cubicBezTo>
                  <a:cubicBezTo>
                    <a:pt x="185" y="98"/>
                    <a:pt x="194" y="107"/>
                    <a:pt x="194" y="107"/>
                  </a:cubicBezTo>
                  <a:cubicBezTo>
                    <a:pt x="194" y="107"/>
                    <a:pt x="187" y="116"/>
                    <a:pt x="187" y="123"/>
                  </a:cubicBezTo>
                  <a:cubicBezTo>
                    <a:pt x="186" y="131"/>
                    <a:pt x="191" y="142"/>
                    <a:pt x="191" y="142"/>
                  </a:cubicBezTo>
                  <a:cubicBezTo>
                    <a:pt x="194" y="160"/>
                    <a:pt x="194" y="160"/>
                    <a:pt x="194" y="160"/>
                  </a:cubicBezTo>
                  <a:cubicBezTo>
                    <a:pt x="186" y="164"/>
                    <a:pt x="186" y="164"/>
                    <a:pt x="186" y="164"/>
                  </a:cubicBezTo>
                  <a:cubicBezTo>
                    <a:pt x="186" y="171"/>
                    <a:pt x="186" y="171"/>
                    <a:pt x="186" y="171"/>
                  </a:cubicBezTo>
                  <a:cubicBezTo>
                    <a:pt x="186" y="171"/>
                    <a:pt x="181" y="175"/>
                    <a:pt x="177" y="179"/>
                  </a:cubicBezTo>
                  <a:cubicBezTo>
                    <a:pt x="173" y="183"/>
                    <a:pt x="182" y="191"/>
                    <a:pt x="182" y="191"/>
                  </a:cubicBezTo>
                  <a:cubicBezTo>
                    <a:pt x="176" y="196"/>
                    <a:pt x="176" y="196"/>
                    <a:pt x="176" y="196"/>
                  </a:cubicBezTo>
                  <a:cubicBezTo>
                    <a:pt x="181" y="206"/>
                    <a:pt x="181" y="206"/>
                    <a:pt x="181" y="206"/>
                  </a:cubicBezTo>
                  <a:cubicBezTo>
                    <a:pt x="194" y="217"/>
                    <a:pt x="194" y="217"/>
                    <a:pt x="194" y="217"/>
                  </a:cubicBezTo>
                  <a:cubicBezTo>
                    <a:pt x="194" y="217"/>
                    <a:pt x="186" y="241"/>
                    <a:pt x="185" y="244"/>
                  </a:cubicBezTo>
                  <a:cubicBezTo>
                    <a:pt x="184" y="248"/>
                    <a:pt x="170" y="246"/>
                    <a:pt x="166" y="246"/>
                  </a:cubicBezTo>
                  <a:cubicBezTo>
                    <a:pt x="162" y="246"/>
                    <a:pt x="154" y="250"/>
                    <a:pt x="154" y="250"/>
                  </a:cubicBezTo>
                  <a:cubicBezTo>
                    <a:pt x="154" y="250"/>
                    <a:pt x="149" y="246"/>
                    <a:pt x="146" y="243"/>
                  </a:cubicBezTo>
                  <a:cubicBezTo>
                    <a:pt x="143" y="241"/>
                    <a:pt x="123" y="244"/>
                    <a:pt x="123" y="244"/>
                  </a:cubicBezTo>
                  <a:cubicBezTo>
                    <a:pt x="123" y="244"/>
                    <a:pt x="118" y="251"/>
                    <a:pt x="110" y="262"/>
                  </a:cubicBezTo>
                  <a:cubicBezTo>
                    <a:pt x="102" y="274"/>
                    <a:pt x="89" y="271"/>
                    <a:pt x="88" y="273"/>
                  </a:cubicBezTo>
                  <a:cubicBezTo>
                    <a:pt x="87" y="275"/>
                    <a:pt x="81" y="284"/>
                    <a:pt x="81" y="284"/>
                  </a:cubicBezTo>
                  <a:cubicBezTo>
                    <a:pt x="70" y="284"/>
                    <a:pt x="70" y="284"/>
                    <a:pt x="70" y="284"/>
                  </a:cubicBezTo>
                  <a:cubicBezTo>
                    <a:pt x="65" y="291"/>
                    <a:pt x="65" y="291"/>
                    <a:pt x="65" y="291"/>
                  </a:cubicBezTo>
                  <a:cubicBezTo>
                    <a:pt x="52" y="291"/>
                    <a:pt x="52" y="291"/>
                    <a:pt x="52" y="291"/>
                  </a:cubicBezTo>
                  <a:cubicBezTo>
                    <a:pt x="52" y="291"/>
                    <a:pt x="45" y="295"/>
                    <a:pt x="35" y="304"/>
                  </a:cubicBezTo>
                  <a:cubicBezTo>
                    <a:pt x="25" y="312"/>
                    <a:pt x="30" y="328"/>
                    <a:pt x="30" y="328"/>
                  </a:cubicBezTo>
                  <a:cubicBezTo>
                    <a:pt x="30" y="328"/>
                    <a:pt x="19" y="341"/>
                    <a:pt x="16" y="343"/>
                  </a:cubicBezTo>
                  <a:cubicBezTo>
                    <a:pt x="14" y="346"/>
                    <a:pt x="12" y="364"/>
                    <a:pt x="12" y="364"/>
                  </a:cubicBezTo>
                  <a:cubicBezTo>
                    <a:pt x="12" y="364"/>
                    <a:pt x="4" y="369"/>
                    <a:pt x="3" y="373"/>
                  </a:cubicBezTo>
                  <a:cubicBezTo>
                    <a:pt x="2" y="378"/>
                    <a:pt x="8" y="390"/>
                    <a:pt x="8" y="390"/>
                  </a:cubicBezTo>
                  <a:cubicBezTo>
                    <a:pt x="8" y="390"/>
                    <a:pt x="9" y="402"/>
                    <a:pt x="9" y="403"/>
                  </a:cubicBezTo>
                  <a:cubicBezTo>
                    <a:pt x="10" y="404"/>
                    <a:pt x="18" y="408"/>
                    <a:pt x="18" y="408"/>
                  </a:cubicBezTo>
                  <a:cubicBezTo>
                    <a:pt x="11" y="411"/>
                    <a:pt x="11" y="411"/>
                    <a:pt x="11" y="411"/>
                  </a:cubicBezTo>
                  <a:cubicBezTo>
                    <a:pt x="11" y="440"/>
                    <a:pt x="11" y="440"/>
                    <a:pt x="11" y="440"/>
                  </a:cubicBezTo>
                  <a:cubicBezTo>
                    <a:pt x="0" y="454"/>
                    <a:pt x="0" y="454"/>
                    <a:pt x="0" y="454"/>
                  </a:cubicBezTo>
                  <a:cubicBezTo>
                    <a:pt x="1" y="454"/>
                    <a:pt x="2" y="454"/>
                    <a:pt x="2" y="454"/>
                  </a:cubicBezTo>
                  <a:cubicBezTo>
                    <a:pt x="8" y="459"/>
                    <a:pt x="8" y="459"/>
                    <a:pt x="8" y="459"/>
                  </a:cubicBezTo>
                  <a:cubicBezTo>
                    <a:pt x="22" y="449"/>
                    <a:pt x="22" y="449"/>
                    <a:pt x="22" y="449"/>
                  </a:cubicBezTo>
                  <a:cubicBezTo>
                    <a:pt x="23" y="453"/>
                    <a:pt x="23" y="453"/>
                    <a:pt x="23" y="453"/>
                  </a:cubicBezTo>
                  <a:cubicBezTo>
                    <a:pt x="29" y="450"/>
                    <a:pt x="29" y="450"/>
                    <a:pt x="29" y="450"/>
                  </a:cubicBezTo>
                  <a:cubicBezTo>
                    <a:pt x="29" y="450"/>
                    <a:pt x="37" y="458"/>
                    <a:pt x="37" y="464"/>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2" name="Freeform 338">
              <a:extLst>
                <a:ext uri="{FF2B5EF4-FFF2-40B4-BE49-F238E27FC236}">
                  <a16:creationId xmlns:a16="http://schemas.microsoft.com/office/drawing/2014/main" id="{93669232-4550-4E33-9272-89A8E4177736}"/>
                </a:ext>
              </a:extLst>
            </p:cNvPr>
            <p:cNvSpPr>
              <a:spLocks noChangeAspect="1"/>
            </p:cNvSpPr>
            <p:nvPr/>
          </p:nvSpPr>
          <p:spPr bwMode="auto">
            <a:xfrm>
              <a:off x="14040" y="1167"/>
              <a:ext cx="500" cy="617"/>
            </a:xfrm>
            <a:custGeom>
              <a:avLst/>
              <a:gdLst/>
              <a:ahLst/>
              <a:cxnLst>
                <a:cxn ang="0">
                  <a:pos x="76" y="284"/>
                </a:cxn>
                <a:cxn ang="0">
                  <a:pos x="98" y="274"/>
                </a:cxn>
                <a:cxn ang="0">
                  <a:pos x="113" y="285"/>
                </a:cxn>
                <a:cxn ang="0">
                  <a:pos x="125" y="289"/>
                </a:cxn>
                <a:cxn ang="0">
                  <a:pos x="129" y="299"/>
                </a:cxn>
                <a:cxn ang="0">
                  <a:pos x="132" y="296"/>
                </a:cxn>
                <a:cxn ang="0">
                  <a:pos x="148" y="308"/>
                </a:cxn>
                <a:cxn ang="0">
                  <a:pos x="154" y="296"/>
                </a:cxn>
                <a:cxn ang="0">
                  <a:pos x="161" y="294"/>
                </a:cxn>
                <a:cxn ang="0">
                  <a:pos x="167" y="284"/>
                </a:cxn>
                <a:cxn ang="0">
                  <a:pos x="172" y="275"/>
                </a:cxn>
                <a:cxn ang="0">
                  <a:pos x="164" y="262"/>
                </a:cxn>
                <a:cxn ang="0">
                  <a:pos x="157" y="254"/>
                </a:cxn>
                <a:cxn ang="0">
                  <a:pos x="167" y="246"/>
                </a:cxn>
                <a:cxn ang="0">
                  <a:pos x="167" y="230"/>
                </a:cxn>
                <a:cxn ang="0">
                  <a:pos x="175" y="220"/>
                </a:cxn>
                <a:cxn ang="0">
                  <a:pos x="179" y="200"/>
                </a:cxn>
                <a:cxn ang="0">
                  <a:pos x="194" y="195"/>
                </a:cxn>
                <a:cxn ang="0">
                  <a:pos x="201" y="183"/>
                </a:cxn>
                <a:cxn ang="0">
                  <a:pos x="205" y="172"/>
                </a:cxn>
                <a:cxn ang="0">
                  <a:pos x="214" y="166"/>
                </a:cxn>
                <a:cxn ang="0">
                  <a:pos x="214" y="155"/>
                </a:cxn>
                <a:cxn ang="0">
                  <a:pos x="220" y="151"/>
                </a:cxn>
                <a:cxn ang="0">
                  <a:pos x="224" y="134"/>
                </a:cxn>
                <a:cxn ang="0">
                  <a:pos x="250" y="127"/>
                </a:cxn>
                <a:cxn ang="0">
                  <a:pos x="250" y="126"/>
                </a:cxn>
                <a:cxn ang="0">
                  <a:pos x="240" y="113"/>
                </a:cxn>
                <a:cxn ang="0">
                  <a:pos x="229" y="115"/>
                </a:cxn>
                <a:cxn ang="0">
                  <a:pos x="183" y="67"/>
                </a:cxn>
                <a:cxn ang="0">
                  <a:pos x="179" y="57"/>
                </a:cxn>
                <a:cxn ang="0">
                  <a:pos x="160" y="55"/>
                </a:cxn>
                <a:cxn ang="0">
                  <a:pos x="158" y="47"/>
                </a:cxn>
                <a:cxn ang="0">
                  <a:pos x="148" y="41"/>
                </a:cxn>
                <a:cxn ang="0">
                  <a:pos x="128" y="30"/>
                </a:cxn>
                <a:cxn ang="0">
                  <a:pos x="102" y="16"/>
                </a:cxn>
                <a:cxn ang="0">
                  <a:pos x="90" y="5"/>
                </a:cxn>
                <a:cxn ang="0">
                  <a:pos x="56" y="2"/>
                </a:cxn>
                <a:cxn ang="0">
                  <a:pos x="33" y="9"/>
                </a:cxn>
                <a:cxn ang="0">
                  <a:pos x="7" y="9"/>
                </a:cxn>
                <a:cxn ang="0">
                  <a:pos x="9" y="20"/>
                </a:cxn>
                <a:cxn ang="0">
                  <a:pos x="1" y="26"/>
                </a:cxn>
                <a:cxn ang="0">
                  <a:pos x="0" y="40"/>
                </a:cxn>
                <a:cxn ang="0">
                  <a:pos x="4" y="41"/>
                </a:cxn>
                <a:cxn ang="0">
                  <a:pos x="4" y="54"/>
                </a:cxn>
                <a:cxn ang="0">
                  <a:pos x="10" y="58"/>
                </a:cxn>
                <a:cxn ang="0">
                  <a:pos x="5" y="64"/>
                </a:cxn>
                <a:cxn ang="0">
                  <a:pos x="8" y="75"/>
                </a:cxn>
                <a:cxn ang="0">
                  <a:pos x="15" y="76"/>
                </a:cxn>
                <a:cxn ang="0">
                  <a:pos x="17" y="95"/>
                </a:cxn>
                <a:cxn ang="0">
                  <a:pos x="8" y="110"/>
                </a:cxn>
                <a:cxn ang="0">
                  <a:pos x="13" y="120"/>
                </a:cxn>
                <a:cxn ang="0">
                  <a:pos x="9" y="132"/>
                </a:cxn>
                <a:cxn ang="0">
                  <a:pos x="29" y="148"/>
                </a:cxn>
                <a:cxn ang="0">
                  <a:pos x="30" y="200"/>
                </a:cxn>
                <a:cxn ang="0">
                  <a:pos x="42" y="240"/>
                </a:cxn>
                <a:cxn ang="0">
                  <a:pos x="53" y="239"/>
                </a:cxn>
                <a:cxn ang="0">
                  <a:pos x="60" y="246"/>
                </a:cxn>
                <a:cxn ang="0">
                  <a:pos x="56" y="251"/>
                </a:cxn>
                <a:cxn ang="0">
                  <a:pos x="59" y="255"/>
                </a:cxn>
                <a:cxn ang="0">
                  <a:pos x="56" y="265"/>
                </a:cxn>
                <a:cxn ang="0">
                  <a:pos x="54" y="277"/>
                </a:cxn>
                <a:cxn ang="0">
                  <a:pos x="70" y="281"/>
                </a:cxn>
                <a:cxn ang="0">
                  <a:pos x="76" y="284"/>
                </a:cxn>
              </a:cxnLst>
              <a:rect l="0" t="0" r="r" b="b"/>
              <a:pathLst>
                <a:path w="250" h="308">
                  <a:moveTo>
                    <a:pt x="76" y="284"/>
                  </a:moveTo>
                  <a:cubicBezTo>
                    <a:pt x="76" y="284"/>
                    <a:pt x="86" y="274"/>
                    <a:pt x="98" y="274"/>
                  </a:cubicBezTo>
                  <a:cubicBezTo>
                    <a:pt x="109" y="275"/>
                    <a:pt x="113" y="285"/>
                    <a:pt x="113" y="285"/>
                  </a:cubicBezTo>
                  <a:cubicBezTo>
                    <a:pt x="113" y="285"/>
                    <a:pt x="123" y="281"/>
                    <a:pt x="125" y="289"/>
                  </a:cubicBezTo>
                  <a:cubicBezTo>
                    <a:pt x="127" y="297"/>
                    <a:pt x="129" y="299"/>
                    <a:pt x="129" y="299"/>
                  </a:cubicBezTo>
                  <a:cubicBezTo>
                    <a:pt x="132" y="296"/>
                    <a:pt x="132" y="296"/>
                    <a:pt x="132" y="296"/>
                  </a:cubicBezTo>
                  <a:cubicBezTo>
                    <a:pt x="148" y="308"/>
                    <a:pt x="148" y="308"/>
                    <a:pt x="148" y="308"/>
                  </a:cubicBezTo>
                  <a:cubicBezTo>
                    <a:pt x="148" y="308"/>
                    <a:pt x="148" y="297"/>
                    <a:pt x="154" y="296"/>
                  </a:cubicBezTo>
                  <a:cubicBezTo>
                    <a:pt x="159" y="295"/>
                    <a:pt x="161" y="294"/>
                    <a:pt x="161" y="294"/>
                  </a:cubicBezTo>
                  <a:cubicBezTo>
                    <a:pt x="161" y="294"/>
                    <a:pt x="165" y="287"/>
                    <a:pt x="167" y="284"/>
                  </a:cubicBezTo>
                  <a:cubicBezTo>
                    <a:pt x="169" y="282"/>
                    <a:pt x="175" y="281"/>
                    <a:pt x="172" y="275"/>
                  </a:cubicBezTo>
                  <a:cubicBezTo>
                    <a:pt x="170" y="269"/>
                    <a:pt x="165" y="263"/>
                    <a:pt x="164" y="262"/>
                  </a:cubicBezTo>
                  <a:cubicBezTo>
                    <a:pt x="164" y="261"/>
                    <a:pt x="157" y="255"/>
                    <a:pt x="157" y="254"/>
                  </a:cubicBezTo>
                  <a:cubicBezTo>
                    <a:pt x="157" y="254"/>
                    <a:pt x="167" y="247"/>
                    <a:pt x="167" y="246"/>
                  </a:cubicBezTo>
                  <a:cubicBezTo>
                    <a:pt x="167" y="245"/>
                    <a:pt x="167" y="230"/>
                    <a:pt x="167" y="230"/>
                  </a:cubicBezTo>
                  <a:cubicBezTo>
                    <a:pt x="167" y="230"/>
                    <a:pt x="175" y="223"/>
                    <a:pt x="175" y="220"/>
                  </a:cubicBezTo>
                  <a:cubicBezTo>
                    <a:pt x="174" y="217"/>
                    <a:pt x="173" y="201"/>
                    <a:pt x="179" y="200"/>
                  </a:cubicBezTo>
                  <a:cubicBezTo>
                    <a:pt x="185" y="199"/>
                    <a:pt x="192" y="197"/>
                    <a:pt x="194" y="195"/>
                  </a:cubicBezTo>
                  <a:cubicBezTo>
                    <a:pt x="196" y="193"/>
                    <a:pt x="201" y="188"/>
                    <a:pt x="201" y="183"/>
                  </a:cubicBezTo>
                  <a:cubicBezTo>
                    <a:pt x="201" y="178"/>
                    <a:pt x="200" y="176"/>
                    <a:pt x="205" y="172"/>
                  </a:cubicBezTo>
                  <a:cubicBezTo>
                    <a:pt x="211" y="168"/>
                    <a:pt x="214" y="166"/>
                    <a:pt x="214" y="166"/>
                  </a:cubicBezTo>
                  <a:cubicBezTo>
                    <a:pt x="214" y="165"/>
                    <a:pt x="214" y="155"/>
                    <a:pt x="214" y="155"/>
                  </a:cubicBezTo>
                  <a:cubicBezTo>
                    <a:pt x="220" y="151"/>
                    <a:pt x="220" y="151"/>
                    <a:pt x="220" y="151"/>
                  </a:cubicBezTo>
                  <a:cubicBezTo>
                    <a:pt x="220" y="151"/>
                    <a:pt x="217" y="136"/>
                    <a:pt x="224" y="134"/>
                  </a:cubicBezTo>
                  <a:cubicBezTo>
                    <a:pt x="232" y="132"/>
                    <a:pt x="250" y="127"/>
                    <a:pt x="250" y="127"/>
                  </a:cubicBezTo>
                  <a:cubicBezTo>
                    <a:pt x="250" y="127"/>
                    <a:pt x="250" y="127"/>
                    <a:pt x="250" y="126"/>
                  </a:cubicBezTo>
                  <a:cubicBezTo>
                    <a:pt x="240" y="113"/>
                    <a:pt x="240" y="113"/>
                    <a:pt x="240" y="113"/>
                  </a:cubicBezTo>
                  <a:cubicBezTo>
                    <a:pt x="229" y="115"/>
                    <a:pt x="229" y="115"/>
                    <a:pt x="229" y="115"/>
                  </a:cubicBezTo>
                  <a:cubicBezTo>
                    <a:pt x="229" y="115"/>
                    <a:pt x="192" y="72"/>
                    <a:pt x="183" y="67"/>
                  </a:cubicBezTo>
                  <a:cubicBezTo>
                    <a:pt x="174" y="62"/>
                    <a:pt x="179" y="57"/>
                    <a:pt x="179" y="57"/>
                  </a:cubicBezTo>
                  <a:cubicBezTo>
                    <a:pt x="160" y="55"/>
                    <a:pt x="160" y="55"/>
                    <a:pt x="160" y="55"/>
                  </a:cubicBezTo>
                  <a:cubicBezTo>
                    <a:pt x="158" y="47"/>
                    <a:pt x="158" y="47"/>
                    <a:pt x="158" y="47"/>
                  </a:cubicBezTo>
                  <a:cubicBezTo>
                    <a:pt x="148" y="41"/>
                    <a:pt x="148" y="41"/>
                    <a:pt x="148" y="41"/>
                  </a:cubicBezTo>
                  <a:cubicBezTo>
                    <a:pt x="148" y="41"/>
                    <a:pt x="139" y="40"/>
                    <a:pt x="128" y="30"/>
                  </a:cubicBezTo>
                  <a:cubicBezTo>
                    <a:pt x="117" y="20"/>
                    <a:pt x="109" y="17"/>
                    <a:pt x="102" y="16"/>
                  </a:cubicBezTo>
                  <a:cubicBezTo>
                    <a:pt x="95" y="15"/>
                    <a:pt x="90" y="5"/>
                    <a:pt x="90" y="5"/>
                  </a:cubicBezTo>
                  <a:cubicBezTo>
                    <a:pt x="90" y="5"/>
                    <a:pt x="58" y="0"/>
                    <a:pt x="56" y="2"/>
                  </a:cubicBezTo>
                  <a:cubicBezTo>
                    <a:pt x="54" y="4"/>
                    <a:pt x="34" y="9"/>
                    <a:pt x="33" y="9"/>
                  </a:cubicBezTo>
                  <a:cubicBezTo>
                    <a:pt x="33" y="10"/>
                    <a:pt x="19" y="10"/>
                    <a:pt x="7" y="9"/>
                  </a:cubicBezTo>
                  <a:cubicBezTo>
                    <a:pt x="9" y="20"/>
                    <a:pt x="9" y="20"/>
                    <a:pt x="9" y="20"/>
                  </a:cubicBezTo>
                  <a:cubicBezTo>
                    <a:pt x="1" y="26"/>
                    <a:pt x="1" y="26"/>
                    <a:pt x="1" y="26"/>
                  </a:cubicBezTo>
                  <a:cubicBezTo>
                    <a:pt x="0" y="40"/>
                    <a:pt x="0" y="40"/>
                    <a:pt x="0" y="40"/>
                  </a:cubicBezTo>
                  <a:cubicBezTo>
                    <a:pt x="4" y="41"/>
                    <a:pt x="4" y="41"/>
                    <a:pt x="4" y="41"/>
                  </a:cubicBezTo>
                  <a:cubicBezTo>
                    <a:pt x="4" y="54"/>
                    <a:pt x="4" y="54"/>
                    <a:pt x="4" y="54"/>
                  </a:cubicBezTo>
                  <a:cubicBezTo>
                    <a:pt x="10" y="58"/>
                    <a:pt x="10" y="58"/>
                    <a:pt x="10" y="58"/>
                  </a:cubicBezTo>
                  <a:cubicBezTo>
                    <a:pt x="5" y="64"/>
                    <a:pt x="5" y="64"/>
                    <a:pt x="5" y="64"/>
                  </a:cubicBezTo>
                  <a:cubicBezTo>
                    <a:pt x="8" y="75"/>
                    <a:pt x="8" y="75"/>
                    <a:pt x="8" y="75"/>
                  </a:cubicBezTo>
                  <a:cubicBezTo>
                    <a:pt x="15" y="76"/>
                    <a:pt x="15" y="76"/>
                    <a:pt x="15" y="76"/>
                  </a:cubicBezTo>
                  <a:cubicBezTo>
                    <a:pt x="17" y="95"/>
                    <a:pt x="17" y="95"/>
                    <a:pt x="17" y="95"/>
                  </a:cubicBezTo>
                  <a:cubicBezTo>
                    <a:pt x="17" y="95"/>
                    <a:pt x="8" y="109"/>
                    <a:pt x="8" y="110"/>
                  </a:cubicBezTo>
                  <a:cubicBezTo>
                    <a:pt x="8" y="111"/>
                    <a:pt x="13" y="120"/>
                    <a:pt x="13" y="120"/>
                  </a:cubicBezTo>
                  <a:cubicBezTo>
                    <a:pt x="9" y="132"/>
                    <a:pt x="9" y="132"/>
                    <a:pt x="9" y="132"/>
                  </a:cubicBezTo>
                  <a:cubicBezTo>
                    <a:pt x="29" y="148"/>
                    <a:pt x="29" y="148"/>
                    <a:pt x="29" y="148"/>
                  </a:cubicBezTo>
                  <a:cubicBezTo>
                    <a:pt x="30" y="200"/>
                    <a:pt x="30" y="200"/>
                    <a:pt x="30" y="200"/>
                  </a:cubicBezTo>
                  <a:cubicBezTo>
                    <a:pt x="42" y="240"/>
                    <a:pt x="42" y="240"/>
                    <a:pt x="42" y="240"/>
                  </a:cubicBezTo>
                  <a:cubicBezTo>
                    <a:pt x="53" y="239"/>
                    <a:pt x="53" y="239"/>
                    <a:pt x="53" y="239"/>
                  </a:cubicBezTo>
                  <a:cubicBezTo>
                    <a:pt x="53" y="239"/>
                    <a:pt x="57" y="243"/>
                    <a:pt x="60" y="246"/>
                  </a:cubicBezTo>
                  <a:cubicBezTo>
                    <a:pt x="63" y="248"/>
                    <a:pt x="56" y="251"/>
                    <a:pt x="56" y="251"/>
                  </a:cubicBezTo>
                  <a:cubicBezTo>
                    <a:pt x="59" y="255"/>
                    <a:pt x="59" y="255"/>
                    <a:pt x="59" y="255"/>
                  </a:cubicBezTo>
                  <a:cubicBezTo>
                    <a:pt x="59" y="255"/>
                    <a:pt x="62" y="261"/>
                    <a:pt x="56" y="265"/>
                  </a:cubicBezTo>
                  <a:cubicBezTo>
                    <a:pt x="51" y="268"/>
                    <a:pt x="53" y="275"/>
                    <a:pt x="54" y="277"/>
                  </a:cubicBezTo>
                  <a:cubicBezTo>
                    <a:pt x="70" y="281"/>
                    <a:pt x="70" y="281"/>
                    <a:pt x="70" y="281"/>
                  </a:cubicBezTo>
                  <a:lnTo>
                    <a:pt x="76" y="284"/>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3" name="Freeform 339">
              <a:extLst>
                <a:ext uri="{FF2B5EF4-FFF2-40B4-BE49-F238E27FC236}">
                  <a16:creationId xmlns:a16="http://schemas.microsoft.com/office/drawing/2014/main" id="{4BAADCB1-4C6B-4A13-BF5A-9AF6835BDEA6}"/>
                </a:ext>
              </a:extLst>
            </p:cNvPr>
            <p:cNvSpPr>
              <a:spLocks noChangeAspect="1"/>
            </p:cNvSpPr>
            <p:nvPr/>
          </p:nvSpPr>
          <p:spPr bwMode="auto">
            <a:xfrm>
              <a:off x="14386" y="1419"/>
              <a:ext cx="433" cy="261"/>
            </a:xfrm>
            <a:custGeom>
              <a:avLst/>
              <a:gdLst/>
              <a:ahLst/>
              <a:cxnLst>
                <a:cxn ang="0">
                  <a:pos x="16" y="104"/>
                </a:cxn>
                <a:cxn ang="0">
                  <a:pos x="19" y="98"/>
                </a:cxn>
                <a:cxn ang="0">
                  <a:pos x="25" y="103"/>
                </a:cxn>
                <a:cxn ang="0">
                  <a:pos x="32" y="96"/>
                </a:cxn>
                <a:cxn ang="0">
                  <a:pos x="41" y="94"/>
                </a:cxn>
                <a:cxn ang="0">
                  <a:pos x="48" y="82"/>
                </a:cxn>
                <a:cxn ang="0">
                  <a:pos x="63" y="80"/>
                </a:cxn>
                <a:cxn ang="0">
                  <a:pos x="78" y="70"/>
                </a:cxn>
                <a:cxn ang="0">
                  <a:pos x="83" y="79"/>
                </a:cxn>
                <a:cxn ang="0">
                  <a:pos x="77" y="82"/>
                </a:cxn>
                <a:cxn ang="0">
                  <a:pos x="69" y="92"/>
                </a:cxn>
                <a:cxn ang="0">
                  <a:pos x="71" y="98"/>
                </a:cxn>
                <a:cxn ang="0">
                  <a:pos x="64" y="104"/>
                </a:cxn>
                <a:cxn ang="0">
                  <a:pos x="63" y="112"/>
                </a:cxn>
                <a:cxn ang="0">
                  <a:pos x="81" y="119"/>
                </a:cxn>
                <a:cxn ang="0">
                  <a:pos x="103" y="115"/>
                </a:cxn>
                <a:cxn ang="0">
                  <a:pos x="108" y="130"/>
                </a:cxn>
                <a:cxn ang="0">
                  <a:pos x="123" y="119"/>
                </a:cxn>
                <a:cxn ang="0">
                  <a:pos x="121" y="112"/>
                </a:cxn>
                <a:cxn ang="0">
                  <a:pos x="125" y="108"/>
                </a:cxn>
                <a:cxn ang="0">
                  <a:pos x="120" y="99"/>
                </a:cxn>
                <a:cxn ang="0">
                  <a:pos x="131" y="90"/>
                </a:cxn>
                <a:cxn ang="0">
                  <a:pos x="153" y="97"/>
                </a:cxn>
                <a:cxn ang="0">
                  <a:pos x="188" y="97"/>
                </a:cxn>
                <a:cxn ang="0">
                  <a:pos x="193" y="102"/>
                </a:cxn>
                <a:cxn ang="0">
                  <a:pos x="216" y="102"/>
                </a:cxn>
                <a:cxn ang="0">
                  <a:pos x="215" y="98"/>
                </a:cxn>
                <a:cxn ang="0">
                  <a:pos x="209" y="87"/>
                </a:cxn>
                <a:cxn ang="0">
                  <a:pos x="208" y="69"/>
                </a:cxn>
                <a:cxn ang="0">
                  <a:pos x="201" y="46"/>
                </a:cxn>
                <a:cxn ang="0">
                  <a:pos x="181" y="19"/>
                </a:cxn>
                <a:cxn ang="0">
                  <a:pos x="160" y="12"/>
                </a:cxn>
                <a:cxn ang="0">
                  <a:pos x="138" y="18"/>
                </a:cxn>
                <a:cxn ang="0">
                  <a:pos x="128" y="12"/>
                </a:cxn>
                <a:cxn ang="0">
                  <a:pos x="115" y="19"/>
                </a:cxn>
                <a:cxn ang="0">
                  <a:pos x="101" y="7"/>
                </a:cxn>
                <a:cxn ang="0">
                  <a:pos x="82" y="7"/>
                </a:cxn>
                <a:cxn ang="0">
                  <a:pos x="77" y="0"/>
                </a:cxn>
                <a:cxn ang="0">
                  <a:pos x="77" y="1"/>
                </a:cxn>
                <a:cxn ang="0">
                  <a:pos x="51" y="8"/>
                </a:cxn>
                <a:cxn ang="0">
                  <a:pos x="47" y="25"/>
                </a:cxn>
                <a:cxn ang="0">
                  <a:pos x="41" y="29"/>
                </a:cxn>
                <a:cxn ang="0">
                  <a:pos x="41" y="40"/>
                </a:cxn>
                <a:cxn ang="0">
                  <a:pos x="32" y="46"/>
                </a:cxn>
                <a:cxn ang="0">
                  <a:pos x="28" y="57"/>
                </a:cxn>
                <a:cxn ang="0">
                  <a:pos x="21" y="69"/>
                </a:cxn>
                <a:cxn ang="0">
                  <a:pos x="6" y="74"/>
                </a:cxn>
                <a:cxn ang="0">
                  <a:pos x="2" y="94"/>
                </a:cxn>
                <a:cxn ang="0">
                  <a:pos x="2" y="94"/>
                </a:cxn>
                <a:cxn ang="0">
                  <a:pos x="10" y="97"/>
                </a:cxn>
                <a:cxn ang="0">
                  <a:pos x="16" y="104"/>
                </a:cxn>
              </a:cxnLst>
              <a:rect l="0" t="0" r="r" b="b"/>
              <a:pathLst>
                <a:path w="216" h="131">
                  <a:moveTo>
                    <a:pt x="16" y="104"/>
                  </a:moveTo>
                  <a:cubicBezTo>
                    <a:pt x="19" y="98"/>
                    <a:pt x="19" y="98"/>
                    <a:pt x="19" y="98"/>
                  </a:cubicBezTo>
                  <a:cubicBezTo>
                    <a:pt x="25" y="103"/>
                    <a:pt x="25" y="103"/>
                    <a:pt x="25" y="103"/>
                  </a:cubicBezTo>
                  <a:cubicBezTo>
                    <a:pt x="25" y="103"/>
                    <a:pt x="33" y="96"/>
                    <a:pt x="32" y="96"/>
                  </a:cubicBezTo>
                  <a:cubicBezTo>
                    <a:pt x="31" y="95"/>
                    <a:pt x="35" y="94"/>
                    <a:pt x="41" y="94"/>
                  </a:cubicBezTo>
                  <a:cubicBezTo>
                    <a:pt x="46" y="94"/>
                    <a:pt x="47" y="86"/>
                    <a:pt x="48" y="82"/>
                  </a:cubicBezTo>
                  <a:cubicBezTo>
                    <a:pt x="50" y="79"/>
                    <a:pt x="58" y="81"/>
                    <a:pt x="63" y="80"/>
                  </a:cubicBezTo>
                  <a:cubicBezTo>
                    <a:pt x="68" y="80"/>
                    <a:pt x="78" y="70"/>
                    <a:pt x="78" y="70"/>
                  </a:cubicBezTo>
                  <a:cubicBezTo>
                    <a:pt x="78" y="70"/>
                    <a:pt x="83" y="78"/>
                    <a:pt x="83" y="79"/>
                  </a:cubicBezTo>
                  <a:cubicBezTo>
                    <a:pt x="83" y="79"/>
                    <a:pt x="77" y="82"/>
                    <a:pt x="77" y="82"/>
                  </a:cubicBezTo>
                  <a:cubicBezTo>
                    <a:pt x="69" y="92"/>
                    <a:pt x="69" y="92"/>
                    <a:pt x="69" y="92"/>
                  </a:cubicBezTo>
                  <a:cubicBezTo>
                    <a:pt x="71" y="98"/>
                    <a:pt x="71" y="98"/>
                    <a:pt x="71" y="98"/>
                  </a:cubicBezTo>
                  <a:cubicBezTo>
                    <a:pt x="71" y="98"/>
                    <a:pt x="65" y="103"/>
                    <a:pt x="64" y="104"/>
                  </a:cubicBezTo>
                  <a:cubicBezTo>
                    <a:pt x="64" y="105"/>
                    <a:pt x="63" y="112"/>
                    <a:pt x="63" y="112"/>
                  </a:cubicBezTo>
                  <a:cubicBezTo>
                    <a:pt x="63" y="112"/>
                    <a:pt x="79" y="119"/>
                    <a:pt x="81" y="119"/>
                  </a:cubicBezTo>
                  <a:cubicBezTo>
                    <a:pt x="83" y="120"/>
                    <a:pt x="95" y="114"/>
                    <a:pt x="103" y="115"/>
                  </a:cubicBezTo>
                  <a:cubicBezTo>
                    <a:pt x="112" y="115"/>
                    <a:pt x="108" y="129"/>
                    <a:pt x="108" y="130"/>
                  </a:cubicBezTo>
                  <a:cubicBezTo>
                    <a:pt x="108" y="131"/>
                    <a:pt x="123" y="119"/>
                    <a:pt x="123" y="119"/>
                  </a:cubicBezTo>
                  <a:cubicBezTo>
                    <a:pt x="121" y="112"/>
                    <a:pt x="121" y="112"/>
                    <a:pt x="121" y="112"/>
                  </a:cubicBezTo>
                  <a:cubicBezTo>
                    <a:pt x="125" y="108"/>
                    <a:pt x="125" y="108"/>
                    <a:pt x="125" y="108"/>
                  </a:cubicBezTo>
                  <a:cubicBezTo>
                    <a:pt x="120" y="99"/>
                    <a:pt x="120" y="99"/>
                    <a:pt x="120" y="99"/>
                  </a:cubicBezTo>
                  <a:cubicBezTo>
                    <a:pt x="120" y="99"/>
                    <a:pt x="125" y="90"/>
                    <a:pt x="131" y="90"/>
                  </a:cubicBezTo>
                  <a:cubicBezTo>
                    <a:pt x="138" y="89"/>
                    <a:pt x="153" y="97"/>
                    <a:pt x="153" y="97"/>
                  </a:cubicBezTo>
                  <a:cubicBezTo>
                    <a:pt x="153" y="97"/>
                    <a:pt x="188" y="97"/>
                    <a:pt x="188" y="97"/>
                  </a:cubicBezTo>
                  <a:cubicBezTo>
                    <a:pt x="189" y="97"/>
                    <a:pt x="193" y="102"/>
                    <a:pt x="193" y="102"/>
                  </a:cubicBezTo>
                  <a:cubicBezTo>
                    <a:pt x="216" y="102"/>
                    <a:pt x="216" y="102"/>
                    <a:pt x="216" y="102"/>
                  </a:cubicBezTo>
                  <a:cubicBezTo>
                    <a:pt x="216" y="100"/>
                    <a:pt x="215" y="98"/>
                    <a:pt x="215" y="98"/>
                  </a:cubicBezTo>
                  <a:cubicBezTo>
                    <a:pt x="209" y="87"/>
                    <a:pt x="209" y="87"/>
                    <a:pt x="209" y="87"/>
                  </a:cubicBezTo>
                  <a:cubicBezTo>
                    <a:pt x="208" y="69"/>
                    <a:pt x="208" y="69"/>
                    <a:pt x="208" y="69"/>
                  </a:cubicBezTo>
                  <a:cubicBezTo>
                    <a:pt x="208" y="69"/>
                    <a:pt x="201" y="55"/>
                    <a:pt x="201" y="46"/>
                  </a:cubicBezTo>
                  <a:cubicBezTo>
                    <a:pt x="201" y="36"/>
                    <a:pt x="190" y="26"/>
                    <a:pt x="181" y="19"/>
                  </a:cubicBezTo>
                  <a:cubicBezTo>
                    <a:pt x="173" y="11"/>
                    <a:pt x="160" y="12"/>
                    <a:pt x="160" y="12"/>
                  </a:cubicBezTo>
                  <a:cubicBezTo>
                    <a:pt x="160" y="12"/>
                    <a:pt x="143" y="17"/>
                    <a:pt x="138" y="18"/>
                  </a:cubicBezTo>
                  <a:cubicBezTo>
                    <a:pt x="134" y="19"/>
                    <a:pt x="128" y="12"/>
                    <a:pt x="128" y="12"/>
                  </a:cubicBezTo>
                  <a:cubicBezTo>
                    <a:pt x="115" y="19"/>
                    <a:pt x="115" y="19"/>
                    <a:pt x="115" y="19"/>
                  </a:cubicBezTo>
                  <a:cubicBezTo>
                    <a:pt x="101" y="7"/>
                    <a:pt x="101" y="7"/>
                    <a:pt x="101" y="7"/>
                  </a:cubicBezTo>
                  <a:cubicBezTo>
                    <a:pt x="82" y="7"/>
                    <a:pt x="82" y="7"/>
                    <a:pt x="82" y="7"/>
                  </a:cubicBezTo>
                  <a:cubicBezTo>
                    <a:pt x="77" y="0"/>
                    <a:pt x="77" y="0"/>
                    <a:pt x="77" y="0"/>
                  </a:cubicBezTo>
                  <a:cubicBezTo>
                    <a:pt x="77" y="1"/>
                    <a:pt x="77" y="1"/>
                    <a:pt x="77" y="1"/>
                  </a:cubicBezTo>
                  <a:cubicBezTo>
                    <a:pt x="77" y="1"/>
                    <a:pt x="59" y="6"/>
                    <a:pt x="51" y="8"/>
                  </a:cubicBezTo>
                  <a:cubicBezTo>
                    <a:pt x="44" y="10"/>
                    <a:pt x="47" y="25"/>
                    <a:pt x="47" y="25"/>
                  </a:cubicBezTo>
                  <a:cubicBezTo>
                    <a:pt x="41" y="29"/>
                    <a:pt x="41" y="29"/>
                    <a:pt x="41" y="29"/>
                  </a:cubicBezTo>
                  <a:cubicBezTo>
                    <a:pt x="41" y="29"/>
                    <a:pt x="41" y="39"/>
                    <a:pt x="41" y="40"/>
                  </a:cubicBezTo>
                  <a:cubicBezTo>
                    <a:pt x="41" y="40"/>
                    <a:pt x="38" y="42"/>
                    <a:pt x="32" y="46"/>
                  </a:cubicBezTo>
                  <a:cubicBezTo>
                    <a:pt x="27" y="50"/>
                    <a:pt x="28" y="52"/>
                    <a:pt x="28" y="57"/>
                  </a:cubicBezTo>
                  <a:cubicBezTo>
                    <a:pt x="28" y="62"/>
                    <a:pt x="23" y="67"/>
                    <a:pt x="21" y="69"/>
                  </a:cubicBezTo>
                  <a:cubicBezTo>
                    <a:pt x="19" y="71"/>
                    <a:pt x="12" y="73"/>
                    <a:pt x="6" y="74"/>
                  </a:cubicBezTo>
                  <a:cubicBezTo>
                    <a:pt x="0" y="75"/>
                    <a:pt x="1" y="91"/>
                    <a:pt x="2" y="94"/>
                  </a:cubicBezTo>
                  <a:cubicBezTo>
                    <a:pt x="2" y="94"/>
                    <a:pt x="2" y="94"/>
                    <a:pt x="2" y="94"/>
                  </a:cubicBezTo>
                  <a:cubicBezTo>
                    <a:pt x="10" y="97"/>
                    <a:pt x="10" y="97"/>
                    <a:pt x="10" y="97"/>
                  </a:cubicBezTo>
                  <a:lnTo>
                    <a:pt x="16" y="104"/>
                  </a:lnTo>
                  <a:close/>
                </a:path>
              </a:pathLst>
            </a:custGeom>
            <a:solidFill>
              <a:srgbClr val="00B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4" name="Freeform 340">
              <a:extLst>
                <a:ext uri="{FF2B5EF4-FFF2-40B4-BE49-F238E27FC236}">
                  <a16:creationId xmlns:a16="http://schemas.microsoft.com/office/drawing/2014/main" id="{E8EA8168-A4D2-4D87-9B45-8BEFD54AA99F}"/>
                </a:ext>
              </a:extLst>
            </p:cNvPr>
            <p:cNvSpPr>
              <a:spLocks noChangeAspect="1"/>
            </p:cNvSpPr>
            <p:nvPr/>
          </p:nvSpPr>
          <p:spPr bwMode="auto">
            <a:xfrm>
              <a:off x="14352" y="1559"/>
              <a:ext cx="479" cy="283"/>
            </a:xfrm>
            <a:custGeom>
              <a:avLst/>
              <a:gdLst/>
              <a:ahLst/>
              <a:cxnLst>
                <a:cxn ang="0">
                  <a:pos x="34" y="111"/>
                </a:cxn>
                <a:cxn ang="0">
                  <a:pos x="48" y="109"/>
                </a:cxn>
                <a:cxn ang="0">
                  <a:pos x="71" y="92"/>
                </a:cxn>
                <a:cxn ang="0">
                  <a:pos x="93" y="75"/>
                </a:cxn>
                <a:cxn ang="0">
                  <a:pos x="97" y="97"/>
                </a:cxn>
                <a:cxn ang="0">
                  <a:pos x="93" y="110"/>
                </a:cxn>
                <a:cxn ang="0">
                  <a:pos x="100" y="120"/>
                </a:cxn>
                <a:cxn ang="0">
                  <a:pos x="112" y="140"/>
                </a:cxn>
                <a:cxn ang="0">
                  <a:pos x="131" y="130"/>
                </a:cxn>
                <a:cxn ang="0">
                  <a:pos x="142" y="115"/>
                </a:cxn>
                <a:cxn ang="0">
                  <a:pos x="176" y="107"/>
                </a:cxn>
                <a:cxn ang="0">
                  <a:pos x="202" y="98"/>
                </a:cxn>
                <a:cxn ang="0">
                  <a:pos x="219" y="84"/>
                </a:cxn>
                <a:cxn ang="0">
                  <a:pos x="237" y="62"/>
                </a:cxn>
                <a:cxn ang="0">
                  <a:pos x="209" y="32"/>
                </a:cxn>
                <a:cxn ang="0">
                  <a:pos x="169" y="27"/>
                </a:cxn>
                <a:cxn ang="0">
                  <a:pos x="136" y="29"/>
                </a:cxn>
                <a:cxn ang="0">
                  <a:pos x="137" y="42"/>
                </a:cxn>
                <a:cxn ang="0">
                  <a:pos x="124" y="60"/>
                </a:cxn>
                <a:cxn ang="0">
                  <a:pos x="97" y="49"/>
                </a:cxn>
                <a:cxn ang="0">
                  <a:pos x="80" y="34"/>
                </a:cxn>
                <a:cxn ang="0">
                  <a:pos x="85" y="22"/>
                </a:cxn>
                <a:cxn ang="0">
                  <a:pos x="99" y="9"/>
                </a:cxn>
                <a:cxn ang="0">
                  <a:pos x="79" y="10"/>
                </a:cxn>
                <a:cxn ang="0">
                  <a:pos x="57" y="24"/>
                </a:cxn>
                <a:cxn ang="0">
                  <a:pos x="41" y="33"/>
                </a:cxn>
                <a:cxn ang="0">
                  <a:pos x="32" y="34"/>
                </a:cxn>
                <a:cxn ang="0">
                  <a:pos x="18" y="24"/>
                </a:cxn>
                <a:cxn ang="0">
                  <a:pos x="10" y="50"/>
                </a:cxn>
                <a:cxn ang="0">
                  <a:pos x="7" y="66"/>
                </a:cxn>
                <a:cxn ang="0">
                  <a:pos x="10" y="88"/>
                </a:cxn>
                <a:cxn ang="0">
                  <a:pos x="16" y="108"/>
                </a:cxn>
              </a:cxnLst>
              <a:rect l="0" t="0" r="r" b="b"/>
              <a:pathLst>
                <a:path w="239" h="141">
                  <a:moveTo>
                    <a:pt x="27" y="100"/>
                  </a:moveTo>
                  <a:cubicBezTo>
                    <a:pt x="27" y="100"/>
                    <a:pt x="33" y="111"/>
                    <a:pt x="34" y="111"/>
                  </a:cubicBezTo>
                  <a:cubicBezTo>
                    <a:pt x="35" y="110"/>
                    <a:pt x="43" y="104"/>
                    <a:pt x="43" y="104"/>
                  </a:cubicBezTo>
                  <a:cubicBezTo>
                    <a:pt x="43" y="104"/>
                    <a:pt x="47" y="110"/>
                    <a:pt x="48" y="109"/>
                  </a:cubicBezTo>
                  <a:cubicBezTo>
                    <a:pt x="48" y="108"/>
                    <a:pt x="58" y="101"/>
                    <a:pt x="62" y="99"/>
                  </a:cubicBezTo>
                  <a:cubicBezTo>
                    <a:pt x="66" y="96"/>
                    <a:pt x="68" y="92"/>
                    <a:pt x="71" y="92"/>
                  </a:cubicBezTo>
                  <a:cubicBezTo>
                    <a:pt x="74" y="92"/>
                    <a:pt x="78" y="91"/>
                    <a:pt x="78" y="90"/>
                  </a:cubicBezTo>
                  <a:cubicBezTo>
                    <a:pt x="78" y="89"/>
                    <a:pt x="93" y="75"/>
                    <a:pt x="93" y="75"/>
                  </a:cubicBezTo>
                  <a:cubicBezTo>
                    <a:pt x="93" y="75"/>
                    <a:pt x="113" y="85"/>
                    <a:pt x="110" y="89"/>
                  </a:cubicBezTo>
                  <a:cubicBezTo>
                    <a:pt x="108" y="93"/>
                    <a:pt x="97" y="97"/>
                    <a:pt x="97" y="97"/>
                  </a:cubicBezTo>
                  <a:cubicBezTo>
                    <a:pt x="100" y="106"/>
                    <a:pt x="100" y="106"/>
                    <a:pt x="100" y="106"/>
                  </a:cubicBezTo>
                  <a:cubicBezTo>
                    <a:pt x="93" y="110"/>
                    <a:pt x="93" y="110"/>
                    <a:pt x="93" y="110"/>
                  </a:cubicBezTo>
                  <a:cubicBezTo>
                    <a:pt x="90" y="120"/>
                    <a:pt x="90" y="120"/>
                    <a:pt x="90" y="120"/>
                  </a:cubicBezTo>
                  <a:cubicBezTo>
                    <a:pt x="100" y="120"/>
                    <a:pt x="100" y="120"/>
                    <a:pt x="100" y="120"/>
                  </a:cubicBezTo>
                  <a:cubicBezTo>
                    <a:pt x="99" y="133"/>
                    <a:pt x="99" y="133"/>
                    <a:pt x="99" y="133"/>
                  </a:cubicBezTo>
                  <a:cubicBezTo>
                    <a:pt x="99" y="133"/>
                    <a:pt x="112" y="141"/>
                    <a:pt x="112" y="140"/>
                  </a:cubicBezTo>
                  <a:cubicBezTo>
                    <a:pt x="112" y="139"/>
                    <a:pt x="123" y="130"/>
                    <a:pt x="123" y="130"/>
                  </a:cubicBezTo>
                  <a:cubicBezTo>
                    <a:pt x="131" y="130"/>
                    <a:pt x="131" y="130"/>
                    <a:pt x="131" y="130"/>
                  </a:cubicBezTo>
                  <a:cubicBezTo>
                    <a:pt x="130" y="117"/>
                    <a:pt x="130" y="117"/>
                    <a:pt x="130" y="117"/>
                  </a:cubicBezTo>
                  <a:cubicBezTo>
                    <a:pt x="142" y="115"/>
                    <a:pt x="142" y="115"/>
                    <a:pt x="142" y="115"/>
                  </a:cubicBezTo>
                  <a:cubicBezTo>
                    <a:pt x="142" y="115"/>
                    <a:pt x="144" y="109"/>
                    <a:pt x="145" y="109"/>
                  </a:cubicBezTo>
                  <a:cubicBezTo>
                    <a:pt x="145" y="109"/>
                    <a:pt x="176" y="107"/>
                    <a:pt x="176" y="107"/>
                  </a:cubicBezTo>
                  <a:cubicBezTo>
                    <a:pt x="176" y="107"/>
                    <a:pt x="179" y="101"/>
                    <a:pt x="190" y="100"/>
                  </a:cubicBezTo>
                  <a:cubicBezTo>
                    <a:pt x="200" y="99"/>
                    <a:pt x="202" y="98"/>
                    <a:pt x="202" y="98"/>
                  </a:cubicBezTo>
                  <a:cubicBezTo>
                    <a:pt x="202" y="98"/>
                    <a:pt x="201" y="88"/>
                    <a:pt x="202" y="88"/>
                  </a:cubicBezTo>
                  <a:cubicBezTo>
                    <a:pt x="202" y="87"/>
                    <a:pt x="219" y="84"/>
                    <a:pt x="219" y="84"/>
                  </a:cubicBezTo>
                  <a:cubicBezTo>
                    <a:pt x="239" y="102"/>
                    <a:pt x="239" y="102"/>
                    <a:pt x="239" y="102"/>
                  </a:cubicBezTo>
                  <a:cubicBezTo>
                    <a:pt x="239" y="86"/>
                    <a:pt x="238" y="65"/>
                    <a:pt x="237" y="62"/>
                  </a:cubicBezTo>
                  <a:cubicBezTo>
                    <a:pt x="237" y="59"/>
                    <a:pt x="234" y="41"/>
                    <a:pt x="232" y="32"/>
                  </a:cubicBezTo>
                  <a:cubicBezTo>
                    <a:pt x="209" y="32"/>
                    <a:pt x="209" y="32"/>
                    <a:pt x="209" y="32"/>
                  </a:cubicBezTo>
                  <a:cubicBezTo>
                    <a:pt x="209" y="32"/>
                    <a:pt x="205" y="27"/>
                    <a:pt x="204" y="27"/>
                  </a:cubicBezTo>
                  <a:cubicBezTo>
                    <a:pt x="204" y="27"/>
                    <a:pt x="169" y="27"/>
                    <a:pt x="169" y="27"/>
                  </a:cubicBezTo>
                  <a:cubicBezTo>
                    <a:pt x="169" y="27"/>
                    <a:pt x="154" y="19"/>
                    <a:pt x="147" y="20"/>
                  </a:cubicBezTo>
                  <a:cubicBezTo>
                    <a:pt x="141" y="20"/>
                    <a:pt x="136" y="29"/>
                    <a:pt x="136" y="29"/>
                  </a:cubicBezTo>
                  <a:cubicBezTo>
                    <a:pt x="141" y="38"/>
                    <a:pt x="141" y="38"/>
                    <a:pt x="141" y="38"/>
                  </a:cubicBezTo>
                  <a:cubicBezTo>
                    <a:pt x="137" y="42"/>
                    <a:pt x="137" y="42"/>
                    <a:pt x="137" y="42"/>
                  </a:cubicBezTo>
                  <a:cubicBezTo>
                    <a:pt x="139" y="49"/>
                    <a:pt x="139" y="49"/>
                    <a:pt x="139" y="49"/>
                  </a:cubicBezTo>
                  <a:cubicBezTo>
                    <a:pt x="139" y="49"/>
                    <a:pt x="124" y="61"/>
                    <a:pt x="124" y="60"/>
                  </a:cubicBezTo>
                  <a:cubicBezTo>
                    <a:pt x="124" y="59"/>
                    <a:pt x="128" y="45"/>
                    <a:pt x="119" y="45"/>
                  </a:cubicBezTo>
                  <a:cubicBezTo>
                    <a:pt x="111" y="44"/>
                    <a:pt x="99" y="50"/>
                    <a:pt x="97" y="49"/>
                  </a:cubicBezTo>
                  <a:cubicBezTo>
                    <a:pt x="95" y="49"/>
                    <a:pt x="79" y="42"/>
                    <a:pt x="79" y="42"/>
                  </a:cubicBezTo>
                  <a:cubicBezTo>
                    <a:pt x="79" y="42"/>
                    <a:pt x="80" y="35"/>
                    <a:pt x="80" y="34"/>
                  </a:cubicBezTo>
                  <a:cubicBezTo>
                    <a:pt x="81" y="33"/>
                    <a:pt x="87" y="28"/>
                    <a:pt x="87" y="28"/>
                  </a:cubicBezTo>
                  <a:cubicBezTo>
                    <a:pt x="85" y="22"/>
                    <a:pt x="85" y="22"/>
                    <a:pt x="85" y="22"/>
                  </a:cubicBezTo>
                  <a:cubicBezTo>
                    <a:pt x="93" y="12"/>
                    <a:pt x="93" y="12"/>
                    <a:pt x="93" y="12"/>
                  </a:cubicBezTo>
                  <a:cubicBezTo>
                    <a:pt x="93" y="12"/>
                    <a:pt x="99" y="9"/>
                    <a:pt x="99" y="9"/>
                  </a:cubicBezTo>
                  <a:cubicBezTo>
                    <a:pt x="99" y="8"/>
                    <a:pt x="94" y="0"/>
                    <a:pt x="94" y="0"/>
                  </a:cubicBezTo>
                  <a:cubicBezTo>
                    <a:pt x="94" y="0"/>
                    <a:pt x="84" y="10"/>
                    <a:pt x="79" y="10"/>
                  </a:cubicBezTo>
                  <a:cubicBezTo>
                    <a:pt x="74" y="11"/>
                    <a:pt x="66" y="9"/>
                    <a:pt x="64" y="12"/>
                  </a:cubicBezTo>
                  <a:cubicBezTo>
                    <a:pt x="63" y="16"/>
                    <a:pt x="62" y="24"/>
                    <a:pt x="57" y="24"/>
                  </a:cubicBezTo>
                  <a:cubicBezTo>
                    <a:pt x="51" y="24"/>
                    <a:pt x="47" y="25"/>
                    <a:pt x="48" y="26"/>
                  </a:cubicBezTo>
                  <a:cubicBezTo>
                    <a:pt x="49" y="26"/>
                    <a:pt x="41" y="33"/>
                    <a:pt x="41" y="33"/>
                  </a:cubicBezTo>
                  <a:cubicBezTo>
                    <a:pt x="35" y="28"/>
                    <a:pt x="35" y="28"/>
                    <a:pt x="35" y="28"/>
                  </a:cubicBezTo>
                  <a:cubicBezTo>
                    <a:pt x="32" y="34"/>
                    <a:pt x="32" y="34"/>
                    <a:pt x="32" y="34"/>
                  </a:cubicBezTo>
                  <a:cubicBezTo>
                    <a:pt x="26" y="27"/>
                    <a:pt x="26" y="27"/>
                    <a:pt x="26" y="27"/>
                  </a:cubicBezTo>
                  <a:cubicBezTo>
                    <a:pt x="18" y="24"/>
                    <a:pt x="18" y="24"/>
                    <a:pt x="18" y="24"/>
                  </a:cubicBezTo>
                  <a:cubicBezTo>
                    <a:pt x="17" y="27"/>
                    <a:pt x="10" y="34"/>
                    <a:pt x="10" y="34"/>
                  </a:cubicBezTo>
                  <a:cubicBezTo>
                    <a:pt x="10" y="34"/>
                    <a:pt x="10" y="49"/>
                    <a:pt x="10" y="50"/>
                  </a:cubicBezTo>
                  <a:cubicBezTo>
                    <a:pt x="10" y="51"/>
                    <a:pt x="0" y="58"/>
                    <a:pt x="0" y="58"/>
                  </a:cubicBezTo>
                  <a:cubicBezTo>
                    <a:pt x="0" y="59"/>
                    <a:pt x="7" y="65"/>
                    <a:pt x="7" y="66"/>
                  </a:cubicBezTo>
                  <a:cubicBezTo>
                    <a:pt x="8" y="67"/>
                    <a:pt x="13" y="73"/>
                    <a:pt x="15" y="79"/>
                  </a:cubicBezTo>
                  <a:cubicBezTo>
                    <a:pt x="18" y="85"/>
                    <a:pt x="12" y="86"/>
                    <a:pt x="10" y="88"/>
                  </a:cubicBezTo>
                  <a:cubicBezTo>
                    <a:pt x="9" y="90"/>
                    <a:pt x="5" y="96"/>
                    <a:pt x="4" y="97"/>
                  </a:cubicBezTo>
                  <a:cubicBezTo>
                    <a:pt x="16" y="108"/>
                    <a:pt x="16" y="108"/>
                    <a:pt x="16" y="108"/>
                  </a:cubicBezTo>
                  <a:lnTo>
                    <a:pt x="27" y="100"/>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5" name="Freeform 341">
              <a:extLst>
                <a:ext uri="{FF2B5EF4-FFF2-40B4-BE49-F238E27FC236}">
                  <a16:creationId xmlns:a16="http://schemas.microsoft.com/office/drawing/2014/main" id="{1DED19CA-DB84-4D26-8A50-36BEB9597187}"/>
                </a:ext>
              </a:extLst>
            </p:cNvPr>
            <p:cNvSpPr>
              <a:spLocks noChangeAspect="1"/>
            </p:cNvSpPr>
            <p:nvPr/>
          </p:nvSpPr>
          <p:spPr bwMode="auto">
            <a:xfrm>
              <a:off x="14062" y="1709"/>
              <a:ext cx="773" cy="280"/>
            </a:xfrm>
            <a:custGeom>
              <a:avLst/>
              <a:gdLst>
                <a:gd name="T0" fmla="*/ 773 w 386"/>
                <a:gd name="T1" fmla="*/ 86 h 140"/>
                <a:gd name="T2" fmla="*/ 731 w 386"/>
                <a:gd name="T3" fmla="*/ 18 h 140"/>
                <a:gd name="T4" fmla="*/ 697 w 386"/>
                <a:gd name="T5" fmla="*/ 46 h 140"/>
                <a:gd name="T6" fmla="*/ 645 w 386"/>
                <a:gd name="T7" fmla="*/ 64 h 140"/>
                <a:gd name="T8" fmla="*/ 577 w 386"/>
                <a:gd name="T9" fmla="*/ 80 h 140"/>
                <a:gd name="T10" fmla="*/ 555 w 386"/>
                <a:gd name="T11" fmla="*/ 110 h 140"/>
                <a:gd name="T12" fmla="*/ 517 w 386"/>
                <a:gd name="T13" fmla="*/ 130 h 140"/>
                <a:gd name="T14" fmla="*/ 493 w 386"/>
                <a:gd name="T15" fmla="*/ 90 h 140"/>
                <a:gd name="T16" fmla="*/ 479 w 386"/>
                <a:gd name="T17" fmla="*/ 70 h 140"/>
                <a:gd name="T18" fmla="*/ 487 w 386"/>
                <a:gd name="T19" fmla="*/ 44 h 140"/>
                <a:gd name="T20" fmla="*/ 479 w 386"/>
                <a:gd name="T21" fmla="*/ 0 h 140"/>
                <a:gd name="T22" fmla="*/ 435 w 386"/>
                <a:gd name="T23" fmla="*/ 34 h 140"/>
                <a:gd name="T24" fmla="*/ 389 w 386"/>
                <a:gd name="T25" fmla="*/ 68 h 140"/>
                <a:gd name="T26" fmla="*/ 360 w 386"/>
                <a:gd name="T27" fmla="*/ 72 h 140"/>
                <a:gd name="T28" fmla="*/ 324 w 386"/>
                <a:gd name="T29" fmla="*/ 66 h 140"/>
                <a:gd name="T30" fmla="*/ 300 w 386"/>
                <a:gd name="T31" fmla="*/ 46 h 140"/>
                <a:gd name="T32" fmla="*/ 274 w 386"/>
                <a:gd name="T33" fmla="*/ 74 h 140"/>
                <a:gd name="T34" fmla="*/ 236 w 386"/>
                <a:gd name="T35" fmla="*/ 56 h 140"/>
                <a:gd name="T36" fmla="*/ 204 w 386"/>
                <a:gd name="T37" fmla="*/ 28 h 140"/>
                <a:gd name="T38" fmla="*/ 130 w 386"/>
                <a:gd name="T39" fmla="*/ 26 h 140"/>
                <a:gd name="T40" fmla="*/ 86 w 386"/>
                <a:gd name="T41" fmla="*/ 12 h 140"/>
                <a:gd name="T42" fmla="*/ 62 w 386"/>
                <a:gd name="T43" fmla="*/ 28 h 140"/>
                <a:gd name="T44" fmla="*/ 60 w 386"/>
                <a:gd name="T45" fmla="*/ 88 h 140"/>
                <a:gd name="T46" fmla="*/ 0 w 386"/>
                <a:gd name="T47" fmla="*/ 210 h 140"/>
                <a:gd name="T48" fmla="*/ 70 w 386"/>
                <a:gd name="T49" fmla="*/ 274 h 140"/>
                <a:gd name="T50" fmla="*/ 120 w 386"/>
                <a:gd name="T51" fmla="*/ 222 h 140"/>
                <a:gd name="T52" fmla="*/ 164 w 386"/>
                <a:gd name="T53" fmla="*/ 208 h 140"/>
                <a:gd name="T54" fmla="*/ 182 w 386"/>
                <a:gd name="T55" fmla="*/ 188 h 140"/>
                <a:gd name="T56" fmla="*/ 224 w 386"/>
                <a:gd name="T57" fmla="*/ 154 h 140"/>
                <a:gd name="T58" fmla="*/ 308 w 386"/>
                <a:gd name="T59" fmla="*/ 208 h 140"/>
                <a:gd name="T60" fmla="*/ 334 w 386"/>
                <a:gd name="T61" fmla="*/ 220 h 140"/>
                <a:gd name="T62" fmla="*/ 356 w 386"/>
                <a:gd name="T63" fmla="*/ 222 h 140"/>
                <a:gd name="T64" fmla="*/ 366 w 386"/>
                <a:gd name="T65" fmla="*/ 254 h 140"/>
                <a:gd name="T66" fmla="*/ 415 w 386"/>
                <a:gd name="T67" fmla="*/ 196 h 140"/>
                <a:gd name="T68" fmla="*/ 453 w 386"/>
                <a:gd name="T69" fmla="*/ 210 h 140"/>
                <a:gd name="T70" fmla="*/ 479 w 386"/>
                <a:gd name="T71" fmla="*/ 242 h 140"/>
                <a:gd name="T72" fmla="*/ 517 w 386"/>
                <a:gd name="T73" fmla="*/ 260 h 140"/>
                <a:gd name="T74" fmla="*/ 567 w 386"/>
                <a:gd name="T75" fmla="*/ 250 h 140"/>
                <a:gd name="T76" fmla="*/ 605 w 386"/>
                <a:gd name="T77" fmla="*/ 234 h 140"/>
                <a:gd name="T78" fmla="*/ 649 w 386"/>
                <a:gd name="T79" fmla="*/ 192 h 140"/>
                <a:gd name="T80" fmla="*/ 685 w 386"/>
                <a:gd name="T81" fmla="*/ 194 h 140"/>
                <a:gd name="T82" fmla="*/ 755 w 386"/>
                <a:gd name="T83" fmla="*/ 15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6"/>
                <a:gd name="T127" fmla="*/ 0 h 140"/>
                <a:gd name="T128" fmla="*/ 386 w 38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6" h="140">
                  <a:moveTo>
                    <a:pt x="375" y="65"/>
                  </a:moveTo>
                  <a:cubicBezTo>
                    <a:pt x="386" y="43"/>
                    <a:pt x="386" y="43"/>
                    <a:pt x="386" y="43"/>
                  </a:cubicBezTo>
                  <a:cubicBezTo>
                    <a:pt x="386" y="43"/>
                    <a:pt x="386" y="36"/>
                    <a:pt x="385" y="27"/>
                  </a:cubicBezTo>
                  <a:cubicBezTo>
                    <a:pt x="365" y="9"/>
                    <a:pt x="365" y="9"/>
                    <a:pt x="365" y="9"/>
                  </a:cubicBezTo>
                  <a:cubicBezTo>
                    <a:pt x="365" y="9"/>
                    <a:pt x="348" y="12"/>
                    <a:pt x="348" y="13"/>
                  </a:cubicBezTo>
                  <a:cubicBezTo>
                    <a:pt x="347" y="13"/>
                    <a:pt x="348" y="23"/>
                    <a:pt x="348" y="23"/>
                  </a:cubicBezTo>
                  <a:cubicBezTo>
                    <a:pt x="348" y="23"/>
                    <a:pt x="346" y="24"/>
                    <a:pt x="336" y="25"/>
                  </a:cubicBezTo>
                  <a:cubicBezTo>
                    <a:pt x="325" y="26"/>
                    <a:pt x="322" y="32"/>
                    <a:pt x="322" y="32"/>
                  </a:cubicBezTo>
                  <a:cubicBezTo>
                    <a:pt x="322" y="32"/>
                    <a:pt x="291" y="34"/>
                    <a:pt x="291" y="34"/>
                  </a:cubicBezTo>
                  <a:cubicBezTo>
                    <a:pt x="290" y="34"/>
                    <a:pt x="288" y="40"/>
                    <a:pt x="288" y="40"/>
                  </a:cubicBezTo>
                  <a:cubicBezTo>
                    <a:pt x="276" y="42"/>
                    <a:pt x="276" y="42"/>
                    <a:pt x="276" y="42"/>
                  </a:cubicBezTo>
                  <a:cubicBezTo>
                    <a:pt x="277" y="55"/>
                    <a:pt x="277" y="55"/>
                    <a:pt x="277" y="55"/>
                  </a:cubicBezTo>
                  <a:cubicBezTo>
                    <a:pt x="269" y="55"/>
                    <a:pt x="269" y="55"/>
                    <a:pt x="269" y="55"/>
                  </a:cubicBezTo>
                  <a:cubicBezTo>
                    <a:pt x="269" y="55"/>
                    <a:pt x="258" y="64"/>
                    <a:pt x="258" y="65"/>
                  </a:cubicBezTo>
                  <a:cubicBezTo>
                    <a:pt x="258" y="66"/>
                    <a:pt x="245" y="58"/>
                    <a:pt x="245" y="58"/>
                  </a:cubicBezTo>
                  <a:cubicBezTo>
                    <a:pt x="246" y="45"/>
                    <a:pt x="246" y="45"/>
                    <a:pt x="246" y="45"/>
                  </a:cubicBezTo>
                  <a:cubicBezTo>
                    <a:pt x="236" y="45"/>
                    <a:pt x="236" y="45"/>
                    <a:pt x="236" y="45"/>
                  </a:cubicBezTo>
                  <a:cubicBezTo>
                    <a:pt x="239" y="35"/>
                    <a:pt x="239" y="35"/>
                    <a:pt x="239" y="35"/>
                  </a:cubicBezTo>
                  <a:cubicBezTo>
                    <a:pt x="246" y="31"/>
                    <a:pt x="246" y="31"/>
                    <a:pt x="246" y="31"/>
                  </a:cubicBezTo>
                  <a:cubicBezTo>
                    <a:pt x="243" y="22"/>
                    <a:pt x="243" y="22"/>
                    <a:pt x="243" y="22"/>
                  </a:cubicBezTo>
                  <a:cubicBezTo>
                    <a:pt x="243" y="22"/>
                    <a:pt x="254" y="18"/>
                    <a:pt x="256" y="14"/>
                  </a:cubicBezTo>
                  <a:cubicBezTo>
                    <a:pt x="259" y="10"/>
                    <a:pt x="239" y="0"/>
                    <a:pt x="239" y="0"/>
                  </a:cubicBezTo>
                  <a:cubicBezTo>
                    <a:pt x="239" y="0"/>
                    <a:pt x="224" y="14"/>
                    <a:pt x="224" y="15"/>
                  </a:cubicBezTo>
                  <a:cubicBezTo>
                    <a:pt x="224" y="16"/>
                    <a:pt x="220" y="17"/>
                    <a:pt x="217" y="17"/>
                  </a:cubicBezTo>
                  <a:cubicBezTo>
                    <a:pt x="214" y="17"/>
                    <a:pt x="212" y="21"/>
                    <a:pt x="208" y="24"/>
                  </a:cubicBezTo>
                  <a:cubicBezTo>
                    <a:pt x="204" y="26"/>
                    <a:pt x="194" y="33"/>
                    <a:pt x="194" y="34"/>
                  </a:cubicBezTo>
                  <a:cubicBezTo>
                    <a:pt x="193" y="35"/>
                    <a:pt x="189" y="29"/>
                    <a:pt x="189" y="29"/>
                  </a:cubicBezTo>
                  <a:cubicBezTo>
                    <a:pt x="189" y="29"/>
                    <a:pt x="181" y="35"/>
                    <a:pt x="180" y="36"/>
                  </a:cubicBezTo>
                  <a:cubicBezTo>
                    <a:pt x="179" y="36"/>
                    <a:pt x="173" y="25"/>
                    <a:pt x="173" y="25"/>
                  </a:cubicBezTo>
                  <a:cubicBezTo>
                    <a:pt x="162" y="33"/>
                    <a:pt x="162" y="33"/>
                    <a:pt x="162" y="33"/>
                  </a:cubicBezTo>
                  <a:cubicBezTo>
                    <a:pt x="150" y="22"/>
                    <a:pt x="150" y="22"/>
                    <a:pt x="150" y="22"/>
                  </a:cubicBezTo>
                  <a:cubicBezTo>
                    <a:pt x="150" y="23"/>
                    <a:pt x="150" y="23"/>
                    <a:pt x="150" y="23"/>
                  </a:cubicBezTo>
                  <a:cubicBezTo>
                    <a:pt x="150" y="23"/>
                    <a:pt x="148" y="24"/>
                    <a:pt x="143" y="25"/>
                  </a:cubicBezTo>
                  <a:cubicBezTo>
                    <a:pt x="137" y="26"/>
                    <a:pt x="137" y="37"/>
                    <a:pt x="137" y="37"/>
                  </a:cubicBezTo>
                  <a:cubicBezTo>
                    <a:pt x="121" y="25"/>
                    <a:pt x="121" y="25"/>
                    <a:pt x="121" y="25"/>
                  </a:cubicBezTo>
                  <a:cubicBezTo>
                    <a:pt x="118" y="28"/>
                    <a:pt x="118" y="28"/>
                    <a:pt x="118" y="28"/>
                  </a:cubicBezTo>
                  <a:cubicBezTo>
                    <a:pt x="118" y="28"/>
                    <a:pt x="116" y="26"/>
                    <a:pt x="114" y="18"/>
                  </a:cubicBezTo>
                  <a:cubicBezTo>
                    <a:pt x="112" y="10"/>
                    <a:pt x="102" y="14"/>
                    <a:pt x="102" y="14"/>
                  </a:cubicBezTo>
                  <a:cubicBezTo>
                    <a:pt x="102" y="14"/>
                    <a:pt x="98" y="4"/>
                    <a:pt x="87" y="3"/>
                  </a:cubicBezTo>
                  <a:cubicBezTo>
                    <a:pt x="75" y="3"/>
                    <a:pt x="65" y="13"/>
                    <a:pt x="65" y="13"/>
                  </a:cubicBezTo>
                  <a:cubicBezTo>
                    <a:pt x="59" y="10"/>
                    <a:pt x="59" y="10"/>
                    <a:pt x="59" y="10"/>
                  </a:cubicBezTo>
                  <a:cubicBezTo>
                    <a:pt x="43" y="6"/>
                    <a:pt x="43" y="6"/>
                    <a:pt x="43" y="6"/>
                  </a:cubicBezTo>
                  <a:cubicBezTo>
                    <a:pt x="44" y="7"/>
                    <a:pt x="44" y="7"/>
                    <a:pt x="44" y="7"/>
                  </a:cubicBezTo>
                  <a:cubicBezTo>
                    <a:pt x="44" y="7"/>
                    <a:pt x="31" y="14"/>
                    <a:pt x="31" y="14"/>
                  </a:cubicBezTo>
                  <a:cubicBezTo>
                    <a:pt x="31" y="15"/>
                    <a:pt x="33" y="20"/>
                    <a:pt x="35" y="24"/>
                  </a:cubicBezTo>
                  <a:cubicBezTo>
                    <a:pt x="36" y="28"/>
                    <a:pt x="30" y="34"/>
                    <a:pt x="30" y="44"/>
                  </a:cubicBezTo>
                  <a:cubicBezTo>
                    <a:pt x="30" y="54"/>
                    <a:pt x="22" y="91"/>
                    <a:pt x="22" y="91"/>
                  </a:cubicBezTo>
                  <a:cubicBezTo>
                    <a:pt x="22" y="91"/>
                    <a:pt x="10" y="98"/>
                    <a:pt x="0" y="105"/>
                  </a:cubicBezTo>
                  <a:cubicBezTo>
                    <a:pt x="9" y="106"/>
                    <a:pt x="18" y="108"/>
                    <a:pt x="20" y="115"/>
                  </a:cubicBezTo>
                  <a:cubicBezTo>
                    <a:pt x="24" y="126"/>
                    <a:pt x="28" y="140"/>
                    <a:pt x="35" y="137"/>
                  </a:cubicBezTo>
                  <a:cubicBezTo>
                    <a:pt x="41" y="135"/>
                    <a:pt x="55" y="123"/>
                    <a:pt x="56" y="118"/>
                  </a:cubicBezTo>
                  <a:cubicBezTo>
                    <a:pt x="58" y="114"/>
                    <a:pt x="60" y="111"/>
                    <a:pt x="60" y="111"/>
                  </a:cubicBezTo>
                  <a:cubicBezTo>
                    <a:pt x="60" y="111"/>
                    <a:pt x="60" y="114"/>
                    <a:pt x="68" y="111"/>
                  </a:cubicBezTo>
                  <a:cubicBezTo>
                    <a:pt x="75" y="109"/>
                    <a:pt x="82" y="105"/>
                    <a:pt x="82" y="104"/>
                  </a:cubicBezTo>
                  <a:cubicBezTo>
                    <a:pt x="82" y="103"/>
                    <a:pt x="81" y="96"/>
                    <a:pt x="81" y="96"/>
                  </a:cubicBezTo>
                  <a:cubicBezTo>
                    <a:pt x="91" y="94"/>
                    <a:pt x="91" y="94"/>
                    <a:pt x="91" y="94"/>
                  </a:cubicBezTo>
                  <a:cubicBezTo>
                    <a:pt x="91" y="94"/>
                    <a:pt x="92" y="86"/>
                    <a:pt x="92" y="85"/>
                  </a:cubicBezTo>
                  <a:cubicBezTo>
                    <a:pt x="92" y="85"/>
                    <a:pt x="112" y="77"/>
                    <a:pt x="112" y="77"/>
                  </a:cubicBezTo>
                  <a:cubicBezTo>
                    <a:pt x="112" y="77"/>
                    <a:pt x="122" y="87"/>
                    <a:pt x="127" y="89"/>
                  </a:cubicBezTo>
                  <a:cubicBezTo>
                    <a:pt x="133" y="91"/>
                    <a:pt x="154" y="104"/>
                    <a:pt x="154" y="104"/>
                  </a:cubicBezTo>
                  <a:cubicBezTo>
                    <a:pt x="154" y="104"/>
                    <a:pt x="165" y="94"/>
                    <a:pt x="165" y="96"/>
                  </a:cubicBezTo>
                  <a:cubicBezTo>
                    <a:pt x="165" y="97"/>
                    <a:pt x="167" y="110"/>
                    <a:pt x="167" y="110"/>
                  </a:cubicBezTo>
                  <a:cubicBezTo>
                    <a:pt x="176" y="107"/>
                    <a:pt x="176" y="107"/>
                    <a:pt x="176" y="107"/>
                  </a:cubicBezTo>
                  <a:cubicBezTo>
                    <a:pt x="178" y="111"/>
                    <a:pt x="178" y="111"/>
                    <a:pt x="178" y="111"/>
                  </a:cubicBezTo>
                  <a:cubicBezTo>
                    <a:pt x="175" y="117"/>
                    <a:pt x="175" y="117"/>
                    <a:pt x="175" y="117"/>
                  </a:cubicBezTo>
                  <a:cubicBezTo>
                    <a:pt x="183" y="127"/>
                    <a:pt x="183" y="127"/>
                    <a:pt x="183" y="127"/>
                  </a:cubicBezTo>
                  <a:cubicBezTo>
                    <a:pt x="183" y="127"/>
                    <a:pt x="188" y="120"/>
                    <a:pt x="194" y="116"/>
                  </a:cubicBezTo>
                  <a:cubicBezTo>
                    <a:pt x="200" y="112"/>
                    <a:pt x="207" y="98"/>
                    <a:pt x="207" y="98"/>
                  </a:cubicBezTo>
                  <a:cubicBezTo>
                    <a:pt x="207" y="98"/>
                    <a:pt x="214" y="107"/>
                    <a:pt x="215" y="107"/>
                  </a:cubicBezTo>
                  <a:cubicBezTo>
                    <a:pt x="216" y="107"/>
                    <a:pt x="226" y="105"/>
                    <a:pt x="226" y="105"/>
                  </a:cubicBezTo>
                  <a:cubicBezTo>
                    <a:pt x="235" y="114"/>
                    <a:pt x="235" y="114"/>
                    <a:pt x="235" y="114"/>
                  </a:cubicBezTo>
                  <a:cubicBezTo>
                    <a:pt x="239" y="121"/>
                    <a:pt x="239" y="121"/>
                    <a:pt x="239" y="121"/>
                  </a:cubicBezTo>
                  <a:cubicBezTo>
                    <a:pt x="249" y="123"/>
                    <a:pt x="249" y="123"/>
                    <a:pt x="249" y="123"/>
                  </a:cubicBezTo>
                  <a:cubicBezTo>
                    <a:pt x="258" y="130"/>
                    <a:pt x="258" y="130"/>
                    <a:pt x="258" y="130"/>
                  </a:cubicBezTo>
                  <a:cubicBezTo>
                    <a:pt x="263" y="122"/>
                    <a:pt x="263" y="122"/>
                    <a:pt x="263" y="122"/>
                  </a:cubicBezTo>
                  <a:cubicBezTo>
                    <a:pt x="263" y="122"/>
                    <a:pt x="277" y="127"/>
                    <a:pt x="283" y="125"/>
                  </a:cubicBezTo>
                  <a:cubicBezTo>
                    <a:pt x="289" y="122"/>
                    <a:pt x="291" y="117"/>
                    <a:pt x="291" y="117"/>
                  </a:cubicBezTo>
                  <a:cubicBezTo>
                    <a:pt x="302" y="117"/>
                    <a:pt x="302" y="117"/>
                    <a:pt x="302" y="117"/>
                  </a:cubicBezTo>
                  <a:cubicBezTo>
                    <a:pt x="302" y="117"/>
                    <a:pt x="306" y="103"/>
                    <a:pt x="311" y="101"/>
                  </a:cubicBezTo>
                  <a:cubicBezTo>
                    <a:pt x="316" y="100"/>
                    <a:pt x="323" y="96"/>
                    <a:pt x="324" y="96"/>
                  </a:cubicBezTo>
                  <a:cubicBezTo>
                    <a:pt x="324" y="96"/>
                    <a:pt x="334" y="101"/>
                    <a:pt x="334" y="101"/>
                  </a:cubicBezTo>
                  <a:cubicBezTo>
                    <a:pt x="342" y="97"/>
                    <a:pt x="342" y="97"/>
                    <a:pt x="342" y="97"/>
                  </a:cubicBezTo>
                  <a:cubicBezTo>
                    <a:pt x="370" y="97"/>
                    <a:pt x="370" y="97"/>
                    <a:pt x="370" y="97"/>
                  </a:cubicBezTo>
                  <a:cubicBezTo>
                    <a:pt x="377" y="86"/>
                    <a:pt x="377" y="76"/>
                    <a:pt x="377" y="76"/>
                  </a:cubicBezTo>
                  <a:lnTo>
                    <a:pt x="375" y="6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6" name="Freeform 342">
              <a:extLst>
                <a:ext uri="{FF2B5EF4-FFF2-40B4-BE49-F238E27FC236}">
                  <a16:creationId xmlns:a16="http://schemas.microsoft.com/office/drawing/2014/main" id="{4F64AD3F-63A7-4A0C-A406-ADAB52D6E69E}"/>
                </a:ext>
              </a:extLst>
            </p:cNvPr>
            <p:cNvSpPr>
              <a:spLocks noChangeAspect="1"/>
            </p:cNvSpPr>
            <p:nvPr/>
          </p:nvSpPr>
          <p:spPr bwMode="auto">
            <a:xfrm>
              <a:off x="14426" y="1902"/>
              <a:ext cx="375" cy="203"/>
            </a:xfrm>
            <a:custGeom>
              <a:avLst/>
              <a:gdLst/>
              <a:ahLst/>
              <a:cxnLst>
                <a:cxn ang="0">
                  <a:pos x="109" y="101"/>
                </a:cxn>
                <a:cxn ang="0">
                  <a:pos x="184" y="7"/>
                </a:cxn>
                <a:cxn ang="0">
                  <a:pos x="188" y="1"/>
                </a:cxn>
                <a:cxn ang="0">
                  <a:pos x="160" y="1"/>
                </a:cxn>
                <a:cxn ang="0">
                  <a:pos x="152" y="5"/>
                </a:cxn>
                <a:cxn ang="0">
                  <a:pos x="142" y="0"/>
                </a:cxn>
                <a:cxn ang="0">
                  <a:pos x="129" y="5"/>
                </a:cxn>
                <a:cxn ang="0">
                  <a:pos x="120" y="21"/>
                </a:cxn>
                <a:cxn ang="0">
                  <a:pos x="109" y="21"/>
                </a:cxn>
                <a:cxn ang="0">
                  <a:pos x="101" y="29"/>
                </a:cxn>
                <a:cxn ang="0">
                  <a:pos x="81" y="26"/>
                </a:cxn>
                <a:cxn ang="0">
                  <a:pos x="76" y="34"/>
                </a:cxn>
                <a:cxn ang="0">
                  <a:pos x="67" y="27"/>
                </a:cxn>
                <a:cxn ang="0">
                  <a:pos x="57" y="25"/>
                </a:cxn>
                <a:cxn ang="0">
                  <a:pos x="53" y="18"/>
                </a:cxn>
                <a:cxn ang="0">
                  <a:pos x="44" y="9"/>
                </a:cxn>
                <a:cxn ang="0">
                  <a:pos x="33" y="11"/>
                </a:cxn>
                <a:cxn ang="0">
                  <a:pos x="25" y="2"/>
                </a:cxn>
                <a:cxn ang="0">
                  <a:pos x="12" y="20"/>
                </a:cxn>
                <a:cxn ang="0">
                  <a:pos x="1" y="31"/>
                </a:cxn>
                <a:cxn ang="0">
                  <a:pos x="0" y="30"/>
                </a:cxn>
                <a:cxn ang="0">
                  <a:pos x="0" y="36"/>
                </a:cxn>
                <a:cxn ang="0">
                  <a:pos x="12" y="40"/>
                </a:cxn>
                <a:cxn ang="0">
                  <a:pos x="12" y="45"/>
                </a:cxn>
                <a:cxn ang="0">
                  <a:pos x="26" y="47"/>
                </a:cxn>
                <a:cxn ang="0">
                  <a:pos x="42" y="57"/>
                </a:cxn>
                <a:cxn ang="0">
                  <a:pos x="52" y="59"/>
                </a:cxn>
                <a:cxn ang="0">
                  <a:pos x="63" y="67"/>
                </a:cxn>
                <a:cxn ang="0">
                  <a:pos x="74" y="72"/>
                </a:cxn>
                <a:cxn ang="0">
                  <a:pos x="80" y="84"/>
                </a:cxn>
                <a:cxn ang="0">
                  <a:pos x="98" y="88"/>
                </a:cxn>
                <a:cxn ang="0">
                  <a:pos x="102" y="94"/>
                </a:cxn>
                <a:cxn ang="0">
                  <a:pos x="102" y="100"/>
                </a:cxn>
                <a:cxn ang="0">
                  <a:pos x="109" y="101"/>
                </a:cxn>
              </a:cxnLst>
              <a:rect l="0" t="0" r="r" b="b"/>
              <a:pathLst>
                <a:path w="188" h="101">
                  <a:moveTo>
                    <a:pt x="109" y="101"/>
                  </a:moveTo>
                  <a:cubicBezTo>
                    <a:pt x="109" y="101"/>
                    <a:pt x="174" y="21"/>
                    <a:pt x="184" y="7"/>
                  </a:cubicBezTo>
                  <a:cubicBezTo>
                    <a:pt x="186" y="5"/>
                    <a:pt x="187" y="3"/>
                    <a:pt x="188" y="1"/>
                  </a:cubicBezTo>
                  <a:cubicBezTo>
                    <a:pt x="160" y="1"/>
                    <a:pt x="160" y="1"/>
                    <a:pt x="160" y="1"/>
                  </a:cubicBezTo>
                  <a:cubicBezTo>
                    <a:pt x="152" y="5"/>
                    <a:pt x="152" y="5"/>
                    <a:pt x="152" y="5"/>
                  </a:cubicBezTo>
                  <a:cubicBezTo>
                    <a:pt x="152" y="5"/>
                    <a:pt x="142" y="0"/>
                    <a:pt x="142" y="0"/>
                  </a:cubicBezTo>
                  <a:cubicBezTo>
                    <a:pt x="141" y="0"/>
                    <a:pt x="134" y="4"/>
                    <a:pt x="129" y="5"/>
                  </a:cubicBezTo>
                  <a:cubicBezTo>
                    <a:pt x="124" y="7"/>
                    <a:pt x="120" y="21"/>
                    <a:pt x="120" y="21"/>
                  </a:cubicBezTo>
                  <a:cubicBezTo>
                    <a:pt x="109" y="21"/>
                    <a:pt x="109" y="21"/>
                    <a:pt x="109" y="21"/>
                  </a:cubicBezTo>
                  <a:cubicBezTo>
                    <a:pt x="109" y="21"/>
                    <a:pt x="107" y="26"/>
                    <a:pt x="101" y="29"/>
                  </a:cubicBezTo>
                  <a:cubicBezTo>
                    <a:pt x="95" y="31"/>
                    <a:pt x="81" y="26"/>
                    <a:pt x="81" y="26"/>
                  </a:cubicBezTo>
                  <a:cubicBezTo>
                    <a:pt x="76" y="34"/>
                    <a:pt x="76" y="34"/>
                    <a:pt x="76" y="34"/>
                  </a:cubicBezTo>
                  <a:cubicBezTo>
                    <a:pt x="67" y="27"/>
                    <a:pt x="67" y="27"/>
                    <a:pt x="67" y="27"/>
                  </a:cubicBezTo>
                  <a:cubicBezTo>
                    <a:pt x="57" y="25"/>
                    <a:pt x="57" y="25"/>
                    <a:pt x="57" y="25"/>
                  </a:cubicBezTo>
                  <a:cubicBezTo>
                    <a:pt x="53" y="18"/>
                    <a:pt x="53" y="18"/>
                    <a:pt x="53" y="18"/>
                  </a:cubicBezTo>
                  <a:cubicBezTo>
                    <a:pt x="44" y="9"/>
                    <a:pt x="44" y="9"/>
                    <a:pt x="44" y="9"/>
                  </a:cubicBezTo>
                  <a:cubicBezTo>
                    <a:pt x="44" y="9"/>
                    <a:pt x="34" y="11"/>
                    <a:pt x="33" y="11"/>
                  </a:cubicBezTo>
                  <a:cubicBezTo>
                    <a:pt x="32" y="11"/>
                    <a:pt x="25" y="2"/>
                    <a:pt x="25" y="2"/>
                  </a:cubicBezTo>
                  <a:cubicBezTo>
                    <a:pt x="25" y="2"/>
                    <a:pt x="18" y="16"/>
                    <a:pt x="12" y="20"/>
                  </a:cubicBezTo>
                  <a:cubicBezTo>
                    <a:pt x="6" y="24"/>
                    <a:pt x="1" y="31"/>
                    <a:pt x="1" y="31"/>
                  </a:cubicBezTo>
                  <a:cubicBezTo>
                    <a:pt x="0" y="30"/>
                    <a:pt x="0" y="30"/>
                    <a:pt x="0" y="30"/>
                  </a:cubicBezTo>
                  <a:cubicBezTo>
                    <a:pt x="0" y="36"/>
                    <a:pt x="0" y="36"/>
                    <a:pt x="0" y="36"/>
                  </a:cubicBezTo>
                  <a:cubicBezTo>
                    <a:pt x="0" y="36"/>
                    <a:pt x="12" y="36"/>
                    <a:pt x="12" y="40"/>
                  </a:cubicBezTo>
                  <a:cubicBezTo>
                    <a:pt x="12" y="44"/>
                    <a:pt x="12" y="45"/>
                    <a:pt x="12" y="45"/>
                  </a:cubicBezTo>
                  <a:cubicBezTo>
                    <a:pt x="12" y="45"/>
                    <a:pt x="21" y="45"/>
                    <a:pt x="26" y="47"/>
                  </a:cubicBezTo>
                  <a:cubicBezTo>
                    <a:pt x="31" y="50"/>
                    <a:pt x="42" y="57"/>
                    <a:pt x="42" y="57"/>
                  </a:cubicBezTo>
                  <a:cubicBezTo>
                    <a:pt x="52" y="59"/>
                    <a:pt x="52" y="59"/>
                    <a:pt x="52" y="59"/>
                  </a:cubicBezTo>
                  <a:cubicBezTo>
                    <a:pt x="52" y="59"/>
                    <a:pt x="57" y="66"/>
                    <a:pt x="63" y="67"/>
                  </a:cubicBezTo>
                  <a:cubicBezTo>
                    <a:pt x="68" y="69"/>
                    <a:pt x="74" y="72"/>
                    <a:pt x="74" y="72"/>
                  </a:cubicBezTo>
                  <a:cubicBezTo>
                    <a:pt x="74" y="72"/>
                    <a:pt x="72" y="79"/>
                    <a:pt x="80" y="84"/>
                  </a:cubicBezTo>
                  <a:cubicBezTo>
                    <a:pt x="88" y="88"/>
                    <a:pt x="98" y="88"/>
                    <a:pt x="98" y="88"/>
                  </a:cubicBezTo>
                  <a:cubicBezTo>
                    <a:pt x="98" y="88"/>
                    <a:pt x="103" y="94"/>
                    <a:pt x="102" y="94"/>
                  </a:cubicBezTo>
                  <a:cubicBezTo>
                    <a:pt x="102" y="94"/>
                    <a:pt x="102" y="97"/>
                    <a:pt x="102" y="100"/>
                  </a:cubicBezTo>
                  <a:cubicBezTo>
                    <a:pt x="106" y="99"/>
                    <a:pt x="109" y="101"/>
                    <a:pt x="109" y="101"/>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7" name="Freeform 344">
              <a:extLst>
                <a:ext uri="{FF2B5EF4-FFF2-40B4-BE49-F238E27FC236}">
                  <a16:creationId xmlns:a16="http://schemas.microsoft.com/office/drawing/2014/main" id="{F8C85539-3379-44CE-8E53-7974F22DBCEC}"/>
                </a:ext>
              </a:extLst>
            </p:cNvPr>
            <p:cNvSpPr>
              <a:spLocks noChangeAspect="1"/>
            </p:cNvSpPr>
            <p:nvPr/>
          </p:nvSpPr>
          <p:spPr bwMode="auto">
            <a:xfrm>
              <a:off x="14426" y="1984"/>
              <a:ext cx="206" cy="251"/>
            </a:xfrm>
            <a:custGeom>
              <a:avLst/>
              <a:gdLst/>
              <a:ahLst/>
              <a:cxnLst>
                <a:cxn ang="0">
                  <a:pos x="102" y="59"/>
                </a:cxn>
                <a:cxn ang="0">
                  <a:pos x="102" y="53"/>
                </a:cxn>
                <a:cxn ang="0">
                  <a:pos x="98" y="47"/>
                </a:cxn>
                <a:cxn ang="0">
                  <a:pos x="80" y="43"/>
                </a:cxn>
                <a:cxn ang="0">
                  <a:pos x="74" y="31"/>
                </a:cxn>
                <a:cxn ang="0">
                  <a:pos x="63" y="26"/>
                </a:cxn>
                <a:cxn ang="0">
                  <a:pos x="52" y="18"/>
                </a:cxn>
                <a:cxn ang="0">
                  <a:pos x="42" y="16"/>
                </a:cxn>
                <a:cxn ang="0">
                  <a:pos x="26" y="6"/>
                </a:cxn>
                <a:cxn ang="0">
                  <a:pos x="12" y="4"/>
                </a:cxn>
                <a:cxn ang="0">
                  <a:pos x="12" y="0"/>
                </a:cxn>
                <a:cxn ang="0">
                  <a:pos x="8" y="5"/>
                </a:cxn>
                <a:cxn ang="0">
                  <a:pos x="12" y="9"/>
                </a:cxn>
                <a:cxn ang="0">
                  <a:pos x="7" y="13"/>
                </a:cxn>
                <a:cxn ang="0">
                  <a:pos x="12" y="19"/>
                </a:cxn>
                <a:cxn ang="0">
                  <a:pos x="13" y="27"/>
                </a:cxn>
                <a:cxn ang="0">
                  <a:pos x="21" y="31"/>
                </a:cxn>
                <a:cxn ang="0">
                  <a:pos x="31" y="40"/>
                </a:cxn>
                <a:cxn ang="0">
                  <a:pos x="28" y="51"/>
                </a:cxn>
                <a:cxn ang="0">
                  <a:pos x="19" y="56"/>
                </a:cxn>
                <a:cxn ang="0">
                  <a:pos x="24" y="62"/>
                </a:cxn>
                <a:cxn ang="0">
                  <a:pos x="23" y="70"/>
                </a:cxn>
                <a:cxn ang="0">
                  <a:pos x="13" y="76"/>
                </a:cxn>
                <a:cxn ang="0">
                  <a:pos x="7" y="70"/>
                </a:cxn>
                <a:cxn ang="0">
                  <a:pos x="0" y="72"/>
                </a:cxn>
                <a:cxn ang="0">
                  <a:pos x="1" y="88"/>
                </a:cxn>
                <a:cxn ang="0">
                  <a:pos x="4" y="95"/>
                </a:cxn>
                <a:cxn ang="0">
                  <a:pos x="10" y="102"/>
                </a:cxn>
                <a:cxn ang="0">
                  <a:pos x="10" y="114"/>
                </a:cxn>
                <a:cxn ang="0">
                  <a:pos x="21" y="116"/>
                </a:cxn>
                <a:cxn ang="0">
                  <a:pos x="26" y="124"/>
                </a:cxn>
                <a:cxn ang="0">
                  <a:pos x="49" y="125"/>
                </a:cxn>
                <a:cxn ang="0">
                  <a:pos x="89" y="66"/>
                </a:cxn>
                <a:cxn ang="0">
                  <a:pos x="102" y="59"/>
                </a:cxn>
              </a:cxnLst>
              <a:rect l="0" t="0" r="r" b="b"/>
              <a:pathLst>
                <a:path w="103" h="125">
                  <a:moveTo>
                    <a:pt x="102" y="59"/>
                  </a:moveTo>
                  <a:cubicBezTo>
                    <a:pt x="102" y="56"/>
                    <a:pt x="102" y="53"/>
                    <a:pt x="102" y="53"/>
                  </a:cubicBezTo>
                  <a:cubicBezTo>
                    <a:pt x="103" y="53"/>
                    <a:pt x="98" y="47"/>
                    <a:pt x="98" y="47"/>
                  </a:cubicBezTo>
                  <a:cubicBezTo>
                    <a:pt x="98" y="47"/>
                    <a:pt x="88" y="47"/>
                    <a:pt x="80" y="43"/>
                  </a:cubicBezTo>
                  <a:cubicBezTo>
                    <a:pt x="72" y="38"/>
                    <a:pt x="74" y="31"/>
                    <a:pt x="74" y="31"/>
                  </a:cubicBezTo>
                  <a:cubicBezTo>
                    <a:pt x="74" y="31"/>
                    <a:pt x="68" y="28"/>
                    <a:pt x="63" y="26"/>
                  </a:cubicBezTo>
                  <a:cubicBezTo>
                    <a:pt x="57" y="25"/>
                    <a:pt x="52" y="18"/>
                    <a:pt x="52" y="18"/>
                  </a:cubicBezTo>
                  <a:cubicBezTo>
                    <a:pt x="42" y="16"/>
                    <a:pt x="42" y="16"/>
                    <a:pt x="42" y="16"/>
                  </a:cubicBezTo>
                  <a:cubicBezTo>
                    <a:pt x="42" y="16"/>
                    <a:pt x="31" y="9"/>
                    <a:pt x="26" y="6"/>
                  </a:cubicBezTo>
                  <a:cubicBezTo>
                    <a:pt x="21" y="4"/>
                    <a:pt x="12" y="4"/>
                    <a:pt x="12" y="4"/>
                  </a:cubicBezTo>
                  <a:cubicBezTo>
                    <a:pt x="12" y="4"/>
                    <a:pt x="12" y="3"/>
                    <a:pt x="12" y="0"/>
                  </a:cubicBezTo>
                  <a:cubicBezTo>
                    <a:pt x="8" y="5"/>
                    <a:pt x="8" y="5"/>
                    <a:pt x="8" y="5"/>
                  </a:cubicBezTo>
                  <a:cubicBezTo>
                    <a:pt x="12" y="9"/>
                    <a:pt x="12" y="9"/>
                    <a:pt x="12" y="9"/>
                  </a:cubicBezTo>
                  <a:cubicBezTo>
                    <a:pt x="7" y="13"/>
                    <a:pt x="7" y="13"/>
                    <a:pt x="7" y="13"/>
                  </a:cubicBezTo>
                  <a:cubicBezTo>
                    <a:pt x="12" y="19"/>
                    <a:pt x="12" y="19"/>
                    <a:pt x="12" y="19"/>
                  </a:cubicBezTo>
                  <a:cubicBezTo>
                    <a:pt x="13" y="27"/>
                    <a:pt x="13" y="27"/>
                    <a:pt x="13" y="27"/>
                  </a:cubicBezTo>
                  <a:cubicBezTo>
                    <a:pt x="21" y="31"/>
                    <a:pt x="21" y="31"/>
                    <a:pt x="21" y="31"/>
                  </a:cubicBezTo>
                  <a:cubicBezTo>
                    <a:pt x="31" y="40"/>
                    <a:pt x="31" y="40"/>
                    <a:pt x="31" y="40"/>
                  </a:cubicBezTo>
                  <a:cubicBezTo>
                    <a:pt x="28" y="51"/>
                    <a:pt x="28" y="51"/>
                    <a:pt x="28" y="51"/>
                  </a:cubicBezTo>
                  <a:cubicBezTo>
                    <a:pt x="19" y="56"/>
                    <a:pt x="19" y="56"/>
                    <a:pt x="19" y="56"/>
                  </a:cubicBezTo>
                  <a:cubicBezTo>
                    <a:pt x="24" y="62"/>
                    <a:pt x="24" y="62"/>
                    <a:pt x="24" y="62"/>
                  </a:cubicBezTo>
                  <a:cubicBezTo>
                    <a:pt x="23" y="70"/>
                    <a:pt x="23" y="70"/>
                    <a:pt x="23" y="70"/>
                  </a:cubicBezTo>
                  <a:cubicBezTo>
                    <a:pt x="13" y="76"/>
                    <a:pt x="13" y="76"/>
                    <a:pt x="13" y="76"/>
                  </a:cubicBezTo>
                  <a:cubicBezTo>
                    <a:pt x="7" y="70"/>
                    <a:pt x="7" y="70"/>
                    <a:pt x="7" y="70"/>
                  </a:cubicBezTo>
                  <a:cubicBezTo>
                    <a:pt x="0" y="72"/>
                    <a:pt x="0" y="72"/>
                    <a:pt x="0" y="72"/>
                  </a:cubicBezTo>
                  <a:cubicBezTo>
                    <a:pt x="1" y="88"/>
                    <a:pt x="1" y="88"/>
                    <a:pt x="1" y="88"/>
                  </a:cubicBezTo>
                  <a:cubicBezTo>
                    <a:pt x="1" y="88"/>
                    <a:pt x="4" y="93"/>
                    <a:pt x="4" y="95"/>
                  </a:cubicBezTo>
                  <a:cubicBezTo>
                    <a:pt x="4" y="98"/>
                    <a:pt x="10" y="102"/>
                    <a:pt x="10" y="102"/>
                  </a:cubicBezTo>
                  <a:cubicBezTo>
                    <a:pt x="10" y="114"/>
                    <a:pt x="10" y="114"/>
                    <a:pt x="10" y="114"/>
                  </a:cubicBezTo>
                  <a:cubicBezTo>
                    <a:pt x="21" y="116"/>
                    <a:pt x="21" y="116"/>
                    <a:pt x="21" y="116"/>
                  </a:cubicBezTo>
                  <a:cubicBezTo>
                    <a:pt x="26" y="124"/>
                    <a:pt x="26" y="124"/>
                    <a:pt x="26" y="124"/>
                  </a:cubicBezTo>
                  <a:cubicBezTo>
                    <a:pt x="49" y="125"/>
                    <a:pt x="49" y="125"/>
                    <a:pt x="49" y="125"/>
                  </a:cubicBezTo>
                  <a:cubicBezTo>
                    <a:pt x="64" y="100"/>
                    <a:pt x="82" y="74"/>
                    <a:pt x="89" y="66"/>
                  </a:cubicBezTo>
                  <a:cubicBezTo>
                    <a:pt x="94" y="61"/>
                    <a:pt x="98" y="59"/>
                    <a:pt x="102" y="59"/>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68" name="Freeform 323">
              <a:extLst>
                <a:ext uri="{FF2B5EF4-FFF2-40B4-BE49-F238E27FC236}">
                  <a16:creationId xmlns:a16="http://schemas.microsoft.com/office/drawing/2014/main" id="{254CE3B7-61F0-4F6A-A948-7529E8716C88}"/>
                </a:ext>
              </a:extLst>
            </p:cNvPr>
            <p:cNvSpPr>
              <a:spLocks noChangeAspect="1"/>
            </p:cNvSpPr>
            <p:nvPr/>
          </p:nvSpPr>
          <p:spPr bwMode="auto">
            <a:xfrm>
              <a:off x="11921" y="523"/>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69" name="Freeform 324">
              <a:extLst>
                <a:ext uri="{FF2B5EF4-FFF2-40B4-BE49-F238E27FC236}">
                  <a16:creationId xmlns:a16="http://schemas.microsoft.com/office/drawing/2014/main" id="{A05E62E3-18F7-4423-A6D0-484B23F08815}"/>
                </a:ext>
              </a:extLst>
            </p:cNvPr>
            <p:cNvSpPr>
              <a:spLocks noChangeAspect="1"/>
            </p:cNvSpPr>
            <p:nvPr/>
          </p:nvSpPr>
          <p:spPr bwMode="auto">
            <a:xfrm>
              <a:off x="12909" y="1460"/>
              <a:ext cx="621" cy="1009"/>
            </a:xfrm>
            <a:custGeom>
              <a:avLst/>
              <a:gdLst/>
              <a:ahLst/>
              <a:cxnLst>
                <a:cxn ang="0">
                  <a:pos x="9" y="363"/>
                </a:cxn>
                <a:cxn ang="0">
                  <a:pos x="2" y="400"/>
                </a:cxn>
                <a:cxn ang="0">
                  <a:pos x="8" y="434"/>
                </a:cxn>
                <a:cxn ang="0">
                  <a:pos x="39" y="437"/>
                </a:cxn>
                <a:cxn ang="0">
                  <a:pos x="52" y="473"/>
                </a:cxn>
                <a:cxn ang="0">
                  <a:pos x="100" y="461"/>
                </a:cxn>
                <a:cxn ang="0">
                  <a:pos x="118" y="465"/>
                </a:cxn>
                <a:cxn ang="0">
                  <a:pos x="129" y="491"/>
                </a:cxn>
                <a:cxn ang="0">
                  <a:pos x="141" y="495"/>
                </a:cxn>
                <a:cxn ang="0">
                  <a:pos x="160" y="493"/>
                </a:cxn>
                <a:cxn ang="0">
                  <a:pos x="187" y="504"/>
                </a:cxn>
                <a:cxn ang="0">
                  <a:pos x="189" y="480"/>
                </a:cxn>
                <a:cxn ang="0">
                  <a:pos x="212" y="483"/>
                </a:cxn>
                <a:cxn ang="0">
                  <a:pos x="237" y="473"/>
                </a:cxn>
                <a:cxn ang="0">
                  <a:pos x="264" y="468"/>
                </a:cxn>
                <a:cxn ang="0">
                  <a:pos x="264" y="429"/>
                </a:cxn>
                <a:cxn ang="0">
                  <a:pos x="278" y="407"/>
                </a:cxn>
                <a:cxn ang="0">
                  <a:pos x="279" y="390"/>
                </a:cxn>
                <a:cxn ang="0">
                  <a:pos x="249" y="370"/>
                </a:cxn>
                <a:cxn ang="0">
                  <a:pos x="272" y="329"/>
                </a:cxn>
                <a:cxn ang="0">
                  <a:pos x="310" y="309"/>
                </a:cxn>
                <a:cxn ang="0">
                  <a:pos x="293" y="311"/>
                </a:cxn>
                <a:cxn ang="0">
                  <a:pos x="264" y="301"/>
                </a:cxn>
                <a:cxn ang="0">
                  <a:pos x="248" y="280"/>
                </a:cxn>
                <a:cxn ang="0">
                  <a:pos x="240" y="254"/>
                </a:cxn>
                <a:cxn ang="0">
                  <a:pos x="221" y="236"/>
                </a:cxn>
                <a:cxn ang="0">
                  <a:pos x="238" y="201"/>
                </a:cxn>
                <a:cxn ang="0">
                  <a:pos x="258" y="170"/>
                </a:cxn>
                <a:cxn ang="0">
                  <a:pos x="179" y="124"/>
                </a:cxn>
                <a:cxn ang="0">
                  <a:pos x="204" y="68"/>
                </a:cxn>
                <a:cxn ang="0">
                  <a:pos x="175" y="14"/>
                </a:cxn>
                <a:cxn ang="0">
                  <a:pos x="161" y="11"/>
                </a:cxn>
                <a:cxn ang="0">
                  <a:pos x="130" y="14"/>
                </a:cxn>
                <a:cxn ang="0">
                  <a:pos x="119" y="14"/>
                </a:cxn>
                <a:cxn ang="0">
                  <a:pos x="146" y="23"/>
                </a:cxn>
                <a:cxn ang="0">
                  <a:pos x="152" y="40"/>
                </a:cxn>
                <a:cxn ang="0">
                  <a:pos x="143" y="51"/>
                </a:cxn>
                <a:cxn ang="0">
                  <a:pos x="140" y="63"/>
                </a:cxn>
                <a:cxn ang="0">
                  <a:pos x="130" y="79"/>
                </a:cxn>
                <a:cxn ang="0">
                  <a:pos x="106" y="97"/>
                </a:cxn>
                <a:cxn ang="0">
                  <a:pos x="96" y="130"/>
                </a:cxn>
                <a:cxn ang="0">
                  <a:pos x="86" y="149"/>
                </a:cxn>
                <a:cxn ang="0">
                  <a:pos x="91" y="173"/>
                </a:cxn>
                <a:cxn ang="0">
                  <a:pos x="69" y="222"/>
                </a:cxn>
                <a:cxn ang="0">
                  <a:pos x="53" y="240"/>
                </a:cxn>
                <a:cxn ang="0">
                  <a:pos x="31" y="283"/>
                </a:cxn>
                <a:cxn ang="0">
                  <a:pos x="10" y="332"/>
                </a:cxn>
              </a:cxnLst>
              <a:rect l="0" t="0" r="r" b="b"/>
              <a:pathLst>
                <a:path w="310" h="504">
                  <a:moveTo>
                    <a:pt x="10" y="332"/>
                  </a:moveTo>
                  <a:cubicBezTo>
                    <a:pt x="7" y="343"/>
                    <a:pt x="9" y="363"/>
                    <a:pt x="9" y="363"/>
                  </a:cubicBezTo>
                  <a:cubicBezTo>
                    <a:pt x="0" y="375"/>
                    <a:pt x="0" y="375"/>
                    <a:pt x="0" y="375"/>
                  </a:cubicBezTo>
                  <a:cubicBezTo>
                    <a:pt x="2" y="400"/>
                    <a:pt x="2" y="400"/>
                    <a:pt x="2" y="400"/>
                  </a:cubicBezTo>
                  <a:cubicBezTo>
                    <a:pt x="3" y="430"/>
                    <a:pt x="3" y="430"/>
                    <a:pt x="3" y="430"/>
                  </a:cubicBezTo>
                  <a:cubicBezTo>
                    <a:pt x="8" y="434"/>
                    <a:pt x="8" y="434"/>
                    <a:pt x="8" y="434"/>
                  </a:cubicBezTo>
                  <a:cubicBezTo>
                    <a:pt x="11" y="463"/>
                    <a:pt x="11" y="463"/>
                    <a:pt x="11" y="463"/>
                  </a:cubicBezTo>
                  <a:cubicBezTo>
                    <a:pt x="39" y="437"/>
                    <a:pt x="39" y="437"/>
                    <a:pt x="39" y="437"/>
                  </a:cubicBezTo>
                  <a:cubicBezTo>
                    <a:pt x="27" y="468"/>
                    <a:pt x="27" y="468"/>
                    <a:pt x="27" y="468"/>
                  </a:cubicBezTo>
                  <a:cubicBezTo>
                    <a:pt x="52" y="473"/>
                    <a:pt x="52" y="473"/>
                    <a:pt x="52" y="473"/>
                  </a:cubicBezTo>
                  <a:cubicBezTo>
                    <a:pt x="85" y="492"/>
                    <a:pt x="85" y="492"/>
                    <a:pt x="85" y="492"/>
                  </a:cubicBezTo>
                  <a:cubicBezTo>
                    <a:pt x="100" y="461"/>
                    <a:pt x="100" y="461"/>
                    <a:pt x="100" y="461"/>
                  </a:cubicBezTo>
                  <a:cubicBezTo>
                    <a:pt x="108" y="472"/>
                    <a:pt x="108" y="472"/>
                    <a:pt x="108" y="472"/>
                  </a:cubicBezTo>
                  <a:cubicBezTo>
                    <a:pt x="118" y="465"/>
                    <a:pt x="118" y="465"/>
                    <a:pt x="118" y="465"/>
                  </a:cubicBezTo>
                  <a:cubicBezTo>
                    <a:pt x="133" y="481"/>
                    <a:pt x="133" y="481"/>
                    <a:pt x="133" y="481"/>
                  </a:cubicBezTo>
                  <a:cubicBezTo>
                    <a:pt x="129" y="491"/>
                    <a:pt x="129" y="491"/>
                    <a:pt x="129" y="491"/>
                  </a:cubicBezTo>
                  <a:cubicBezTo>
                    <a:pt x="140" y="488"/>
                    <a:pt x="140" y="488"/>
                    <a:pt x="140" y="488"/>
                  </a:cubicBezTo>
                  <a:cubicBezTo>
                    <a:pt x="141" y="495"/>
                    <a:pt x="141" y="495"/>
                    <a:pt x="141" y="495"/>
                  </a:cubicBezTo>
                  <a:cubicBezTo>
                    <a:pt x="152" y="486"/>
                    <a:pt x="152" y="486"/>
                    <a:pt x="152" y="486"/>
                  </a:cubicBezTo>
                  <a:cubicBezTo>
                    <a:pt x="160" y="493"/>
                    <a:pt x="160" y="493"/>
                    <a:pt x="160" y="493"/>
                  </a:cubicBezTo>
                  <a:cubicBezTo>
                    <a:pt x="172" y="492"/>
                    <a:pt x="172" y="492"/>
                    <a:pt x="172" y="492"/>
                  </a:cubicBezTo>
                  <a:cubicBezTo>
                    <a:pt x="187" y="504"/>
                    <a:pt x="187" y="504"/>
                    <a:pt x="187" y="504"/>
                  </a:cubicBezTo>
                  <a:cubicBezTo>
                    <a:pt x="193" y="497"/>
                    <a:pt x="193" y="497"/>
                    <a:pt x="193" y="497"/>
                  </a:cubicBezTo>
                  <a:cubicBezTo>
                    <a:pt x="189" y="480"/>
                    <a:pt x="189" y="480"/>
                    <a:pt x="189" y="480"/>
                  </a:cubicBezTo>
                  <a:cubicBezTo>
                    <a:pt x="205" y="489"/>
                    <a:pt x="205" y="489"/>
                    <a:pt x="205" y="489"/>
                  </a:cubicBezTo>
                  <a:cubicBezTo>
                    <a:pt x="212" y="483"/>
                    <a:pt x="212" y="483"/>
                    <a:pt x="212" y="483"/>
                  </a:cubicBezTo>
                  <a:cubicBezTo>
                    <a:pt x="224" y="485"/>
                    <a:pt x="224" y="485"/>
                    <a:pt x="224" y="485"/>
                  </a:cubicBezTo>
                  <a:cubicBezTo>
                    <a:pt x="237" y="473"/>
                    <a:pt x="237" y="473"/>
                    <a:pt x="237" y="473"/>
                  </a:cubicBezTo>
                  <a:cubicBezTo>
                    <a:pt x="266" y="468"/>
                    <a:pt x="266" y="468"/>
                    <a:pt x="266" y="468"/>
                  </a:cubicBezTo>
                  <a:cubicBezTo>
                    <a:pt x="265" y="468"/>
                    <a:pt x="265" y="468"/>
                    <a:pt x="264" y="468"/>
                  </a:cubicBezTo>
                  <a:cubicBezTo>
                    <a:pt x="263" y="468"/>
                    <a:pt x="274" y="453"/>
                    <a:pt x="276" y="444"/>
                  </a:cubicBezTo>
                  <a:cubicBezTo>
                    <a:pt x="279" y="436"/>
                    <a:pt x="264" y="429"/>
                    <a:pt x="264" y="429"/>
                  </a:cubicBezTo>
                  <a:cubicBezTo>
                    <a:pt x="266" y="413"/>
                    <a:pt x="266" y="413"/>
                    <a:pt x="266" y="413"/>
                  </a:cubicBezTo>
                  <a:cubicBezTo>
                    <a:pt x="278" y="407"/>
                    <a:pt x="278" y="407"/>
                    <a:pt x="278" y="407"/>
                  </a:cubicBezTo>
                  <a:cubicBezTo>
                    <a:pt x="268" y="401"/>
                    <a:pt x="268" y="401"/>
                    <a:pt x="268" y="401"/>
                  </a:cubicBezTo>
                  <a:cubicBezTo>
                    <a:pt x="279" y="390"/>
                    <a:pt x="279" y="390"/>
                    <a:pt x="279" y="390"/>
                  </a:cubicBezTo>
                  <a:cubicBezTo>
                    <a:pt x="279" y="390"/>
                    <a:pt x="269" y="387"/>
                    <a:pt x="259" y="386"/>
                  </a:cubicBezTo>
                  <a:cubicBezTo>
                    <a:pt x="250" y="386"/>
                    <a:pt x="249" y="370"/>
                    <a:pt x="249" y="370"/>
                  </a:cubicBezTo>
                  <a:cubicBezTo>
                    <a:pt x="269" y="348"/>
                    <a:pt x="269" y="348"/>
                    <a:pt x="269" y="348"/>
                  </a:cubicBezTo>
                  <a:cubicBezTo>
                    <a:pt x="272" y="329"/>
                    <a:pt x="272" y="329"/>
                    <a:pt x="272" y="329"/>
                  </a:cubicBezTo>
                  <a:cubicBezTo>
                    <a:pt x="272" y="329"/>
                    <a:pt x="275" y="329"/>
                    <a:pt x="281" y="329"/>
                  </a:cubicBezTo>
                  <a:cubicBezTo>
                    <a:pt x="287" y="329"/>
                    <a:pt x="310" y="309"/>
                    <a:pt x="310" y="309"/>
                  </a:cubicBezTo>
                  <a:cubicBezTo>
                    <a:pt x="307" y="301"/>
                    <a:pt x="307" y="301"/>
                    <a:pt x="307" y="301"/>
                  </a:cubicBezTo>
                  <a:cubicBezTo>
                    <a:pt x="293" y="311"/>
                    <a:pt x="293" y="311"/>
                    <a:pt x="293" y="311"/>
                  </a:cubicBezTo>
                  <a:cubicBezTo>
                    <a:pt x="287" y="306"/>
                    <a:pt x="287" y="306"/>
                    <a:pt x="287" y="306"/>
                  </a:cubicBezTo>
                  <a:cubicBezTo>
                    <a:pt x="287" y="306"/>
                    <a:pt x="283" y="310"/>
                    <a:pt x="264" y="301"/>
                  </a:cubicBezTo>
                  <a:cubicBezTo>
                    <a:pt x="244" y="292"/>
                    <a:pt x="258" y="283"/>
                    <a:pt x="258" y="283"/>
                  </a:cubicBezTo>
                  <a:cubicBezTo>
                    <a:pt x="248" y="280"/>
                    <a:pt x="248" y="280"/>
                    <a:pt x="248" y="280"/>
                  </a:cubicBezTo>
                  <a:cubicBezTo>
                    <a:pt x="257" y="267"/>
                    <a:pt x="257" y="267"/>
                    <a:pt x="257" y="267"/>
                  </a:cubicBezTo>
                  <a:cubicBezTo>
                    <a:pt x="240" y="254"/>
                    <a:pt x="240" y="254"/>
                    <a:pt x="240" y="254"/>
                  </a:cubicBezTo>
                  <a:cubicBezTo>
                    <a:pt x="238" y="243"/>
                    <a:pt x="238" y="243"/>
                    <a:pt x="238" y="243"/>
                  </a:cubicBezTo>
                  <a:cubicBezTo>
                    <a:pt x="221" y="236"/>
                    <a:pt x="221" y="236"/>
                    <a:pt x="221" y="236"/>
                  </a:cubicBezTo>
                  <a:cubicBezTo>
                    <a:pt x="233" y="225"/>
                    <a:pt x="233" y="225"/>
                    <a:pt x="233" y="225"/>
                  </a:cubicBezTo>
                  <a:cubicBezTo>
                    <a:pt x="233" y="225"/>
                    <a:pt x="232" y="211"/>
                    <a:pt x="238" y="201"/>
                  </a:cubicBezTo>
                  <a:cubicBezTo>
                    <a:pt x="244" y="192"/>
                    <a:pt x="249" y="195"/>
                    <a:pt x="249" y="195"/>
                  </a:cubicBezTo>
                  <a:cubicBezTo>
                    <a:pt x="249" y="195"/>
                    <a:pt x="263" y="184"/>
                    <a:pt x="258" y="170"/>
                  </a:cubicBezTo>
                  <a:cubicBezTo>
                    <a:pt x="253" y="156"/>
                    <a:pt x="226" y="176"/>
                    <a:pt x="226" y="176"/>
                  </a:cubicBezTo>
                  <a:cubicBezTo>
                    <a:pt x="179" y="124"/>
                    <a:pt x="179" y="124"/>
                    <a:pt x="179" y="124"/>
                  </a:cubicBezTo>
                  <a:cubicBezTo>
                    <a:pt x="179" y="124"/>
                    <a:pt x="183" y="122"/>
                    <a:pt x="189" y="120"/>
                  </a:cubicBezTo>
                  <a:cubicBezTo>
                    <a:pt x="194" y="118"/>
                    <a:pt x="204" y="68"/>
                    <a:pt x="204" y="68"/>
                  </a:cubicBezTo>
                  <a:cubicBezTo>
                    <a:pt x="204" y="68"/>
                    <a:pt x="196" y="22"/>
                    <a:pt x="196" y="20"/>
                  </a:cubicBezTo>
                  <a:cubicBezTo>
                    <a:pt x="196" y="19"/>
                    <a:pt x="175" y="14"/>
                    <a:pt x="175" y="14"/>
                  </a:cubicBezTo>
                  <a:cubicBezTo>
                    <a:pt x="173" y="5"/>
                    <a:pt x="173" y="5"/>
                    <a:pt x="173" y="5"/>
                  </a:cubicBezTo>
                  <a:cubicBezTo>
                    <a:pt x="173" y="5"/>
                    <a:pt x="167" y="9"/>
                    <a:pt x="161" y="11"/>
                  </a:cubicBezTo>
                  <a:cubicBezTo>
                    <a:pt x="155" y="14"/>
                    <a:pt x="144" y="0"/>
                    <a:pt x="144" y="0"/>
                  </a:cubicBezTo>
                  <a:cubicBezTo>
                    <a:pt x="130" y="14"/>
                    <a:pt x="130" y="14"/>
                    <a:pt x="130" y="14"/>
                  </a:cubicBezTo>
                  <a:cubicBezTo>
                    <a:pt x="123" y="10"/>
                    <a:pt x="123" y="10"/>
                    <a:pt x="123" y="10"/>
                  </a:cubicBezTo>
                  <a:cubicBezTo>
                    <a:pt x="120" y="12"/>
                    <a:pt x="119" y="14"/>
                    <a:pt x="119" y="14"/>
                  </a:cubicBezTo>
                  <a:cubicBezTo>
                    <a:pt x="146" y="18"/>
                    <a:pt x="146" y="18"/>
                    <a:pt x="146" y="18"/>
                  </a:cubicBezTo>
                  <a:cubicBezTo>
                    <a:pt x="146" y="23"/>
                    <a:pt x="146" y="23"/>
                    <a:pt x="146" y="23"/>
                  </a:cubicBezTo>
                  <a:cubicBezTo>
                    <a:pt x="159" y="33"/>
                    <a:pt x="159" y="33"/>
                    <a:pt x="159" y="33"/>
                  </a:cubicBezTo>
                  <a:cubicBezTo>
                    <a:pt x="159" y="33"/>
                    <a:pt x="152" y="37"/>
                    <a:pt x="152" y="40"/>
                  </a:cubicBezTo>
                  <a:cubicBezTo>
                    <a:pt x="151" y="44"/>
                    <a:pt x="155" y="50"/>
                    <a:pt x="155" y="50"/>
                  </a:cubicBezTo>
                  <a:cubicBezTo>
                    <a:pt x="143" y="51"/>
                    <a:pt x="143" y="51"/>
                    <a:pt x="143" y="51"/>
                  </a:cubicBezTo>
                  <a:cubicBezTo>
                    <a:pt x="151" y="62"/>
                    <a:pt x="151" y="62"/>
                    <a:pt x="151" y="62"/>
                  </a:cubicBezTo>
                  <a:cubicBezTo>
                    <a:pt x="140" y="63"/>
                    <a:pt x="140" y="63"/>
                    <a:pt x="140" y="63"/>
                  </a:cubicBezTo>
                  <a:cubicBezTo>
                    <a:pt x="140" y="74"/>
                    <a:pt x="140" y="74"/>
                    <a:pt x="140" y="74"/>
                  </a:cubicBezTo>
                  <a:cubicBezTo>
                    <a:pt x="140" y="74"/>
                    <a:pt x="143" y="77"/>
                    <a:pt x="130" y="79"/>
                  </a:cubicBezTo>
                  <a:cubicBezTo>
                    <a:pt x="117" y="81"/>
                    <a:pt x="130" y="87"/>
                    <a:pt x="123" y="93"/>
                  </a:cubicBezTo>
                  <a:cubicBezTo>
                    <a:pt x="116" y="99"/>
                    <a:pt x="106" y="97"/>
                    <a:pt x="106" y="97"/>
                  </a:cubicBezTo>
                  <a:cubicBezTo>
                    <a:pt x="93" y="103"/>
                    <a:pt x="93" y="103"/>
                    <a:pt x="93" y="103"/>
                  </a:cubicBezTo>
                  <a:cubicBezTo>
                    <a:pt x="96" y="130"/>
                    <a:pt x="96" y="130"/>
                    <a:pt x="96" y="130"/>
                  </a:cubicBezTo>
                  <a:cubicBezTo>
                    <a:pt x="86" y="135"/>
                    <a:pt x="86" y="135"/>
                    <a:pt x="86" y="135"/>
                  </a:cubicBezTo>
                  <a:cubicBezTo>
                    <a:pt x="86" y="149"/>
                    <a:pt x="86" y="149"/>
                    <a:pt x="86" y="149"/>
                  </a:cubicBezTo>
                  <a:cubicBezTo>
                    <a:pt x="99" y="162"/>
                    <a:pt x="99" y="162"/>
                    <a:pt x="99" y="162"/>
                  </a:cubicBezTo>
                  <a:cubicBezTo>
                    <a:pt x="91" y="173"/>
                    <a:pt x="91" y="173"/>
                    <a:pt x="91" y="173"/>
                  </a:cubicBezTo>
                  <a:cubicBezTo>
                    <a:pt x="91" y="173"/>
                    <a:pt x="91" y="185"/>
                    <a:pt x="91" y="191"/>
                  </a:cubicBezTo>
                  <a:cubicBezTo>
                    <a:pt x="91" y="197"/>
                    <a:pt x="69" y="222"/>
                    <a:pt x="69" y="222"/>
                  </a:cubicBezTo>
                  <a:cubicBezTo>
                    <a:pt x="66" y="222"/>
                    <a:pt x="66" y="222"/>
                    <a:pt x="66" y="222"/>
                  </a:cubicBezTo>
                  <a:cubicBezTo>
                    <a:pt x="53" y="240"/>
                    <a:pt x="53" y="240"/>
                    <a:pt x="53" y="240"/>
                  </a:cubicBezTo>
                  <a:cubicBezTo>
                    <a:pt x="53" y="240"/>
                    <a:pt x="40" y="255"/>
                    <a:pt x="38" y="270"/>
                  </a:cubicBezTo>
                  <a:cubicBezTo>
                    <a:pt x="37" y="276"/>
                    <a:pt x="34" y="280"/>
                    <a:pt x="31" y="283"/>
                  </a:cubicBezTo>
                  <a:cubicBezTo>
                    <a:pt x="32" y="283"/>
                    <a:pt x="32" y="283"/>
                    <a:pt x="32" y="283"/>
                  </a:cubicBezTo>
                  <a:cubicBezTo>
                    <a:pt x="32" y="283"/>
                    <a:pt x="14" y="321"/>
                    <a:pt x="10" y="332"/>
                  </a:cubicBez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70" name="Freeform 329">
              <a:extLst>
                <a:ext uri="{FF2B5EF4-FFF2-40B4-BE49-F238E27FC236}">
                  <a16:creationId xmlns:a16="http://schemas.microsoft.com/office/drawing/2014/main" id="{B24A9196-21AA-493B-9882-939BDBF5AC94}"/>
                </a:ext>
              </a:extLst>
            </p:cNvPr>
            <p:cNvSpPr>
              <a:spLocks noChangeAspect="1"/>
            </p:cNvSpPr>
            <p:nvPr/>
          </p:nvSpPr>
          <p:spPr bwMode="auto">
            <a:xfrm>
              <a:off x="12081" y="4108"/>
              <a:ext cx="962" cy="802"/>
            </a:xfrm>
            <a:custGeom>
              <a:avLst/>
              <a:gdLst/>
              <a:ahLst/>
              <a:cxnLst>
                <a:cxn ang="0">
                  <a:pos x="455" y="134"/>
                </a:cxn>
                <a:cxn ang="0">
                  <a:pos x="451" y="129"/>
                </a:cxn>
                <a:cxn ang="0">
                  <a:pos x="460" y="123"/>
                </a:cxn>
                <a:cxn ang="0">
                  <a:pos x="462" y="108"/>
                </a:cxn>
                <a:cxn ang="0">
                  <a:pos x="476" y="92"/>
                </a:cxn>
                <a:cxn ang="0">
                  <a:pos x="477" y="83"/>
                </a:cxn>
                <a:cxn ang="0">
                  <a:pos x="429" y="83"/>
                </a:cxn>
                <a:cxn ang="0">
                  <a:pos x="389" y="42"/>
                </a:cxn>
                <a:cxn ang="0">
                  <a:pos x="371" y="23"/>
                </a:cxn>
                <a:cxn ang="0">
                  <a:pos x="352" y="25"/>
                </a:cxn>
                <a:cxn ang="0">
                  <a:pos x="299" y="8"/>
                </a:cxn>
                <a:cxn ang="0">
                  <a:pos x="283" y="9"/>
                </a:cxn>
                <a:cxn ang="0">
                  <a:pos x="276" y="0"/>
                </a:cxn>
                <a:cxn ang="0">
                  <a:pos x="264" y="8"/>
                </a:cxn>
                <a:cxn ang="0">
                  <a:pos x="256" y="0"/>
                </a:cxn>
                <a:cxn ang="0">
                  <a:pos x="246" y="8"/>
                </a:cxn>
                <a:cxn ang="0">
                  <a:pos x="233" y="0"/>
                </a:cxn>
                <a:cxn ang="0">
                  <a:pos x="228" y="7"/>
                </a:cxn>
                <a:cxn ang="0">
                  <a:pos x="206" y="21"/>
                </a:cxn>
                <a:cxn ang="0">
                  <a:pos x="188" y="21"/>
                </a:cxn>
                <a:cxn ang="0">
                  <a:pos x="181" y="31"/>
                </a:cxn>
                <a:cxn ang="0">
                  <a:pos x="172" y="30"/>
                </a:cxn>
                <a:cxn ang="0">
                  <a:pos x="160" y="48"/>
                </a:cxn>
                <a:cxn ang="0">
                  <a:pos x="151" y="47"/>
                </a:cxn>
                <a:cxn ang="0">
                  <a:pos x="111" y="68"/>
                </a:cxn>
                <a:cxn ang="0">
                  <a:pos x="115" y="79"/>
                </a:cxn>
                <a:cxn ang="0">
                  <a:pos x="100" y="82"/>
                </a:cxn>
                <a:cxn ang="0">
                  <a:pos x="74" y="110"/>
                </a:cxn>
                <a:cxn ang="0">
                  <a:pos x="73" y="123"/>
                </a:cxn>
                <a:cxn ang="0">
                  <a:pos x="60" y="123"/>
                </a:cxn>
                <a:cxn ang="0">
                  <a:pos x="54" y="135"/>
                </a:cxn>
                <a:cxn ang="0">
                  <a:pos x="38" y="155"/>
                </a:cxn>
                <a:cxn ang="0">
                  <a:pos x="18" y="166"/>
                </a:cxn>
                <a:cxn ang="0">
                  <a:pos x="17" y="175"/>
                </a:cxn>
                <a:cxn ang="0">
                  <a:pos x="0" y="187"/>
                </a:cxn>
                <a:cxn ang="0">
                  <a:pos x="8" y="195"/>
                </a:cxn>
                <a:cxn ang="0">
                  <a:pos x="25" y="195"/>
                </a:cxn>
                <a:cxn ang="0">
                  <a:pos x="34" y="179"/>
                </a:cxn>
                <a:cxn ang="0">
                  <a:pos x="48" y="181"/>
                </a:cxn>
                <a:cxn ang="0">
                  <a:pos x="97" y="225"/>
                </a:cxn>
                <a:cxn ang="0">
                  <a:pos x="99" y="242"/>
                </a:cxn>
                <a:cxn ang="0">
                  <a:pos x="123" y="226"/>
                </a:cxn>
                <a:cxn ang="0">
                  <a:pos x="145" y="251"/>
                </a:cxn>
                <a:cxn ang="0">
                  <a:pos x="167" y="263"/>
                </a:cxn>
                <a:cxn ang="0">
                  <a:pos x="190" y="264"/>
                </a:cxn>
                <a:cxn ang="0">
                  <a:pos x="191" y="272"/>
                </a:cxn>
                <a:cxn ang="0">
                  <a:pos x="214" y="290"/>
                </a:cxn>
                <a:cxn ang="0">
                  <a:pos x="236" y="305"/>
                </a:cxn>
                <a:cxn ang="0">
                  <a:pos x="245" y="324"/>
                </a:cxn>
                <a:cxn ang="0">
                  <a:pos x="265" y="333"/>
                </a:cxn>
                <a:cxn ang="0">
                  <a:pos x="277" y="342"/>
                </a:cxn>
                <a:cxn ang="0">
                  <a:pos x="247" y="364"/>
                </a:cxn>
                <a:cxn ang="0">
                  <a:pos x="248" y="396"/>
                </a:cxn>
                <a:cxn ang="0">
                  <a:pos x="259" y="400"/>
                </a:cxn>
                <a:cxn ang="0">
                  <a:pos x="301" y="361"/>
                </a:cxn>
                <a:cxn ang="0">
                  <a:pos x="316" y="325"/>
                </a:cxn>
                <a:cxn ang="0">
                  <a:pos x="344" y="295"/>
                </a:cxn>
                <a:cxn ang="0">
                  <a:pos x="393" y="261"/>
                </a:cxn>
                <a:cxn ang="0">
                  <a:pos x="436" y="210"/>
                </a:cxn>
                <a:cxn ang="0">
                  <a:pos x="471" y="142"/>
                </a:cxn>
                <a:cxn ang="0">
                  <a:pos x="476" y="135"/>
                </a:cxn>
                <a:cxn ang="0">
                  <a:pos x="464" y="128"/>
                </a:cxn>
                <a:cxn ang="0">
                  <a:pos x="455" y="134"/>
                </a:cxn>
              </a:cxnLst>
              <a:rect l="0" t="0" r="r" b="b"/>
              <a:pathLst>
                <a:path w="481" h="400">
                  <a:moveTo>
                    <a:pt x="455" y="134"/>
                  </a:moveTo>
                  <a:cubicBezTo>
                    <a:pt x="451" y="129"/>
                    <a:pt x="451" y="129"/>
                    <a:pt x="451" y="129"/>
                  </a:cubicBezTo>
                  <a:cubicBezTo>
                    <a:pt x="460" y="123"/>
                    <a:pt x="460" y="123"/>
                    <a:pt x="460" y="123"/>
                  </a:cubicBezTo>
                  <a:cubicBezTo>
                    <a:pt x="462" y="108"/>
                    <a:pt x="462" y="108"/>
                    <a:pt x="462" y="108"/>
                  </a:cubicBezTo>
                  <a:cubicBezTo>
                    <a:pt x="462" y="108"/>
                    <a:pt x="471" y="94"/>
                    <a:pt x="476" y="92"/>
                  </a:cubicBezTo>
                  <a:cubicBezTo>
                    <a:pt x="481" y="90"/>
                    <a:pt x="477" y="84"/>
                    <a:pt x="477" y="83"/>
                  </a:cubicBezTo>
                  <a:cubicBezTo>
                    <a:pt x="478" y="83"/>
                    <a:pt x="429" y="83"/>
                    <a:pt x="429" y="83"/>
                  </a:cubicBezTo>
                  <a:cubicBezTo>
                    <a:pt x="389" y="42"/>
                    <a:pt x="389" y="42"/>
                    <a:pt x="389" y="42"/>
                  </a:cubicBezTo>
                  <a:cubicBezTo>
                    <a:pt x="389" y="42"/>
                    <a:pt x="380" y="31"/>
                    <a:pt x="371" y="23"/>
                  </a:cubicBezTo>
                  <a:cubicBezTo>
                    <a:pt x="363" y="14"/>
                    <a:pt x="352" y="25"/>
                    <a:pt x="352" y="25"/>
                  </a:cubicBezTo>
                  <a:cubicBezTo>
                    <a:pt x="299" y="8"/>
                    <a:pt x="299" y="8"/>
                    <a:pt x="299" y="8"/>
                  </a:cubicBezTo>
                  <a:cubicBezTo>
                    <a:pt x="299" y="8"/>
                    <a:pt x="284" y="9"/>
                    <a:pt x="283" y="9"/>
                  </a:cubicBezTo>
                  <a:cubicBezTo>
                    <a:pt x="283" y="9"/>
                    <a:pt x="276" y="0"/>
                    <a:pt x="276" y="0"/>
                  </a:cubicBezTo>
                  <a:cubicBezTo>
                    <a:pt x="264" y="8"/>
                    <a:pt x="264" y="8"/>
                    <a:pt x="264" y="8"/>
                  </a:cubicBezTo>
                  <a:cubicBezTo>
                    <a:pt x="256" y="0"/>
                    <a:pt x="256" y="0"/>
                    <a:pt x="256" y="0"/>
                  </a:cubicBezTo>
                  <a:cubicBezTo>
                    <a:pt x="256" y="0"/>
                    <a:pt x="250" y="8"/>
                    <a:pt x="246" y="8"/>
                  </a:cubicBezTo>
                  <a:cubicBezTo>
                    <a:pt x="243" y="8"/>
                    <a:pt x="237" y="4"/>
                    <a:pt x="233" y="0"/>
                  </a:cubicBezTo>
                  <a:cubicBezTo>
                    <a:pt x="232" y="4"/>
                    <a:pt x="230" y="6"/>
                    <a:pt x="228" y="7"/>
                  </a:cubicBezTo>
                  <a:cubicBezTo>
                    <a:pt x="223" y="9"/>
                    <a:pt x="206" y="21"/>
                    <a:pt x="206" y="21"/>
                  </a:cubicBezTo>
                  <a:cubicBezTo>
                    <a:pt x="188" y="21"/>
                    <a:pt x="188" y="21"/>
                    <a:pt x="188" y="21"/>
                  </a:cubicBezTo>
                  <a:cubicBezTo>
                    <a:pt x="181" y="31"/>
                    <a:pt x="181" y="31"/>
                    <a:pt x="181" y="31"/>
                  </a:cubicBezTo>
                  <a:cubicBezTo>
                    <a:pt x="181" y="31"/>
                    <a:pt x="174" y="30"/>
                    <a:pt x="172" y="30"/>
                  </a:cubicBezTo>
                  <a:cubicBezTo>
                    <a:pt x="170" y="31"/>
                    <a:pt x="160" y="47"/>
                    <a:pt x="160" y="48"/>
                  </a:cubicBezTo>
                  <a:cubicBezTo>
                    <a:pt x="160" y="49"/>
                    <a:pt x="159" y="48"/>
                    <a:pt x="151" y="47"/>
                  </a:cubicBezTo>
                  <a:cubicBezTo>
                    <a:pt x="143" y="47"/>
                    <a:pt x="111" y="68"/>
                    <a:pt x="111" y="68"/>
                  </a:cubicBezTo>
                  <a:cubicBezTo>
                    <a:pt x="115" y="79"/>
                    <a:pt x="115" y="79"/>
                    <a:pt x="115" y="79"/>
                  </a:cubicBezTo>
                  <a:cubicBezTo>
                    <a:pt x="115" y="79"/>
                    <a:pt x="101" y="82"/>
                    <a:pt x="100" y="82"/>
                  </a:cubicBezTo>
                  <a:cubicBezTo>
                    <a:pt x="99" y="81"/>
                    <a:pt x="74" y="110"/>
                    <a:pt x="74" y="110"/>
                  </a:cubicBezTo>
                  <a:cubicBezTo>
                    <a:pt x="73" y="123"/>
                    <a:pt x="73" y="123"/>
                    <a:pt x="73" y="123"/>
                  </a:cubicBezTo>
                  <a:cubicBezTo>
                    <a:pt x="60" y="123"/>
                    <a:pt x="60" y="123"/>
                    <a:pt x="60" y="123"/>
                  </a:cubicBezTo>
                  <a:cubicBezTo>
                    <a:pt x="54" y="135"/>
                    <a:pt x="54" y="135"/>
                    <a:pt x="54" y="135"/>
                  </a:cubicBezTo>
                  <a:cubicBezTo>
                    <a:pt x="54" y="135"/>
                    <a:pt x="50" y="142"/>
                    <a:pt x="38" y="155"/>
                  </a:cubicBezTo>
                  <a:cubicBezTo>
                    <a:pt x="26" y="168"/>
                    <a:pt x="18" y="166"/>
                    <a:pt x="18" y="166"/>
                  </a:cubicBezTo>
                  <a:cubicBezTo>
                    <a:pt x="17" y="166"/>
                    <a:pt x="18" y="169"/>
                    <a:pt x="17" y="175"/>
                  </a:cubicBezTo>
                  <a:cubicBezTo>
                    <a:pt x="16" y="181"/>
                    <a:pt x="0" y="187"/>
                    <a:pt x="0" y="187"/>
                  </a:cubicBezTo>
                  <a:cubicBezTo>
                    <a:pt x="8" y="195"/>
                    <a:pt x="8" y="195"/>
                    <a:pt x="8" y="195"/>
                  </a:cubicBezTo>
                  <a:cubicBezTo>
                    <a:pt x="25" y="195"/>
                    <a:pt x="25" y="195"/>
                    <a:pt x="25" y="195"/>
                  </a:cubicBezTo>
                  <a:cubicBezTo>
                    <a:pt x="25" y="195"/>
                    <a:pt x="29" y="183"/>
                    <a:pt x="34" y="179"/>
                  </a:cubicBezTo>
                  <a:cubicBezTo>
                    <a:pt x="39" y="176"/>
                    <a:pt x="48" y="181"/>
                    <a:pt x="48" y="181"/>
                  </a:cubicBezTo>
                  <a:cubicBezTo>
                    <a:pt x="97" y="225"/>
                    <a:pt x="97" y="225"/>
                    <a:pt x="97" y="225"/>
                  </a:cubicBezTo>
                  <a:cubicBezTo>
                    <a:pt x="99" y="242"/>
                    <a:pt x="99" y="242"/>
                    <a:pt x="99" y="242"/>
                  </a:cubicBezTo>
                  <a:cubicBezTo>
                    <a:pt x="123" y="226"/>
                    <a:pt x="123" y="226"/>
                    <a:pt x="123" y="226"/>
                  </a:cubicBezTo>
                  <a:cubicBezTo>
                    <a:pt x="123" y="226"/>
                    <a:pt x="144" y="246"/>
                    <a:pt x="145" y="251"/>
                  </a:cubicBezTo>
                  <a:cubicBezTo>
                    <a:pt x="146" y="256"/>
                    <a:pt x="167" y="263"/>
                    <a:pt x="167" y="263"/>
                  </a:cubicBezTo>
                  <a:cubicBezTo>
                    <a:pt x="190" y="264"/>
                    <a:pt x="190" y="264"/>
                    <a:pt x="190" y="264"/>
                  </a:cubicBezTo>
                  <a:cubicBezTo>
                    <a:pt x="190" y="264"/>
                    <a:pt x="191" y="269"/>
                    <a:pt x="191" y="272"/>
                  </a:cubicBezTo>
                  <a:cubicBezTo>
                    <a:pt x="191" y="275"/>
                    <a:pt x="201" y="284"/>
                    <a:pt x="214" y="290"/>
                  </a:cubicBezTo>
                  <a:cubicBezTo>
                    <a:pt x="228" y="296"/>
                    <a:pt x="235" y="301"/>
                    <a:pt x="236" y="305"/>
                  </a:cubicBezTo>
                  <a:cubicBezTo>
                    <a:pt x="237" y="310"/>
                    <a:pt x="240" y="317"/>
                    <a:pt x="245" y="324"/>
                  </a:cubicBezTo>
                  <a:cubicBezTo>
                    <a:pt x="250" y="331"/>
                    <a:pt x="265" y="333"/>
                    <a:pt x="265" y="333"/>
                  </a:cubicBezTo>
                  <a:cubicBezTo>
                    <a:pt x="277" y="342"/>
                    <a:pt x="277" y="342"/>
                    <a:pt x="277" y="342"/>
                  </a:cubicBezTo>
                  <a:cubicBezTo>
                    <a:pt x="247" y="364"/>
                    <a:pt x="247" y="364"/>
                    <a:pt x="247" y="364"/>
                  </a:cubicBezTo>
                  <a:cubicBezTo>
                    <a:pt x="248" y="396"/>
                    <a:pt x="248" y="396"/>
                    <a:pt x="248" y="396"/>
                  </a:cubicBezTo>
                  <a:cubicBezTo>
                    <a:pt x="259" y="400"/>
                    <a:pt x="259" y="400"/>
                    <a:pt x="259" y="400"/>
                  </a:cubicBezTo>
                  <a:cubicBezTo>
                    <a:pt x="259" y="400"/>
                    <a:pt x="286" y="377"/>
                    <a:pt x="301" y="361"/>
                  </a:cubicBezTo>
                  <a:cubicBezTo>
                    <a:pt x="317" y="346"/>
                    <a:pt x="315" y="328"/>
                    <a:pt x="316" y="325"/>
                  </a:cubicBezTo>
                  <a:cubicBezTo>
                    <a:pt x="316" y="322"/>
                    <a:pt x="334" y="302"/>
                    <a:pt x="344" y="295"/>
                  </a:cubicBezTo>
                  <a:cubicBezTo>
                    <a:pt x="354" y="288"/>
                    <a:pt x="376" y="276"/>
                    <a:pt x="393" y="261"/>
                  </a:cubicBezTo>
                  <a:cubicBezTo>
                    <a:pt x="411" y="246"/>
                    <a:pt x="420" y="235"/>
                    <a:pt x="436" y="210"/>
                  </a:cubicBezTo>
                  <a:cubicBezTo>
                    <a:pt x="452" y="184"/>
                    <a:pt x="458" y="162"/>
                    <a:pt x="471" y="142"/>
                  </a:cubicBezTo>
                  <a:cubicBezTo>
                    <a:pt x="472" y="140"/>
                    <a:pt x="474" y="137"/>
                    <a:pt x="476" y="135"/>
                  </a:cubicBezTo>
                  <a:cubicBezTo>
                    <a:pt x="464" y="128"/>
                    <a:pt x="464" y="128"/>
                    <a:pt x="464" y="128"/>
                  </a:cubicBezTo>
                  <a:lnTo>
                    <a:pt x="455" y="134"/>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71" name="Freeform 336">
              <a:extLst>
                <a:ext uri="{FF2B5EF4-FFF2-40B4-BE49-F238E27FC236}">
                  <a16:creationId xmlns:a16="http://schemas.microsoft.com/office/drawing/2014/main" id="{11CF297D-BF90-405D-A89A-980C3611D972}"/>
                </a:ext>
              </a:extLst>
            </p:cNvPr>
            <p:cNvSpPr>
              <a:spLocks noChangeAspect="1"/>
            </p:cNvSpPr>
            <p:nvPr/>
          </p:nvSpPr>
          <p:spPr bwMode="auto">
            <a:xfrm>
              <a:off x="13151" y="964"/>
              <a:ext cx="841" cy="1106"/>
            </a:xfrm>
            <a:custGeom>
              <a:avLst/>
              <a:gdLst/>
              <a:ahLst/>
              <a:cxnLst>
                <a:cxn ang="0">
                  <a:pos x="182" y="506"/>
                </a:cxn>
                <a:cxn ang="0">
                  <a:pos x="172" y="488"/>
                </a:cxn>
                <a:cxn ang="0">
                  <a:pos x="176" y="462"/>
                </a:cxn>
                <a:cxn ang="0">
                  <a:pos x="194" y="426"/>
                </a:cxn>
                <a:cxn ang="0">
                  <a:pos x="216" y="389"/>
                </a:cxn>
                <a:cxn ang="0">
                  <a:pos x="234" y="382"/>
                </a:cxn>
                <a:cxn ang="0">
                  <a:pos x="252" y="371"/>
                </a:cxn>
                <a:cxn ang="0">
                  <a:pos x="287" y="342"/>
                </a:cxn>
                <a:cxn ang="0">
                  <a:pos x="318" y="348"/>
                </a:cxn>
                <a:cxn ang="0">
                  <a:pos x="349" y="342"/>
                </a:cxn>
                <a:cxn ang="0">
                  <a:pos x="345" y="304"/>
                </a:cxn>
                <a:cxn ang="0">
                  <a:pos x="346" y="289"/>
                </a:cxn>
                <a:cxn ang="0">
                  <a:pos x="350" y="269"/>
                </a:cxn>
                <a:cxn ang="0">
                  <a:pos x="358" y="258"/>
                </a:cxn>
                <a:cxn ang="0">
                  <a:pos x="351" y="221"/>
                </a:cxn>
                <a:cxn ang="0">
                  <a:pos x="349" y="192"/>
                </a:cxn>
                <a:cxn ang="0">
                  <a:pos x="375" y="147"/>
                </a:cxn>
                <a:cxn ang="0">
                  <a:pos x="403" y="129"/>
                </a:cxn>
                <a:cxn ang="0">
                  <a:pos x="420" y="115"/>
                </a:cxn>
                <a:cxn ang="0">
                  <a:pos x="406" y="94"/>
                </a:cxn>
                <a:cxn ang="0">
                  <a:pos x="396" y="96"/>
                </a:cxn>
                <a:cxn ang="0">
                  <a:pos x="336" y="77"/>
                </a:cxn>
                <a:cxn ang="0">
                  <a:pos x="310" y="69"/>
                </a:cxn>
                <a:cxn ang="0">
                  <a:pos x="283" y="84"/>
                </a:cxn>
                <a:cxn ang="0">
                  <a:pos x="276" y="85"/>
                </a:cxn>
                <a:cxn ang="0">
                  <a:pos x="262" y="66"/>
                </a:cxn>
                <a:cxn ang="0">
                  <a:pos x="236" y="32"/>
                </a:cxn>
                <a:cxn ang="0">
                  <a:pos x="207" y="35"/>
                </a:cxn>
                <a:cxn ang="0">
                  <a:pos x="193" y="10"/>
                </a:cxn>
                <a:cxn ang="0">
                  <a:pos x="170" y="3"/>
                </a:cxn>
                <a:cxn ang="0">
                  <a:pos x="156" y="0"/>
                </a:cxn>
                <a:cxn ang="0">
                  <a:pos x="149" y="39"/>
                </a:cxn>
                <a:cxn ang="0">
                  <a:pos x="140" y="75"/>
                </a:cxn>
                <a:cxn ang="0">
                  <a:pos x="126" y="97"/>
                </a:cxn>
                <a:cxn ang="0">
                  <a:pos x="103" y="150"/>
                </a:cxn>
                <a:cxn ang="0">
                  <a:pos x="83" y="184"/>
                </a:cxn>
                <a:cxn ang="0">
                  <a:pos x="51" y="213"/>
                </a:cxn>
                <a:cxn ang="0">
                  <a:pos x="9" y="260"/>
                </a:cxn>
                <a:cxn ang="0">
                  <a:pos x="40" y="257"/>
                </a:cxn>
                <a:cxn ang="0">
                  <a:pos x="54" y="260"/>
                </a:cxn>
                <a:cxn ang="0">
                  <a:pos x="83" y="314"/>
                </a:cxn>
                <a:cxn ang="0">
                  <a:pos x="58" y="370"/>
                </a:cxn>
                <a:cxn ang="0">
                  <a:pos x="137" y="416"/>
                </a:cxn>
                <a:cxn ang="0">
                  <a:pos x="117" y="447"/>
                </a:cxn>
                <a:cxn ang="0">
                  <a:pos x="100" y="482"/>
                </a:cxn>
                <a:cxn ang="0">
                  <a:pos x="119" y="500"/>
                </a:cxn>
                <a:cxn ang="0">
                  <a:pos x="127" y="526"/>
                </a:cxn>
                <a:cxn ang="0">
                  <a:pos x="143" y="547"/>
                </a:cxn>
                <a:cxn ang="0">
                  <a:pos x="175" y="538"/>
                </a:cxn>
              </a:cxnLst>
              <a:rect l="0" t="0" r="r" b="b"/>
              <a:pathLst>
                <a:path w="420" h="553">
                  <a:moveTo>
                    <a:pt x="175" y="509"/>
                  </a:moveTo>
                  <a:cubicBezTo>
                    <a:pt x="182" y="506"/>
                    <a:pt x="182" y="506"/>
                    <a:pt x="182" y="506"/>
                  </a:cubicBezTo>
                  <a:cubicBezTo>
                    <a:pt x="182" y="506"/>
                    <a:pt x="174" y="502"/>
                    <a:pt x="173" y="501"/>
                  </a:cubicBezTo>
                  <a:cubicBezTo>
                    <a:pt x="173" y="500"/>
                    <a:pt x="172" y="488"/>
                    <a:pt x="172" y="488"/>
                  </a:cubicBezTo>
                  <a:cubicBezTo>
                    <a:pt x="172" y="488"/>
                    <a:pt x="166" y="476"/>
                    <a:pt x="167" y="471"/>
                  </a:cubicBezTo>
                  <a:cubicBezTo>
                    <a:pt x="168" y="467"/>
                    <a:pt x="176" y="462"/>
                    <a:pt x="176" y="462"/>
                  </a:cubicBezTo>
                  <a:cubicBezTo>
                    <a:pt x="176" y="462"/>
                    <a:pt x="178" y="444"/>
                    <a:pt x="180" y="441"/>
                  </a:cubicBezTo>
                  <a:cubicBezTo>
                    <a:pt x="183" y="439"/>
                    <a:pt x="194" y="426"/>
                    <a:pt x="194" y="426"/>
                  </a:cubicBezTo>
                  <a:cubicBezTo>
                    <a:pt x="194" y="426"/>
                    <a:pt x="189" y="410"/>
                    <a:pt x="199" y="402"/>
                  </a:cubicBezTo>
                  <a:cubicBezTo>
                    <a:pt x="209" y="393"/>
                    <a:pt x="216" y="389"/>
                    <a:pt x="216" y="389"/>
                  </a:cubicBezTo>
                  <a:cubicBezTo>
                    <a:pt x="229" y="389"/>
                    <a:pt x="229" y="389"/>
                    <a:pt x="229" y="389"/>
                  </a:cubicBezTo>
                  <a:cubicBezTo>
                    <a:pt x="234" y="382"/>
                    <a:pt x="234" y="382"/>
                    <a:pt x="234" y="382"/>
                  </a:cubicBezTo>
                  <a:cubicBezTo>
                    <a:pt x="245" y="382"/>
                    <a:pt x="245" y="382"/>
                    <a:pt x="245" y="382"/>
                  </a:cubicBezTo>
                  <a:cubicBezTo>
                    <a:pt x="245" y="382"/>
                    <a:pt x="251" y="373"/>
                    <a:pt x="252" y="371"/>
                  </a:cubicBezTo>
                  <a:cubicBezTo>
                    <a:pt x="253" y="369"/>
                    <a:pt x="266" y="372"/>
                    <a:pt x="274" y="360"/>
                  </a:cubicBezTo>
                  <a:cubicBezTo>
                    <a:pt x="282" y="349"/>
                    <a:pt x="287" y="342"/>
                    <a:pt x="287" y="342"/>
                  </a:cubicBezTo>
                  <a:cubicBezTo>
                    <a:pt x="287" y="342"/>
                    <a:pt x="307" y="339"/>
                    <a:pt x="310" y="341"/>
                  </a:cubicBezTo>
                  <a:cubicBezTo>
                    <a:pt x="313" y="344"/>
                    <a:pt x="318" y="348"/>
                    <a:pt x="318" y="348"/>
                  </a:cubicBezTo>
                  <a:cubicBezTo>
                    <a:pt x="318" y="348"/>
                    <a:pt x="326" y="344"/>
                    <a:pt x="330" y="344"/>
                  </a:cubicBezTo>
                  <a:cubicBezTo>
                    <a:pt x="334" y="344"/>
                    <a:pt x="348" y="346"/>
                    <a:pt x="349" y="342"/>
                  </a:cubicBezTo>
                  <a:cubicBezTo>
                    <a:pt x="350" y="339"/>
                    <a:pt x="358" y="315"/>
                    <a:pt x="358" y="315"/>
                  </a:cubicBezTo>
                  <a:cubicBezTo>
                    <a:pt x="345" y="304"/>
                    <a:pt x="345" y="304"/>
                    <a:pt x="345" y="304"/>
                  </a:cubicBezTo>
                  <a:cubicBezTo>
                    <a:pt x="340" y="294"/>
                    <a:pt x="340" y="294"/>
                    <a:pt x="340" y="294"/>
                  </a:cubicBezTo>
                  <a:cubicBezTo>
                    <a:pt x="346" y="289"/>
                    <a:pt x="346" y="289"/>
                    <a:pt x="346" y="289"/>
                  </a:cubicBezTo>
                  <a:cubicBezTo>
                    <a:pt x="346" y="289"/>
                    <a:pt x="337" y="281"/>
                    <a:pt x="341" y="277"/>
                  </a:cubicBezTo>
                  <a:cubicBezTo>
                    <a:pt x="345" y="273"/>
                    <a:pt x="350" y="269"/>
                    <a:pt x="350" y="269"/>
                  </a:cubicBezTo>
                  <a:cubicBezTo>
                    <a:pt x="350" y="262"/>
                    <a:pt x="350" y="262"/>
                    <a:pt x="350" y="262"/>
                  </a:cubicBezTo>
                  <a:cubicBezTo>
                    <a:pt x="358" y="258"/>
                    <a:pt x="358" y="258"/>
                    <a:pt x="358" y="258"/>
                  </a:cubicBezTo>
                  <a:cubicBezTo>
                    <a:pt x="355" y="240"/>
                    <a:pt x="355" y="240"/>
                    <a:pt x="355" y="240"/>
                  </a:cubicBezTo>
                  <a:cubicBezTo>
                    <a:pt x="355" y="240"/>
                    <a:pt x="350" y="229"/>
                    <a:pt x="351" y="221"/>
                  </a:cubicBezTo>
                  <a:cubicBezTo>
                    <a:pt x="351" y="214"/>
                    <a:pt x="358" y="205"/>
                    <a:pt x="358" y="205"/>
                  </a:cubicBezTo>
                  <a:cubicBezTo>
                    <a:pt x="358" y="205"/>
                    <a:pt x="349" y="196"/>
                    <a:pt x="349" y="192"/>
                  </a:cubicBezTo>
                  <a:cubicBezTo>
                    <a:pt x="348" y="188"/>
                    <a:pt x="366" y="174"/>
                    <a:pt x="366" y="172"/>
                  </a:cubicBezTo>
                  <a:cubicBezTo>
                    <a:pt x="367" y="170"/>
                    <a:pt x="370" y="149"/>
                    <a:pt x="375" y="147"/>
                  </a:cubicBezTo>
                  <a:cubicBezTo>
                    <a:pt x="379" y="145"/>
                    <a:pt x="396" y="148"/>
                    <a:pt x="399" y="143"/>
                  </a:cubicBezTo>
                  <a:cubicBezTo>
                    <a:pt x="402" y="137"/>
                    <a:pt x="403" y="129"/>
                    <a:pt x="403" y="129"/>
                  </a:cubicBezTo>
                  <a:cubicBezTo>
                    <a:pt x="414" y="128"/>
                    <a:pt x="414" y="128"/>
                    <a:pt x="414" y="128"/>
                  </a:cubicBezTo>
                  <a:cubicBezTo>
                    <a:pt x="420" y="115"/>
                    <a:pt x="420" y="115"/>
                    <a:pt x="420" y="115"/>
                  </a:cubicBezTo>
                  <a:cubicBezTo>
                    <a:pt x="416" y="98"/>
                    <a:pt x="416" y="98"/>
                    <a:pt x="416" y="98"/>
                  </a:cubicBezTo>
                  <a:cubicBezTo>
                    <a:pt x="406" y="94"/>
                    <a:pt x="406" y="94"/>
                    <a:pt x="406" y="94"/>
                  </a:cubicBezTo>
                  <a:cubicBezTo>
                    <a:pt x="403" y="101"/>
                    <a:pt x="403" y="101"/>
                    <a:pt x="403" y="101"/>
                  </a:cubicBezTo>
                  <a:cubicBezTo>
                    <a:pt x="396" y="96"/>
                    <a:pt x="396" y="96"/>
                    <a:pt x="396" y="96"/>
                  </a:cubicBezTo>
                  <a:cubicBezTo>
                    <a:pt x="382" y="100"/>
                    <a:pt x="382" y="100"/>
                    <a:pt x="382" y="100"/>
                  </a:cubicBezTo>
                  <a:cubicBezTo>
                    <a:pt x="336" y="77"/>
                    <a:pt x="336" y="77"/>
                    <a:pt x="336" y="77"/>
                  </a:cubicBezTo>
                  <a:cubicBezTo>
                    <a:pt x="318" y="81"/>
                    <a:pt x="318" y="81"/>
                    <a:pt x="318" y="81"/>
                  </a:cubicBezTo>
                  <a:cubicBezTo>
                    <a:pt x="318" y="81"/>
                    <a:pt x="321" y="69"/>
                    <a:pt x="310" y="69"/>
                  </a:cubicBezTo>
                  <a:cubicBezTo>
                    <a:pt x="299" y="69"/>
                    <a:pt x="288" y="94"/>
                    <a:pt x="288" y="95"/>
                  </a:cubicBezTo>
                  <a:cubicBezTo>
                    <a:pt x="288" y="96"/>
                    <a:pt x="283" y="84"/>
                    <a:pt x="283" y="84"/>
                  </a:cubicBezTo>
                  <a:cubicBezTo>
                    <a:pt x="282" y="76"/>
                    <a:pt x="282" y="76"/>
                    <a:pt x="282" y="76"/>
                  </a:cubicBezTo>
                  <a:cubicBezTo>
                    <a:pt x="282" y="76"/>
                    <a:pt x="278" y="83"/>
                    <a:pt x="276" y="85"/>
                  </a:cubicBezTo>
                  <a:cubicBezTo>
                    <a:pt x="275" y="86"/>
                    <a:pt x="265" y="86"/>
                    <a:pt x="265" y="86"/>
                  </a:cubicBezTo>
                  <a:cubicBezTo>
                    <a:pt x="265" y="86"/>
                    <a:pt x="264" y="73"/>
                    <a:pt x="262" y="66"/>
                  </a:cubicBezTo>
                  <a:cubicBezTo>
                    <a:pt x="261" y="58"/>
                    <a:pt x="253" y="40"/>
                    <a:pt x="246" y="33"/>
                  </a:cubicBezTo>
                  <a:cubicBezTo>
                    <a:pt x="239" y="27"/>
                    <a:pt x="236" y="32"/>
                    <a:pt x="236" y="32"/>
                  </a:cubicBezTo>
                  <a:cubicBezTo>
                    <a:pt x="229" y="15"/>
                    <a:pt x="229" y="15"/>
                    <a:pt x="229" y="15"/>
                  </a:cubicBezTo>
                  <a:cubicBezTo>
                    <a:pt x="207" y="35"/>
                    <a:pt x="207" y="35"/>
                    <a:pt x="207" y="35"/>
                  </a:cubicBezTo>
                  <a:cubicBezTo>
                    <a:pt x="207" y="35"/>
                    <a:pt x="207" y="26"/>
                    <a:pt x="207" y="21"/>
                  </a:cubicBezTo>
                  <a:cubicBezTo>
                    <a:pt x="207" y="17"/>
                    <a:pt x="193" y="10"/>
                    <a:pt x="193" y="10"/>
                  </a:cubicBezTo>
                  <a:cubicBezTo>
                    <a:pt x="183" y="17"/>
                    <a:pt x="183" y="17"/>
                    <a:pt x="183" y="17"/>
                  </a:cubicBezTo>
                  <a:cubicBezTo>
                    <a:pt x="170" y="3"/>
                    <a:pt x="170" y="3"/>
                    <a:pt x="170" y="3"/>
                  </a:cubicBezTo>
                  <a:cubicBezTo>
                    <a:pt x="161" y="7"/>
                    <a:pt x="161" y="7"/>
                    <a:pt x="161" y="7"/>
                  </a:cubicBezTo>
                  <a:cubicBezTo>
                    <a:pt x="156" y="0"/>
                    <a:pt x="156" y="0"/>
                    <a:pt x="156" y="0"/>
                  </a:cubicBezTo>
                  <a:cubicBezTo>
                    <a:pt x="158" y="32"/>
                    <a:pt x="158" y="32"/>
                    <a:pt x="158" y="32"/>
                  </a:cubicBezTo>
                  <a:cubicBezTo>
                    <a:pt x="149" y="39"/>
                    <a:pt x="149" y="39"/>
                    <a:pt x="149" y="39"/>
                  </a:cubicBezTo>
                  <a:cubicBezTo>
                    <a:pt x="156" y="49"/>
                    <a:pt x="156" y="49"/>
                    <a:pt x="156" y="49"/>
                  </a:cubicBezTo>
                  <a:cubicBezTo>
                    <a:pt x="140" y="75"/>
                    <a:pt x="140" y="75"/>
                    <a:pt x="140" y="75"/>
                  </a:cubicBezTo>
                  <a:cubicBezTo>
                    <a:pt x="140" y="95"/>
                    <a:pt x="140" y="95"/>
                    <a:pt x="140" y="95"/>
                  </a:cubicBezTo>
                  <a:cubicBezTo>
                    <a:pt x="126" y="97"/>
                    <a:pt x="126" y="97"/>
                    <a:pt x="126" y="97"/>
                  </a:cubicBezTo>
                  <a:cubicBezTo>
                    <a:pt x="129" y="116"/>
                    <a:pt x="129" y="116"/>
                    <a:pt x="129" y="116"/>
                  </a:cubicBezTo>
                  <a:cubicBezTo>
                    <a:pt x="103" y="150"/>
                    <a:pt x="103" y="150"/>
                    <a:pt x="103" y="150"/>
                  </a:cubicBezTo>
                  <a:cubicBezTo>
                    <a:pt x="106" y="166"/>
                    <a:pt x="106" y="166"/>
                    <a:pt x="106" y="166"/>
                  </a:cubicBezTo>
                  <a:cubicBezTo>
                    <a:pt x="106" y="166"/>
                    <a:pt x="90" y="173"/>
                    <a:pt x="83" y="184"/>
                  </a:cubicBezTo>
                  <a:cubicBezTo>
                    <a:pt x="77" y="195"/>
                    <a:pt x="71" y="213"/>
                    <a:pt x="71" y="213"/>
                  </a:cubicBezTo>
                  <a:cubicBezTo>
                    <a:pt x="51" y="213"/>
                    <a:pt x="51" y="213"/>
                    <a:pt x="51" y="213"/>
                  </a:cubicBezTo>
                  <a:cubicBezTo>
                    <a:pt x="0" y="255"/>
                    <a:pt x="0" y="255"/>
                    <a:pt x="0" y="255"/>
                  </a:cubicBezTo>
                  <a:cubicBezTo>
                    <a:pt x="9" y="260"/>
                    <a:pt x="9" y="260"/>
                    <a:pt x="9" y="260"/>
                  </a:cubicBezTo>
                  <a:cubicBezTo>
                    <a:pt x="23" y="246"/>
                    <a:pt x="23" y="246"/>
                    <a:pt x="23" y="246"/>
                  </a:cubicBezTo>
                  <a:cubicBezTo>
                    <a:pt x="23" y="246"/>
                    <a:pt x="34" y="260"/>
                    <a:pt x="40" y="257"/>
                  </a:cubicBezTo>
                  <a:cubicBezTo>
                    <a:pt x="46" y="255"/>
                    <a:pt x="52" y="251"/>
                    <a:pt x="52" y="251"/>
                  </a:cubicBezTo>
                  <a:cubicBezTo>
                    <a:pt x="54" y="260"/>
                    <a:pt x="54" y="260"/>
                    <a:pt x="54" y="260"/>
                  </a:cubicBezTo>
                  <a:cubicBezTo>
                    <a:pt x="54" y="260"/>
                    <a:pt x="75" y="265"/>
                    <a:pt x="75" y="266"/>
                  </a:cubicBezTo>
                  <a:cubicBezTo>
                    <a:pt x="75" y="268"/>
                    <a:pt x="83" y="314"/>
                    <a:pt x="83" y="314"/>
                  </a:cubicBezTo>
                  <a:cubicBezTo>
                    <a:pt x="83" y="314"/>
                    <a:pt x="73" y="364"/>
                    <a:pt x="68" y="366"/>
                  </a:cubicBezTo>
                  <a:cubicBezTo>
                    <a:pt x="62" y="368"/>
                    <a:pt x="58" y="370"/>
                    <a:pt x="58" y="370"/>
                  </a:cubicBezTo>
                  <a:cubicBezTo>
                    <a:pt x="105" y="422"/>
                    <a:pt x="105" y="422"/>
                    <a:pt x="105" y="422"/>
                  </a:cubicBezTo>
                  <a:cubicBezTo>
                    <a:pt x="105" y="422"/>
                    <a:pt x="132" y="402"/>
                    <a:pt x="137" y="416"/>
                  </a:cubicBezTo>
                  <a:cubicBezTo>
                    <a:pt x="142" y="430"/>
                    <a:pt x="128" y="441"/>
                    <a:pt x="128" y="441"/>
                  </a:cubicBezTo>
                  <a:cubicBezTo>
                    <a:pt x="128" y="441"/>
                    <a:pt x="123" y="438"/>
                    <a:pt x="117" y="447"/>
                  </a:cubicBezTo>
                  <a:cubicBezTo>
                    <a:pt x="111" y="457"/>
                    <a:pt x="112" y="471"/>
                    <a:pt x="112" y="471"/>
                  </a:cubicBezTo>
                  <a:cubicBezTo>
                    <a:pt x="100" y="482"/>
                    <a:pt x="100" y="482"/>
                    <a:pt x="100" y="482"/>
                  </a:cubicBezTo>
                  <a:cubicBezTo>
                    <a:pt x="117" y="489"/>
                    <a:pt x="117" y="489"/>
                    <a:pt x="117" y="489"/>
                  </a:cubicBezTo>
                  <a:cubicBezTo>
                    <a:pt x="119" y="500"/>
                    <a:pt x="119" y="500"/>
                    <a:pt x="119" y="500"/>
                  </a:cubicBezTo>
                  <a:cubicBezTo>
                    <a:pt x="136" y="513"/>
                    <a:pt x="136" y="513"/>
                    <a:pt x="136" y="513"/>
                  </a:cubicBezTo>
                  <a:cubicBezTo>
                    <a:pt x="127" y="526"/>
                    <a:pt x="127" y="526"/>
                    <a:pt x="127" y="526"/>
                  </a:cubicBezTo>
                  <a:cubicBezTo>
                    <a:pt x="137" y="529"/>
                    <a:pt x="137" y="529"/>
                    <a:pt x="137" y="529"/>
                  </a:cubicBezTo>
                  <a:cubicBezTo>
                    <a:pt x="137" y="529"/>
                    <a:pt x="123" y="538"/>
                    <a:pt x="143" y="547"/>
                  </a:cubicBezTo>
                  <a:cubicBezTo>
                    <a:pt x="156" y="553"/>
                    <a:pt x="162" y="553"/>
                    <a:pt x="164" y="552"/>
                  </a:cubicBezTo>
                  <a:cubicBezTo>
                    <a:pt x="175" y="538"/>
                    <a:pt x="175" y="538"/>
                    <a:pt x="175" y="538"/>
                  </a:cubicBezTo>
                  <a:lnTo>
                    <a:pt x="175" y="509"/>
                  </a:lnTo>
                  <a:close/>
                </a:path>
              </a:pathLst>
            </a:custGeom>
            <a:solidFill>
              <a:schemeClr val="accent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172" name="Freeform 343">
              <a:extLst>
                <a:ext uri="{FF2B5EF4-FFF2-40B4-BE49-F238E27FC236}">
                  <a16:creationId xmlns:a16="http://schemas.microsoft.com/office/drawing/2014/main" id="{37FD141D-59AF-47E4-94CF-1AA6E04F2A40}"/>
                </a:ext>
              </a:extLst>
            </p:cNvPr>
            <p:cNvSpPr>
              <a:spLocks noChangeAspect="1"/>
            </p:cNvSpPr>
            <p:nvPr/>
          </p:nvSpPr>
          <p:spPr bwMode="auto">
            <a:xfrm>
              <a:off x="13407" y="1865"/>
              <a:ext cx="1118" cy="1185"/>
            </a:xfrm>
            <a:custGeom>
              <a:avLst/>
              <a:gdLst>
                <a:gd name="T0" fmla="*/ 1040 w 558"/>
                <a:gd name="T1" fmla="*/ 324 h 592"/>
                <a:gd name="T2" fmla="*/ 1020 w 558"/>
                <a:gd name="T3" fmla="*/ 264 h 592"/>
                <a:gd name="T4" fmla="*/ 1066 w 558"/>
                <a:gd name="T5" fmla="*/ 260 h 592"/>
                <a:gd name="T6" fmla="*/ 1076 w 558"/>
                <a:gd name="T7" fmla="*/ 222 h 592"/>
                <a:gd name="T8" fmla="*/ 1046 w 558"/>
                <a:gd name="T9" fmla="*/ 174 h 592"/>
                <a:gd name="T10" fmla="*/ 1044 w 558"/>
                <a:gd name="T11" fmla="*/ 138 h 592"/>
                <a:gd name="T12" fmla="*/ 1044 w 558"/>
                <a:gd name="T13" fmla="*/ 118 h 592"/>
                <a:gd name="T14" fmla="*/ 1006 w 558"/>
                <a:gd name="T15" fmla="*/ 80 h 592"/>
                <a:gd name="T16" fmla="*/ 990 w 558"/>
                <a:gd name="T17" fmla="*/ 66 h 592"/>
                <a:gd name="T18" fmla="*/ 910 w 558"/>
                <a:gd name="T19" fmla="*/ 24 h 592"/>
                <a:gd name="T20" fmla="*/ 837 w 558"/>
                <a:gd name="T21" fmla="*/ 34 h 592"/>
                <a:gd name="T22" fmla="*/ 791 w 558"/>
                <a:gd name="T23" fmla="*/ 68 h 592"/>
                <a:gd name="T24" fmla="*/ 725 w 558"/>
                <a:gd name="T25" fmla="*/ 120 h 592"/>
                <a:gd name="T26" fmla="*/ 639 w 558"/>
                <a:gd name="T27" fmla="*/ 66 h 592"/>
                <a:gd name="T28" fmla="*/ 461 w 558"/>
                <a:gd name="T29" fmla="*/ 126 h 592"/>
                <a:gd name="T30" fmla="*/ 381 w 558"/>
                <a:gd name="T31" fmla="*/ 88 h 592"/>
                <a:gd name="T32" fmla="*/ 343 w 558"/>
                <a:gd name="T33" fmla="*/ 224 h 592"/>
                <a:gd name="T34" fmla="*/ 276 w 558"/>
                <a:gd name="T35" fmla="*/ 246 h 592"/>
                <a:gd name="T36" fmla="*/ 210 w 558"/>
                <a:gd name="T37" fmla="*/ 290 h 592"/>
                <a:gd name="T38" fmla="*/ 130 w 558"/>
                <a:gd name="T39" fmla="*/ 198 h 592"/>
                <a:gd name="T40" fmla="*/ 64 w 558"/>
                <a:gd name="T41" fmla="*/ 252 h 592"/>
                <a:gd name="T42" fmla="*/ 0 w 558"/>
                <a:gd name="T43" fmla="*/ 334 h 592"/>
                <a:gd name="T44" fmla="*/ 38 w 558"/>
                <a:gd name="T45" fmla="*/ 396 h 592"/>
                <a:gd name="T46" fmla="*/ 30 w 558"/>
                <a:gd name="T47" fmla="*/ 452 h 592"/>
                <a:gd name="T48" fmla="*/ 62 w 558"/>
                <a:gd name="T49" fmla="*/ 536 h 592"/>
                <a:gd name="T50" fmla="*/ 52 w 558"/>
                <a:gd name="T51" fmla="*/ 635 h 592"/>
                <a:gd name="T52" fmla="*/ 74 w 558"/>
                <a:gd name="T53" fmla="*/ 723 h 592"/>
                <a:gd name="T54" fmla="*/ 64 w 558"/>
                <a:gd name="T55" fmla="*/ 803 h 592"/>
                <a:gd name="T56" fmla="*/ 198 w 558"/>
                <a:gd name="T57" fmla="*/ 745 h 592"/>
                <a:gd name="T58" fmla="*/ 329 w 558"/>
                <a:gd name="T59" fmla="*/ 733 h 592"/>
                <a:gd name="T60" fmla="*/ 513 w 558"/>
                <a:gd name="T61" fmla="*/ 801 h 592"/>
                <a:gd name="T62" fmla="*/ 643 w 558"/>
                <a:gd name="T63" fmla="*/ 847 h 592"/>
                <a:gd name="T64" fmla="*/ 699 w 558"/>
                <a:gd name="T65" fmla="*/ 861 h 592"/>
                <a:gd name="T66" fmla="*/ 771 w 558"/>
                <a:gd name="T67" fmla="*/ 975 h 592"/>
                <a:gd name="T68" fmla="*/ 741 w 558"/>
                <a:gd name="T69" fmla="*/ 1019 h 592"/>
                <a:gd name="T70" fmla="*/ 775 w 558"/>
                <a:gd name="T71" fmla="*/ 1143 h 592"/>
                <a:gd name="T72" fmla="*/ 844 w 558"/>
                <a:gd name="T73" fmla="*/ 1183 h 592"/>
                <a:gd name="T74" fmla="*/ 866 w 558"/>
                <a:gd name="T75" fmla="*/ 1149 h 592"/>
                <a:gd name="T76" fmla="*/ 922 w 558"/>
                <a:gd name="T77" fmla="*/ 939 h 592"/>
                <a:gd name="T78" fmla="*/ 926 w 558"/>
                <a:gd name="T79" fmla="*/ 765 h 592"/>
                <a:gd name="T80" fmla="*/ 936 w 558"/>
                <a:gd name="T81" fmla="*/ 653 h 592"/>
                <a:gd name="T82" fmla="*/ 932 w 558"/>
                <a:gd name="T83" fmla="*/ 566 h 592"/>
                <a:gd name="T84" fmla="*/ 1080 w 558"/>
                <a:gd name="T85" fmla="*/ 434 h 592"/>
                <a:gd name="T86" fmla="*/ 1062 w 558"/>
                <a:gd name="T87" fmla="*/ 352 h 5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8"/>
                <a:gd name="T133" fmla="*/ 0 h 592"/>
                <a:gd name="T134" fmla="*/ 558 w 558"/>
                <a:gd name="T135" fmla="*/ 592 h 5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8" h="592">
                  <a:moveTo>
                    <a:pt x="530" y="176"/>
                  </a:moveTo>
                  <a:cubicBezTo>
                    <a:pt x="519" y="174"/>
                    <a:pt x="519" y="174"/>
                    <a:pt x="519" y="174"/>
                  </a:cubicBezTo>
                  <a:cubicBezTo>
                    <a:pt x="519" y="162"/>
                    <a:pt x="519" y="162"/>
                    <a:pt x="519" y="162"/>
                  </a:cubicBezTo>
                  <a:cubicBezTo>
                    <a:pt x="519" y="162"/>
                    <a:pt x="513" y="158"/>
                    <a:pt x="513" y="155"/>
                  </a:cubicBezTo>
                  <a:cubicBezTo>
                    <a:pt x="513" y="153"/>
                    <a:pt x="510" y="148"/>
                    <a:pt x="510" y="148"/>
                  </a:cubicBezTo>
                  <a:cubicBezTo>
                    <a:pt x="509" y="132"/>
                    <a:pt x="509" y="132"/>
                    <a:pt x="509" y="132"/>
                  </a:cubicBezTo>
                  <a:cubicBezTo>
                    <a:pt x="516" y="130"/>
                    <a:pt x="516" y="130"/>
                    <a:pt x="516" y="130"/>
                  </a:cubicBezTo>
                  <a:cubicBezTo>
                    <a:pt x="522" y="136"/>
                    <a:pt x="522" y="136"/>
                    <a:pt x="522" y="136"/>
                  </a:cubicBezTo>
                  <a:cubicBezTo>
                    <a:pt x="532" y="130"/>
                    <a:pt x="532" y="130"/>
                    <a:pt x="532" y="130"/>
                  </a:cubicBezTo>
                  <a:cubicBezTo>
                    <a:pt x="533" y="122"/>
                    <a:pt x="533" y="122"/>
                    <a:pt x="533" y="122"/>
                  </a:cubicBezTo>
                  <a:cubicBezTo>
                    <a:pt x="528" y="116"/>
                    <a:pt x="528" y="116"/>
                    <a:pt x="528" y="116"/>
                  </a:cubicBezTo>
                  <a:cubicBezTo>
                    <a:pt x="537" y="111"/>
                    <a:pt x="537" y="111"/>
                    <a:pt x="537" y="111"/>
                  </a:cubicBezTo>
                  <a:cubicBezTo>
                    <a:pt x="540" y="100"/>
                    <a:pt x="540" y="100"/>
                    <a:pt x="540" y="100"/>
                  </a:cubicBezTo>
                  <a:cubicBezTo>
                    <a:pt x="530" y="91"/>
                    <a:pt x="530" y="91"/>
                    <a:pt x="530" y="91"/>
                  </a:cubicBezTo>
                  <a:cubicBezTo>
                    <a:pt x="522" y="87"/>
                    <a:pt x="522" y="87"/>
                    <a:pt x="522" y="87"/>
                  </a:cubicBezTo>
                  <a:cubicBezTo>
                    <a:pt x="521" y="79"/>
                    <a:pt x="521" y="79"/>
                    <a:pt x="521" y="79"/>
                  </a:cubicBezTo>
                  <a:cubicBezTo>
                    <a:pt x="516" y="73"/>
                    <a:pt x="516" y="73"/>
                    <a:pt x="516" y="73"/>
                  </a:cubicBezTo>
                  <a:cubicBezTo>
                    <a:pt x="521" y="69"/>
                    <a:pt x="521" y="69"/>
                    <a:pt x="521" y="69"/>
                  </a:cubicBezTo>
                  <a:cubicBezTo>
                    <a:pt x="517" y="65"/>
                    <a:pt x="517" y="65"/>
                    <a:pt x="517" y="65"/>
                  </a:cubicBezTo>
                  <a:cubicBezTo>
                    <a:pt x="521" y="60"/>
                    <a:pt x="521" y="60"/>
                    <a:pt x="521" y="60"/>
                  </a:cubicBezTo>
                  <a:cubicBezTo>
                    <a:pt x="521" y="60"/>
                    <a:pt x="521" y="59"/>
                    <a:pt x="521" y="59"/>
                  </a:cubicBezTo>
                  <a:cubicBezTo>
                    <a:pt x="521" y="55"/>
                    <a:pt x="509" y="55"/>
                    <a:pt x="509" y="55"/>
                  </a:cubicBezTo>
                  <a:cubicBezTo>
                    <a:pt x="509" y="49"/>
                    <a:pt x="509" y="49"/>
                    <a:pt x="509" y="49"/>
                  </a:cubicBezTo>
                  <a:cubicBezTo>
                    <a:pt x="502" y="40"/>
                    <a:pt x="502" y="40"/>
                    <a:pt x="502" y="40"/>
                  </a:cubicBezTo>
                  <a:cubicBezTo>
                    <a:pt x="505" y="34"/>
                    <a:pt x="505" y="34"/>
                    <a:pt x="505" y="34"/>
                  </a:cubicBezTo>
                  <a:cubicBezTo>
                    <a:pt x="503" y="30"/>
                    <a:pt x="503" y="30"/>
                    <a:pt x="503" y="30"/>
                  </a:cubicBezTo>
                  <a:cubicBezTo>
                    <a:pt x="494" y="33"/>
                    <a:pt x="494" y="33"/>
                    <a:pt x="494" y="33"/>
                  </a:cubicBezTo>
                  <a:cubicBezTo>
                    <a:pt x="494" y="33"/>
                    <a:pt x="492" y="20"/>
                    <a:pt x="492" y="19"/>
                  </a:cubicBezTo>
                  <a:cubicBezTo>
                    <a:pt x="492" y="17"/>
                    <a:pt x="481" y="27"/>
                    <a:pt x="481" y="27"/>
                  </a:cubicBezTo>
                  <a:cubicBezTo>
                    <a:pt x="481" y="27"/>
                    <a:pt x="460" y="14"/>
                    <a:pt x="454" y="12"/>
                  </a:cubicBezTo>
                  <a:cubicBezTo>
                    <a:pt x="449" y="10"/>
                    <a:pt x="439" y="0"/>
                    <a:pt x="439" y="0"/>
                  </a:cubicBezTo>
                  <a:cubicBezTo>
                    <a:pt x="439" y="0"/>
                    <a:pt x="419" y="8"/>
                    <a:pt x="419" y="8"/>
                  </a:cubicBezTo>
                  <a:cubicBezTo>
                    <a:pt x="419" y="9"/>
                    <a:pt x="418" y="17"/>
                    <a:pt x="418" y="17"/>
                  </a:cubicBezTo>
                  <a:cubicBezTo>
                    <a:pt x="408" y="19"/>
                    <a:pt x="408" y="19"/>
                    <a:pt x="408" y="19"/>
                  </a:cubicBezTo>
                  <a:cubicBezTo>
                    <a:pt x="408" y="19"/>
                    <a:pt x="409" y="26"/>
                    <a:pt x="409" y="27"/>
                  </a:cubicBezTo>
                  <a:cubicBezTo>
                    <a:pt x="409" y="28"/>
                    <a:pt x="402" y="32"/>
                    <a:pt x="395" y="34"/>
                  </a:cubicBezTo>
                  <a:cubicBezTo>
                    <a:pt x="387" y="37"/>
                    <a:pt x="387" y="34"/>
                    <a:pt x="387" y="34"/>
                  </a:cubicBezTo>
                  <a:cubicBezTo>
                    <a:pt x="387" y="34"/>
                    <a:pt x="385" y="37"/>
                    <a:pt x="383" y="41"/>
                  </a:cubicBezTo>
                  <a:cubicBezTo>
                    <a:pt x="382" y="46"/>
                    <a:pt x="368" y="58"/>
                    <a:pt x="362" y="60"/>
                  </a:cubicBezTo>
                  <a:cubicBezTo>
                    <a:pt x="355" y="63"/>
                    <a:pt x="351" y="49"/>
                    <a:pt x="347" y="38"/>
                  </a:cubicBezTo>
                  <a:cubicBezTo>
                    <a:pt x="345" y="31"/>
                    <a:pt x="336" y="29"/>
                    <a:pt x="327" y="28"/>
                  </a:cubicBezTo>
                  <a:cubicBezTo>
                    <a:pt x="324" y="30"/>
                    <a:pt x="321" y="32"/>
                    <a:pt x="319" y="33"/>
                  </a:cubicBezTo>
                  <a:cubicBezTo>
                    <a:pt x="312" y="38"/>
                    <a:pt x="292" y="43"/>
                    <a:pt x="292" y="43"/>
                  </a:cubicBezTo>
                  <a:cubicBezTo>
                    <a:pt x="267" y="45"/>
                    <a:pt x="267" y="45"/>
                    <a:pt x="267" y="45"/>
                  </a:cubicBezTo>
                  <a:cubicBezTo>
                    <a:pt x="267" y="45"/>
                    <a:pt x="239" y="62"/>
                    <a:pt x="230" y="63"/>
                  </a:cubicBezTo>
                  <a:cubicBezTo>
                    <a:pt x="221" y="64"/>
                    <a:pt x="219" y="53"/>
                    <a:pt x="219" y="53"/>
                  </a:cubicBezTo>
                  <a:cubicBezTo>
                    <a:pt x="209" y="56"/>
                    <a:pt x="209" y="56"/>
                    <a:pt x="209" y="56"/>
                  </a:cubicBezTo>
                  <a:cubicBezTo>
                    <a:pt x="190" y="44"/>
                    <a:pt x="190" y="44"/>
                    <a:pt x="190" y="44"/>
                  </a:cubicBezTo>
                  <a:cubicBezTo>
                    <a:pt x="190" y="44"/>
                    <a:pt x="173" y="59"/>
                    <a:pt x="169" y="65"/>
                  </a:cubicBezTo>
                  <a:cubicBezTo>
                    <a:pt x="165" y="71"/>
                    <a:pt x="176" y="76"/>
                    <a:pt x="178" y="84"/>
                  </a:cubicBezTo>
                  <a:cubicBezTo>
                    <a:pt x="180" y="92"/>
                    <a:pt x="171" y="110"/>
                    <a:pt x="171" y="112"/>
                  </a:cubicBezTo>
                  <a:cubicBezTo>
                    <a:pt x="171" y="114"/>
                    <a:pt x="160" y="114"/>
                    <a:pt x="160" y="114"/>
                  </a:cubicBezTo>
                  <a:cubicBezTo>
                    <a:pt x="160" y="114"/>
                    <a:pt x="151" y="127"/>
                    <a:pt x="151" y="128"/>
                  </a:cubicBezTo>
                  <a:cubicBezTo>
                    <a:pt x="150" y="130"/>
                    <a:pt x="138" y="123"/>
                    <a:pt x="138" y="123"/>
                  </a:cubicBezTo>
                  <a:cubicBezTo>
                    <a:pt x="136" y="130"/>
                    <a:pt x="136" y="130"/>
                    <a:pt x="136" y="130"/>
                  </a:cubicBezTo>
                  <a:cubicBezTo>
                    <a:pt x="124" y="127"/>
                    <a:pt x="124" y="127"/>
                    <a:pt x="124" y="127"/>
                  </a:cubicBezTo>
                  <a:cubicBezTo>
                    <a:pt x="124" y="127"/>
                    <a:pt x="118" y="142"/>
                    <a:pt x="105" y="145"/>
                  </a:cubicBezTo>
                  <a:cubicBezTo>
                    <a:pt x="92" y="148"/>
                    <a:pt x="92" y="138"/>
                    <a:pt x="82" y="137"/>
                  </a:cubicBezTo>
                  <a:cubicBezTo>
                    <a:pt x="72" y="136"/>
                    <a:pt x="73" y="120"/>
                    <a:pt x="73" y="113"/>
                  </a:cubicBezTo>
                  <a:cubicBezTo>
                    <a:pt x="73" y="107"/>
                    <a:pt x="65" y="99"/>
                    <a:pt x="65" y="99"/>
                  </a:cubicBezTo>
                  <a:cubicBezTo>
                    <a:pt x="59" y="102"/>
                    <a:pt x="59" y="102"/>
                    <a:pt x="59" y="102"/>
                  </a:cubicBezTo>
                  <a:cubicBezTo>
                    <a:pt x="61" y="106"/>
                    <a:pt x="61" y="106"/>
                    <a:pt x="61" y="106"/>
                  </a:cubicBezTo>
                  <a:cubicBezTo>
                    <a:pt x="61" y="106"/>
                    <a:pt x="38" y="126"/>
                    <a:pt x="32" y="126"/>
                  </a:cubicBezTo>
                  <a:cubicBezTo>
                    <a:pt x="26" y="126"/>
                    <a:pt x="23" y="126"/>
                    <a:pt x="23" y="126"/>
                  </a:cubicBezTo>
                  <a:cubicBezTo>
                    <a:pt x="20" y="145"/>
                    <a:pt x="20" y="145"/>
                    <a:pt x="20" y="145"/>
                  </a:cubicBezTo>
                  <a:cubicBezTo>
                    <a:pt x="0" y="167"/>
                    <a:pt x="0" y="167"/>
                    <a:pt x="0" y="167"/>
                  </a:cubicBezTo>
                  <a:cubicBezTo>
                    <a:pt x="0" y="167"/>
                    <a:pt x="1" y="183"/>
                    <a:pt x="10" y="183"/>
                  </a:cubicBezTo>
                  <a:cubicBezTo>
                    <a:pt x="20" y="184"/>
                    <a:pt x="30" y="187"/>
                    <a:pt x="30" y="187"/>
                  </a:cubicBezTo>
                  <a:cubicBezTo>
                    <a:pt x="19" y="198"/>
                    <a:pt x="19" y="198"/>
                    <a:pt x="19" y="198"/>
                  </a:cubicBezTo>
                  <a:cubicBezTo>
                    <a:pt x="29" y="204"/>
                    <a:pt x="29" y="204"/>
                    <a:pt x="29" y="204"/>
                  </a:cubicBezTo>
                  <a:cubicBezTo>
                    <a:pt x="17" y="210"/>
                    <a:pt x="17" y="210"/>
                    <a:pt x="17" y="210"/>
                  </a:cubicBezTo>
                  <a:cubicBezTo>
                    <a:pt x="15" y="226"/>
                    <a:pt x="15" y="226"/>
                    <a:pt x="15" y="226"/>
                  </a:cubicBezTo>
                  <a:cubicBezTo>
                    <a:pt x="15" y="226"/>
                    <a:pt x="30" y="233"/>
                    <a:pt x="27" y="241"/>
                  </a:cubicBezTo>
                  <a:cubicBezTo>
                    <a:pt x="25" y="250"/>
                    <a:pt x="14" y="265"/>
                    <a:pt x="15" y="265"/>
                  </a:cubicBezTo>
                  <a:cubicBezTo>
                    <a:pt x="17" y="265"/>
                    <a:pt x="31" y="268"/>
                    <a:pt x="31" y="268"/>
                  </a:cubicBezTo>
                  <a:cubicBezTo>
                    <a:pt x="19" y="276"/>
                    <a:pt x="19" y="276"/>
                    <a:pt x="19" y="276"/>
                  </a:cubicBezTo>
                  <a:cubicBezTo>
                    <a:pt x="37" y="291"/>
                    <a:pt x="37" y="291"/>
                    <a:pt x="37" y="291"/>
                  </a:cubicBezTo>
                  <a:cubicBezTo>
                    <a:pt x="37" y="291"/>
                    <a:pt x="29" y="307"/>
                    <a:pt x="26" y="317"/>
                  </a:cubicBezTo>
                  <a:cubicBezTo>
                    <a:pt x="23" y="327"/>
                    <a:pt x="21" y="330"/>
                    <a:pt x="21" y="330"/>
                  </a:cubicBezTo>
                  <a:cubicBezTo>
                    <a:pt x="46" y="355"/>
                    <a:pt x="46" y="355"/>
                    <a:pt x="46" y="355"/>
                  </a:cubicBezTo>
                  <a:cubicBezTo>
                    <a:pt x="37" y="361"/>
                    <a:pt x="37" y="361"/>
                    <a:pt x="37" y="361"/>
                  </a:cubicBezTo>
                  <a:cubicBezTo>
                    <a:pt x="36" y="387"/>
                    <a:pt x="36" y="387"/>
                    <a:pt x="36" y="387"/>
                  </a:cubicBezTo>
                  <a:cubicBezTo>
                    <a:pt x="44" y="393"/>
                    <a:pt x="44" y="393"/>
                    <a:pt x="44" y="393"/>
                  </a:cubicBezTo>
                  <a:cubicBezTo>
                    <a:pt x="44" y="393"/>
                    <a:pt x="32" y="400"/>
                    <a:pt x="32" y="401"/>
                  </a:cubicBezTo>
                  <a:cubicBezTo>
                    <a:pt x="32" y="402"/>
                    <a:pt x="35" y="409"/>
                    <a:pt x="35" y="409"/>
                  </a:cubicBezTo>
                  <a:cubicBezTo>
                    <a:pt x="35" y="409"/>
                    <a:pt x="55" y="390"/>
                    <a:pt x="61" y="390"/>
                  </a:cubicBezTo>
                  <a:cubicBezTo>
                    <a:pt x="67" y="389"/>
                    <a:pt x="93" y="378"/>
                    <a:pt x="99" y="372"/>
                  </a:cubicBezTo>
                  <a:cubicBezTo>
                    <a:pt x="104" y="366"/>
                    <a:pt x="128" y="351"/>
                    <a:pt x="128" y="351"/>
                  </a:cubicBezTo>
                  <a:cubicBezTo>
                    <a:pt x="128" y="351"/>
                    <a:pt x="168" y="338"/>
                    <a:pt x="169" y="350"/>
                  </a:cubicBezTo>
                  <a:cubicBezTo>
                    <a:pt x="169" y="363"/>
                    <a:pt x="164" y="366"/>
                    <a:pt x="164" y="366"/>
                  </a:cubicBezTo>
                  <a:cubicBezTo>
                    <a:pt x="192" y="379"/>
                    <a:pt x="192" y="379"/>
                    <a:pt x="192" y="379"/>
                  </a:cubicBezTo>
                  <a:cubicBezTo>
                    <a:pt x="192" y="379"/>
                    <a:pt x="200" y="370"/>
                    <a:pt x="211" y="372"/>
                  </a:cubicBezTo>
                  <a:cubicBezTo>
                    <a:pt x="222" y="374"/>
                    <a:pt x="256" y="400"/>
                    <a:pt x="256" y="400"/>
                  </a:cubicBezTo>
                  <a:cubicBezTo>
                    <a:pt x="256" y="400"/>
                    <a:pt x="281" y="406"/>
                    <a:pt x="282" y="404"/>
                  </a:cubicBezTo>
                  <a:cubicBezTo>
                    <a:pt x="283" y="403"/>
                    <a:pt x="287" y="397"/>
                    <a:pt x="287" y="397"/>
                  </a:cubicBezTo>
                  <a:cubicBezTo>
                    <a:pt x="321" y="423"/>
                    <a:pt x="321" y="423"/>
                    <a:pt x="321" y="423"/>
                  </a:cubicBezTo>
                  <a:cubicBezTo>
                    <a:pt x="321" y="436"/>
                    <a:pt x="321" y="436"/>
                    <a:pt x="321" y="436"/>
                  </a:cubicBezTo>
                  <a:cubicBezTo>
                    <a:pt x="338" y="436"/>
                    <a:pt x="338" y="436"/>
                    <a:pt x="338" y="436"/>
                  </a:cubicBezTo>
                  <a:cubicBezTo>
                    <a:pt x="338" y="436"/>
                    <a:pt x="341" y="427"/>
                    <a:pt x="349" y="430"/>
                  </a:cubicBezTo>
                  <a:cubicBezTo>
                    <a:pt x="357" y="432"/>
                    <a:pt x="410" y="452"/>
                    <a:pt x="407" y="461"/>
                  </a:cubicBezTo>
                  <a:cubicBezTo>
                    <a:pt x="405" y="470"/>
                    <a:pt x="392" y="487"/>
                    <a:pt x="392" y="487"/>
                  </a:cubicBezTo>
                  <a:cubicBezTo>
                    <a:pt x="385" y="487"/>
                    <a:pt x="385" y="487"/>
                    <a:pt x="385" y="487"/>
                  </a:cubicBezTo>
                  <a:cubicBezTo>
                    <a:pt x="380" y="498"/>
                    <a:pt x="380" y="498"/>
                    <a:pt x="380" y="498"/>
                  </a:cubicBezTo>
                  <a:cubicBezTo>
                    <a:pt x="388" y="508"/>
                    <a:pt x="388" y="508"/>
                    <a:pt x="388" y="508"/>
                  </a:cubicBezTo>
                  <a:cubicBezTo>
                    <a:pt x="370" y="509"/>
                    <a:pt x="370" y="509"/>
                    <a:pt x="370" y="509"/>
                  </a:cubicBezTo>
                  <a:cubicBezTo>
                    <a:pt x="364" y="535"/>
                    <a:pt x="364" y="535"/>
                    <a:pt x="364" y="535"/>
                  </a:cubicBezTo>
                  <a:cubicBezTo>
                    <a:pt x="392" y="562"/>
                    <a:pt x="392" y="562"/>
                    <a:pt x="392" y="562"/>
                  </a:cubicBezTo>
                  <a:cubicBezTo>
                    <a:pt x="387" y="571"/>
                    <a:pt x="387" y="571"/>
                    <a:pt x="387" y="571"/>
                  </a:cubicBezTo>
                  <a:cubicBezTo>
                    <a:pt x="417" y="589"/>
                    <a:pt x="417" y="589"/>
                    <a:pt x="417" y="589"/>
                  </a:cubicBezTo>
                  <a:cubicBezTo>
                    <a:pt x="417" y="589"/>
                    <a:pt x="417" y="589"/>
                    <a:pt x="417" y="589"/>
                  </a:cubicBezTo>
                  <a:cubicBezTo>
                    <a:pt x="421" y="591"/>
                    <a:pt x="421" y="591"/>
                    <a:pt x="421" y="591"/>
                  </a:cubicBezTo>
                  <a:cubicBezTo>
                    <a:pt x="421" y="592"/>
                    <a:pt x="421" y="592"/>
                    <a:pt x="421" y="592"/>
                  </a:cubicBezTo>
                  <a:cubicBezTo>
                    <a:pt x="421" y="592"/>
                    <a:pt x="422" y="592"/>
                    <a:pt x="423" y="592"/>
                  </a:cubicBezTo>
                  <a:cubicBezTo>
                    <a:pt x="424" y="589"/>
                    <a:pt x="427" y="581"/>
                    <a:pt x="432" y="574"/>
                  </a:cubicBezTo>
                  <a:cubicBezTo>
                    <a:pt x="438" y="566"/>
                    <a:pt x="453" y="555"/>
                    <a:pt x="453" y="555"/>
                  </a:cubicBezTo>
                  <a:cubicBezTo>
                    <a:pt x="453" y="555"/>
                    <a:pt x="445" y="530"/>
                    <a:pt x="446" y="530"/>
                  </a:cubicBezTo>
                  <a:cubicBezTo>
                    <a:pt x="447" y="530"/>
                    <a:pt x="460" y="475"/>
                    <a:pt x="460" y="469"/>
                  </a:cubicBezTo>
                  <a:cubicBezTo>
                    <a:pt x="461" y="463"/>
                    <a:pt x="471" y="440"/>
                    <a:pt x="471" y="440"/>
                  </a:cubicBezTo>
                  <a:cubicBezTo>
                    <a:pt x="464" y="432"/>
                    <a:pt x="464" y="432"/>
                    <a:pt x="464" y="432"/>
                  </a:cubicBezTo>
                  <a:cubicBezTo>
                    <a:pt x="464" y="432"/>
                    <a:pt x="461" y="382"/>
                    <a:pt x="462" y="382"/>
                  </a:cubicBezTo>
                  <a:cubicBezTo>
                    <a:pt x="463" y="381"/>
                    <a:pt x="456" y="377"/>
                    <a:pt x="456" y="372"/>
                  </a:cubicBezTo>
                  <a:cubicBezTo>
                    <a:pt x="456" y="366"/>
                    <a:pt x="460" y="364"/>
                    <a:pt x="460" y="364"/>
                  </a:cubicBezTo>
                  <a:cubicBezTo>
                    <a:pt x="467" y="326"/>
                    <a:pt x="467" y="326"/>
                    <a:pt x="467" y="326"/>
                  </a:cubicBezTo>
                  <a:cubicBezTo>
                    <a:pt x="461" y="316"/>
                    <a:pt x="461" y="316"/>
                    <a:pt x="461" y="316"/>
                  </a:cubicBezTo>
                  <a:cubicBezTo>
                    <a:pt x="469" y="309"/>
                    <a:pt x="469" y="309"/>
                    <a:pt x="469" y="309"/>
                  </a:cubicBezTo>
                  <a:cubicBezTo>
                    <a:pt x="465" y="283"/>
                    <a:pt x="465" y="283"/>
                    <a:pt x="465" y="283"/>
                  </a:cubicBezTo>
                  <a:cubicBezTo>
                    <a:pt x="485" y="266"/>
                    <a:pt x="485" y="266"/>
                    <a:pt x="485" y="266"/>
                  </a:cubicBezTo>
                  <a:cubicBezTo>
                    <a:pt x="496" y="271"/>
                    <a:pt x="496" y="271"/>
                    <a:pt x="496" y="271"/>
                  </a:cubicBezTo>
                  <a:cubicBezTo>
                    <a:pt x="496" y="271"/>
                    <a:pt x="526" y="242"/>
                    <a:pt x="539" y="217"/>
                  </a:cubicBezTo>
                  <a:cubicBezTo>
                    <a:pt x="544" y="209"/>
                    <a:pt x="551" y="197"/>
                    <a:pt x="558" y="185"/>
                  </a:cubicBezTo>
                  <a:cubicBezTo>
                    <a:pt x="535" y="184"/>
                    <a:pt x="535" y="184"/>
                    <a:pt x="535" y="184"/>
                  </a:cubicBezTo>
                  <a:lnTo>
                    <a:pt x="530" y="17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73" name="Freeform 325">
              <a:extLst>
                <a:ext uri="{FF2B5EF4-FFF2-40B4-BE49-F238E27FC236}">
                  <a16:creationId xmlns:a16="http://schemas.microsoft.com/office/drawing/2014/main" id="{E19C28AB-2A31-46F0-91C2-FAAEA1F47F48}"/>
                </a:ext>
              </a:extLst>
            </p:cNvPr>
            <p:cNvSpPr>
              <a:spLocks noChangeAspect="1"/>
            </p:cNvSpPr>
            <p:nvPr/>
          </p:nvSpPr>
          <p:spPr bwMode="auto">
            <a:xfrm>
              <a:off x="11527" y="1760"/>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174" name="Freeform 323">
              <a:extLst>
                <a:ext uri="{FF2B5EF4-FFF2-40B4-BE49-F238E27FC236}">
                  <a16:creationId xmlns:a16="http://schemas.microsoft.com/office/drawing/2014/main" id="{47654D4F-39D0-4D84-9C18-4A8520931A74}"/>
                </a:ext>
              </a:extLst>
            </p:cNvPr>
            <p:cNvSpPr>
              <a:spLocks noChangeAspect="1"/>
            </p:cNvSpPr>
            <p:nvPr/>
          </p:nvSpPr>
          <p:spPr bwMode="auto">
            <a:xfrm>
              <a:off x="11848" y="564"/>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grpSp>
      <p:grpSp>
        <p:nvGrpSpPr>
          <p:cNvPr id="175" name="Agrupar 174">
            <a:extLst>
              <a:ext uri="{FF2B5EF4-FFF2-40B4-BE49-F238E27FC236}">
                <a16:creationId xmlns:a16="http://schemas.microsoft.com/office/drawing/2014/main" id="{2C60D0E4-7FE8-463F-8E7F-625A596411E7}"/>
              </a:ext>
            </a:extLst>
          </p:cNvPr>
          <p:cNvGrpSpPr/>
          <p:nvPr/>
        </p:nvGrpSpPr>
        <p:grpSpPr>
          <a:xfrm>
            <a:off x="3823999" y="3198629"/>
            <a:ext cx="1059206" cy="370773"/>
            <a:chOff x="3642023" y="2684969"/>
            <a:chExt cx="1249222" cy="446931"/>
          </a:xfrm>
        </p:grpSpPr>
        <p:sp>
          <p:nvSpPr>
            <p:cNvPr id="176" name="Retângulo 175">
              <a:extLst>
                <a:ext uri="{FF2B5EF4-FFF2-40B4-BE49-F238E27FC236}">
                  <a16:creationId xmlns:a16="http://schemas.microsoft.com/office/drawing/2014/main" id="{90C262D8-FB1E-4016-8D32-796F7A4CD68A}"/>
                </a:ext>
              </a:extLst>
            </p:cNvPr>
            <p:cNvSpPr/>
            <p:nvPr/>
          </p:nvSpPr>
          <p:spPr>
            <a:xfrm>
              <a:off x="3682523" y="2684969"/>
              <a:ext cx="966461" cy="222597"/>
            </a:xfrm>
            <a:prstGeom prst="rect">
              <a:avLst/>
            </a:prstGeom>
          </p:spPr>
          <p:txBody>
            <a:bodyPr wrap="none">
              <a:spAutoFit/>
            </a:bodyPr>
            <a:lstStyle/>
            <a:p>
              <a:r>
                <a:rPr lang="pt-BR" sz="600" dirty="0" err="1"/>
                <a:t>Current</a:t>
              </a:r>
              <a:r>
                <a:rPr lang="pt-BR" sz="600" dirty="0"/>
                <a:t> </a:t>
              </a:r>
              <a:r>
                <a:rPr lang="pt-BR" sz="600" dirty="0" err="1"/>
                <a:t>activity</a:t>
              </a:r>
              <a:r>
                <a:rPr lang="pt-BR" sz="600" dirty="0"/>
                <a:t> VDB</a:t>
              </a:r>
              <a:endParaRPr lang="en-US" sz="600" dirty="0"/>
            </a:p>
          </p:txBody>
        </p:sp>
        <p:sp>
          <p:nvSpPr>
            <p:cNvPr id="177" name="Retângulo 176">
              <a:extLst>
                <a:ext uri="{FF2B5EF4-FFF2-40B4-BE49-F238E27FC236}">
                  <a16:creationId xmlns:a16="http://schemas.microsoft.com/office/drawing/2014/main" id="{4D2EC581-79CE-4C30-8579-458E4376F697}"/>
                </a:ext>
              </a:extLst>
            </p:cNvPr>
            <p:cNvSpPr/>
            <p:nvPr/>
          </p:nvSpPr>
          <p:spPr>
            <a:xfrm>
              <a:off x="3642023" y="2777885"/>
              <a:ext cx="45719" cy="61613"/>
            </a:xfrm>
            <a:prstGeom prst="rect">
              <a:avLst/>
            </a:prstGeom>
            <a:solidFill>
              <a:srgbClr val="2097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8" name="Retângulo 177">
              <a:extLst>
                <a:ext uri="{FF2B5EF4-FFF2-40B4-BE49-F238E27FC236}">
                  <a16:creationId xmlns:a16="http://schemas.microsoft.com/office/drawing/2014/main" id="{7D2A95FA-DF38-461B-BB58-022AB44AE804}"/>
                </a:ext>
              </a:extLst>
            </p:cNvPr>
            <p:cNvSpPr/>
            <p:nvPr/>
          </p:nvSpPr>
          <p:spPr>
            <a:xfrm>
              <a:off x="3643555" y="2871910"/>
              <a:ext cx="44918" cy="67087"/>
            </a:xfrm>
            <a:prstGeom prst="rect">
              <a:avLst/>
            </a:prstGeom>
            <a:solidFill>
              <a:srgbClr val="92D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9" name="Retângulo 178">
              <a:extLst>
                <a:ext uri="{FF2B5EF4-FFF2-40B4-BE49-F238E27FC236}">
                  <a16:creationId xmlns:a16="http://schemas.microsoft.com/office/drawing/2014/main" id="{0430BCD3-C332-4A9E-8D35-A796F03DAF07}"/>
                </a:ext>
              </a:extLst>
            </p:cNvPr>
            <p:cNvSpPr/>
            <p:nvPr/>
          </p:nvSpPr>
          <p:spPr>
            <a:xfrm>
              <a:off x="3697915" y="2796897"/>
              <a:ext cx="1193330" cy="222597"/>
            </a:xfrm>
            <a:prstGeom prst="rect">
              <a:avLst/>
            </a:prstGeom>
          </p:spPr>
          <p:txBody>
            <a:bodyPr wrap="none">
              <a:spAutoFit/>
            </a:bodyPr>
            <a:lstStyle/>
            <a:p>
              <a:r>
                <a:rPr lang="pt-BR" sz="600" dirty="0"/>
                <a:t>New business </a:t>
              </a:r>
              <a:r>
                <a:rPr lang="pt-BR" sz="600" dirty="0" err="1"/>
                <a:t>regions</a:t>
              </a:r>
              <a:r>
                <a:rPr lang="pt-BR" sz="600" dirty="0"/>
                <a:t> VDB</a:t>
              </a:r>
              <a:endParaRPr lang="en-US" sz="600" dirty="0"/>
            </a:p>
          </p:txBody>
        </p:sp>
        <p:sp>
          <p:nvSpPr>
            <p:cNvPr id="180" name="Retângulo 179">
              <a:extLst>
                <a:ext uri="{FF2B5EF4-FFF2-40B4-BE49-F238E27FC236}">
                  <a16:creationId xmlns:a16="http://schemas.microsoft.com/office/drawing/2014/main" id="{51865B99-9441-40F1-AE67-CB2E7AC8B3B3}"/>
                </a:ext>
              </a:extLst>
            </p:cNvPr>
            <p:cNvSpPr/>
            <p:nvPr/>
          </p:nvSpPr>
          <p:spPr>
            <a:xfrm>
              <a:off x="3642824" y="2973978"/>
              <a:ext cx="44918" cy="67087"/>
            </a:xfrm>
            <a:prstGeom prst="rect">
              <a:avLst/>
            </a:prstGeom>
            <a:solidFill>
              <a:schemeClr val="accent1">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1" name="Retângulo 180">
              <a:extLst>
                <a:ext uri="{FF2B5EF4-FFF2-40B4-BE49-F238E27FC236}">
                  <a16:creationId xmlns:a16="http://schemas.microsoft.com/office/drawing/2014/main" id="{65BEB6FD-A3D5-4C71-8609-9A62BC89066A}"/>
                </a:ext>
              </a:extLst>
            </p:cNvPr>
            <p:cNvSpPr/>
            <p:nvPr/>
          </p:nvSpPr>
          <p:spPr>
            <a:xfrm>
              <a:off x="3702813" y="2909303"/>
              <a:ext cx="1100693" cy="222597"/>
            </a:xfrm>
            <a:prstGeom prst="rect">
              <a:avLst/>
            </a:prstGeom>
          </p:spPr>
          <p:txBody>
            <a:bodyPr wrap="none">
              <a:spAutoFit/>
            </a:bodyPr>
            <a:lstStyle/>
            <a:p>
              <a:r>
                <a:rPr lang="pt-BR" sz="600" dirty="0" err="1"/>
                <a:t>Partner</a:t>
              </a:r>
              <a:r>
                <a:rPr lang="pt-BR" sz="600" dirty="0"/>
                <a:t> MATOPIBA VDB</a:t>
              </a:r>
              <a:endParaRPr lang="en-US" sz="600" dirty="0"/>
            </a:p>
          </p:txBody>
        </p:sp>
      </p:grpSp>
      <p:grpSp>
        <p:nvGrpSpPr>
          <p:cNvPr id="182" name="Agrupar 181">
            <a:extLst>
              <a:ext uri="{FF2B5EF4-FFF2-40B4-BE49-F238E27FC236}">
                <a16:creationId xmlns:a16="http://schemas.microsoft.com/office/drawing/2014/main" id="{A436918F-C2B9-4617-9ADB-E53650E2AFA4}"/>
              </a:ext>
            </a:extLst>
          </p:cNvPr>
          <p:cNvGrpSpPr/>
          <p:nvPr/>
        </p:nvGrpSpPr>
        <p:grpSpPr>
          <a:xfrm>
            <a:off x="5512514" y="3187051"/>
            <a:ext cx="1059206" cy="370773"/>
            <a:chOff x="3642023" y="2684969"/>
            <a:chExt cx="1249222" cy="446931"/>
          </a:xfrm>
        </p:grpSpPr>
        <p:sp>
          <p:nvSpPr>
            <p:cNvPr id="183" name="Retângulo 182">
              <a:extLst>
                <a:ext uri="{FF2B5EF4-FFF2-40B4-BE49-F238E27FC236}">
                  <a16:creationId xmlns:a16="http://schemas.microsoft.com/office/drawing/2014/main" id="{CD032F4B-E2A8-4861-998A-FA0AFA835C3A}"/>
                </a:ext>
              </a:extLst>
            </p:cNvPr>
            <p:cNvSpPr/>
            <p:nvPr/>
          </p:nvSpPr>
          <p:spPr>
            <a:xfrm>
              <a:off x="3682523" y="2684969"/>
              <a:ext cx="1015616" cy="222597"/>
            </a:xfrm>
            <a:prstGeom prst="rect">
              <a:avLst/>
            </a:prstGeom>
          </p:spPr>
          <p:txBody>
            <a:bodyPr wrap="none">
              <a:spAutoFit/>
            </a:bodyPr>
            <a:lstStyle/>
            <a:p>
              <a:r>
                <a:rPr lang="pt-BR" sz="600" dirty="0" err="1"/>
                <a:t>Current</a:t>
              </a:r>
              <a:r>
                <a:rPr lang="pt-BR" sz="600" dirty="0"/>
                <a:t> business VDB</a:t>
              </a:r>
              <a:endParaRPr lang="en-US" sz="600" dirty="0"/>
            </a:p>
          </p:txBody>
        </p:sp>
        <p:sp>
          <p:nvSpPr>
            <p:cNvPr id="184" name="Retângulo 183">
              <a:extLst>
                <a:ext uri="{FF2B5EF4-FFF2-40B4-BE49-F238E27FC236}">
                  <a16:creationId xmlns:a16="http://schemas.microsoft.com/office/drawing/2014/main" id="{19600D1A-2573-4EDA-AFDB-6F0BE9454A14}"/>
                </a:ext>
              </a:extLst>
            </p:cNvPr>
            <p:cNvSpPr/>
            <p:nvPr/>
          </p:nvSpPr>
          <p:spPr>
            <a:xfrm>
              <a:off x="3642023" y="2777885"/>
              <a:ext cx="45719" cy="61613"/>
            </a:xfrm>
            <a:prstGeom prst="rect">
              <a:avLst/>
            </a:prstGeom>
            <a:solidFill>
              <a:srgbClr val="2097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5" name="Retângulo 184">
              <a:extLst>
                <a:ext uri="{FF2B5EF4-FFF2-40B4-BE49-F238E27FC236}">
                  <a16:creationId xmlns:a16="http://schemas.microsoft.com/office/drawing/2014/main" id="{CE037028-CEEE-4861-81F0-47005E3D1598}"/>
                </a:ext>
              </a:extLst>
            </p:cNvPr>
            <p:cNvSpPr/>
            <p:nvPr/>
          </p:nvSpPr>
          <p:spPr>
            <a:xfrm>
              <a:off x="3643555" y="2871910"/>
              <a:ext cx="44918" cy="67087"/>
            </a:xfrm>
            <a:prstGeom prst="rect">
              <a:avLst/>
            </a:prstGeom>
            <a:solidFill>
              <a:srgbClr val="92D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6" name="Retângulo 185">
              <a:extLst>
                <a:ext uri="{FF2B5EF4-FFF2-40B4-BE49-F238E27FC236}">
                  <a16:creationId xmlns:a16="http://schemas.microsoft.com/office/drawing/2014/main" id="{055BB441-7C9D-49AD-93BF-24CE647247D2}"/>
                </a:ext>
              </a:extLst>
            </p:cNvPr>
            <p:cNvSpPr/>
            <p:nvPr/>
          </p:nvSpPr>
          <p:spPr>
            <a:xfrm>
              <a:off x="3697915" y="2796897"/>
              <a:ext cx="1193330" cy="222597"/>
            </a:xfrm>
            <a:prstGeom prst="rect">
              <a:avLst/>
            </a:prstGeom>
          </p:spPr>
          <p:txBody>
            <a:bodyPr wrap="none">
              <a:spAutoFit/>
            </a:bodyPr>
            <a:lstStyle/>
            <a:p>
              <a:r>
                <a:rPr lang="pt-BR" sz="600" dirty="0"/>
                <a:t>New business </a:t>
              </a:r>
              <a:r>
                <a:rPr lang="pt-BR" sz="600" dirty="0" err="1"/>
                <a:t>regions</a:t>
              </a:r>
              <a:r>
                <a:rPr lang="pt-BR" sz="600" dirty="0"/>
                <a:t> VDB</a:t>
              </a:r>
              <a:endParaRPr lang="en-US" sz="600" dirty="0"/>
            </a:p>
          </p:txBody>
        </p:sp>
        <p:sp>
          <p:nvSpPr>
            <p:cNvPr id="187" name="Retângulo 186">
              <a:extLst>
                <a:ext uri="{FF2B5EF4-FFF2-40B4-BE49-F238E27FC236}">
                  <a16:creationId xmlns:a16="http://schemas.microsoft.com/office/drawing/2014/main" id="{77AC47C8-3C94-48FB-8446-407CCE4FA2C2}"/>
                </a:ext>
              </a:extLst>
            </p:cNvPr>
            <p:cNvSpPr/>
            <p:nvPr/>
          </p:nvSpPr>
          <p:spPr>
            <a:xfrm>
              <a:off x="3642824" y="2973978"/>
              <a:ext cx="44918" cy="67087"/>
            </a:xfrm>
            <a:prstGeom prst="rect">
              <a:avLst/>
            </a:prstGeom>
            <a:solidFill>
              <a:schemeClr val="accent1">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8" name="Retângulo 187">
              <a:extLst>
                <a:ext uri="{FF2B5EF4-FFF2-40B4-BE49-F238E27FC236}">
                  <a16:creationId xmlns:a16="http://schemas.microsoft.com/office/drawing/2014/main" id="{4E703F12-3D0C-414D-B656-54B78FC17E09}"/>
                </a:ext>
              </a:extLst>
            </p:cNvPr>
            <p:cNvSpPr/>
            <p:nvPr/>
          </p:nvSpPr>
          <p:spPr>
            <a:xfrm>
              <a:off x="3702813" y="2909303"/>
              <a:ext cx="1100693" cy="222597"/>
            </a:xfrm>
            <a:prstGeom prst="rect">
              <a:avLst/>
            </a:prstGeom>
          </p:spPr>
          <p:txBody>
            <a:bodyPr wrap="none">
              <a:spAutoFit/>
            </a:bodyPr>
            <a:lstStyle/>
            <a:p>
              <a:r>
                <a:rPr lang="pt-BR" sz="600" dirty="0" err="1"/>
                <a:t>Partner</a:t>
              </a:r>
              <a:r>
                <a:rPr lang="pt-BR" sz="600" dirty="0"/>
                <a:t> MATOPIBA VDB</a:t>
              </a:r>
              <a:endParaRPr lang="en-US" sz="600" dirty="0"/>
            </a:p>
          </p:txBody>
        </p:sp>
      </p:grpSp>
      <p:grpSp>
        <p:nvGrpSpPr>
          <p:cNvPr id="189" name="Agrupar 188">
            <a:extLst>
              <a:ext uri="{FF2B5EF4-FFF2-40B4-BE49-F238E27FC236}">
                <a16:creationId xmlns:a16="http://schemas.microsoft.com/office/drawing/2014/main" id="{85CC12D0-F14A-4981-AE0C-A0A3D6E89CD6}"/>
              </a:ext>
            </a:extLst>
          </p:cNvPr>
          <p:cNvGrpSpPr/>
          <p:nvPr/>
        </p:nvGrpSpPr>
        <p:grpSpPr>
          <a:xfrm>
            <a:off x="7216147" y="3176318"/>
            <a:ext cx="1059206" cy="370773"/>
            <a:chOff x="3642023" y="2684969"/>
            <a:chExt cx="1249222" cy="446931"/>
          </a:xfrm>
        </p:grpSpPr>
        <p:sp>
          <p:nvSpPr>
            <p:cNvPr id="190" name="Retângulo 189">
              <a:extLst>
                <a:ext uri="{FF2B5EF4-FFF2-40B4-BE49-F238E27FC236}">
                  <a16:creationId xmlns:a16="http://schemas.microsoft.com/office/drawing/2014/main" id="{92EC2223-54B3-4D10-AE24-1B3576406D9F}"/>
                </a:ext>
              </a:extLst>
            </p:cNvPr>
            <p:cNvSpPr/>
            <p:nvPr/>
          </p:nvSpPr>
          <p:spPr>
            <a:xfrm>
              <a:off x="3682523" y="2684969"/>
              <a:ext cx="1015616" cy="222597"/>
            </a:xfrm>
            <a:prstGeom prst="rect">
              <a:avLst/>
            </a:prstGeom>
          </p:spPr>
          <p:txBody>
            <a:bodyPr wrap="none">
              <a:spAutoFit/>
            </a:bodyPr>
            <a:lstStyle/>
            <a:p>
              <a:r>
                <a:rPr lang="pt-BR" sz="600" dirty="0" err="1"/>
                <a:t>Current</a:t>
              </a:r>
              <a:r>
                <a:rPr lang="pt-BR" sz="600" dirty="0"/>
                <a:t> business VDB</a:t>
              </a:r>
              <a:endParaRPr lang="en-US" sz="600" dirty="0"/>
            </a:p>
          </p:txBody>
        </p:sp>
        <p:sp>
          <p:nvSpPr>
            <p:cNvPr id="191" name="Retângulo 190">
              <a:extLst>
                <a:ext uri="{FF2B5EF4-FFF2-40B4-BE49-F238E27FC236}">
                  <a16:creationId xmlns:a16="http://schemas.microsoft.com/office/drawing/2014/main" id="{FE920CB3-1123-4CF7-94AF-BAE94E177122}"/>
                </a:ext>
              </a:extLst>
            </p:cNvPr>
            <p:cNvSpPr/>
            <p:nvPr/>
          </p:nvSpPr>
          <p:spPr>
            <a:xfrm>
              <a:off x="3642023" y="2777885"/>
              <a:ext cx="45719" cy="61613"/>
            </a:xfrm>
            <a:prstGeom prst="rect">
              <a:avLst/>
            </a:prstGeom>
            <a:solidFill>
              <a:srgbClr val="2097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2" name="Retângulo 191">
              <a:extLst>
                <a:ext uri="{FF2B5EF4-FFF2-40B4-BE49-F238E27FC236}">
                  <a16:creationId xmlns:a16="http://schemas.microsoft.com/office/drawing/2014/main" id="{134A3C20-B404-4D56-A4DF-B408E543C45E}"/>
                </a:ext>
              </a:extLst>
            </p:cNvPr>
            <p:cNvSpPr/>
            <p:nvPr/>
          </p:nvSpPr>
          <p:spPr>
            <a:xfrm>
              <a:off x="3643555" y="2871910"/>
              <a:ext cx="44918" cy="67087"/>
            </a:xfrm>
            <a:prstGeom prst="rect">
              <a:avLst/>
            </a:prstGeom>
            <a:solidFill>
              <a:srgbClr val="92D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3" name="Retângulo 192">
              <a:extLst>
                <a:ext uri="{FF2B5EF4-FFF2-40B4-BE49-F238E27FC236}">
                  <a16:creationId xmlns:a16="http://schemas.microsoft.com/office/drawing/2014/main" id="{66CCE29C-E793-4D47-B74B-85B0D9F10125}"/>
                </a:ext>
              </a:extLst>
            </p:cNvPr>
            <p:cNvSpPr/>
            <p:nvPr/>
          </p:nvSpPr>
          <p:spPr>
            <a:xfrm>
              <a:off x="3697915" y="2796897"/>
              <a:ext cx="1193330" cy="222597"/>
            </a:xfrm>
            <a:prstGeom prst="rect">
              <a:avLst/>
            </a:prstGeom>
          </p:spPr>
          <p:txBody>
            <a:bodyPr wrap="none">
              <a:spAutoFit/>
            </a:bodyPr>
            <a:lstStyle/>
            <a:p>
              <a:r>
                <a:rPr lang="pt-BR" sz="600" dirty="0"/>
                <a:t>New business </a:t>
              </a:r>
              <a:r>
                <a:rPr lang="pt-BR" sz="600" dirty="0" err="1"/>
                <a:t>regions</a:t>
              </a:r>
              <a:r>
                <a:rPr lang="pt-BR" sz="600" dirty="0"/>
                <a:t> VDB</a:t>
              </a:r>
              <a:endParaRPr lang="en-US" sz="600" dirty="0"/>
            </a:p>
          </p:txBody>
        </p:sp>
        <p:sp>
          <p:nvSpPr>
            <p:cNvPr id="194" name="Retângulo 193">
              <a:extLst>
                <a:ext uri="{FF2B5EF4-FFF2-40B4-BE49-F238E27FC236}">
                  <a16:creationId xmlns:a16="http://schemas.microsoft.com/office/drawing/2014/main" id="{A7DBFB40-C6B1-4C41-A439-33FA4D3C5F1E}"/>
                </a:ext>
              </a:extLst>
            </p:cNvPr>
            <p:cNvSpPr/>
            <p:nvPr/>
          </p:nvSpPr>
          <p:spPr>
            <a:xfrm>
              <a:off x="3642824" y="2973978"/>
              <a:ext cx="44918" cy="67087"/>
            </a:xfrm>
            <a:prstGeom prst="rect">
              <a:avLst/>
            </a:prstGeom>
            <a:solidFill>
              <a:schemeClr val="accent1">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5" name="Retângulo 194">
              <a:extLst>
                <a:ext uri="{FF2B5EF4-FFF2-40B4-BE49-F238E27FC236}">
                  <a16:creationId xmlns:a16="http://schemas.microsoft.com/office/drawing/2014/main" id="{D1870710-B21A-42CA-8553-4DE8A6309D18}"/>
                </a:ext>
              </a:extLst>
            </p:cNvPr>
            <p:cNvSpPr/>
            <p:nvPr/>
          </p:nvSpPr>
          <p:spPr>
            <a:xfrm>
              <a:off x="3702813" y="2909303"/>
              <a:ext cx="1100693" cy="222597"/>
            </a:xfrm>
            <a:prstGeom prst="rect">
              <a:avLst/>
            </a:prstGeom>
          </p:spPr>
          <p:txBody>
            <a:bodyPr wrap="none">
              <a:spAutoFit/>
            </a:bodyPr>
            <a:lstStyle/>
            <a:p>
              <a:r>
                <a:rPr lang="pt-BR" sz="600" dirty="0" err="1"/>
                <a:t>Partner</a:t>
              </a:r>
              <a:r>
                <a:rPr lang="pt-BR" sz="600" dirty="0"/>
                <a:t> MATOPIBA VDB</a:t>
              </a:r>
              <a:endParaRPr lang="en-US" sz="600" dirty="0"/>
            </a:p>
          </p:txBody>
        </p:sp>
      </p:grpSp>
      <p:sp>
        <p:nvSpPr>
          <p:cNvPr id="196" name="Retângulo 195">
            <a:extLst>
              <a:ext uri="{FF2B5EF4-FFF2-40B4-BE49-F238E27FC236}">
                <a16:creationId xmlns:a16="http://schemas.microsoft.com/office/drawing/2014/main" id="{B70F51C7-714F-4ADD-AD83-5E574E449018}"/>
              </a:ext>
            </a:extLst>
          </p:cNvPr>
          <p:cNvSpPr/>
          <p:nvPr/>
        </p:nvSpPr>
        <p:spPr>
          <a:xfrm>
            <a:off x="8994976" y="3220822"/>
            <a:ext cx="846033" cy="177806"/>
          </a:xfrm>
          <a:prstGeom prst="rect">
            <a:avLst/>
          </a:prstGeom>
        </p:spPr>
        <p:txBody>
          <a:bodyPr wrap="none">
            <a:spAutoFit/>
          </a:bodyPr>
          <a:lstStyle/>
          <a:p>
            <a:r>
              <a:rPr lang="pt-BR" sz="700" dirty="0" err="1"/>
              <a:t>Current</a:t>
            </a:r>
            <a:r>
              <a:rPr lang="pt-BR" sz="700" dirty="0"/>
              <a:t> business VDB</a:t>
            </a:r>
            <a:endParaRPr lang="en-US" sz="700" dirty="0"/>
          </a:p>
        </p:txBody>
      </p:sp>
      <p:sp>
        <p:nvSpPr>
          <p:cNvPr id="197" name="Retângulo 196">
            <a:extLst>
              <a:ext uri="{FF2B5EF4-FFF2-40B4-BE49-F238E27FC236}">
                <a16:creationId xmlns:a16="http://schemas.microsoft.com/office/drawing/2014/main" id="{0E25E134-EAA2-42A3-B9F3-235E76731094}"/>
              </a:ext>
            </a:extLst>
          </p:cNvPr>
          <p:cNvSpPr/>
          <p:nvPr/>
        </p:nvSpPr>
        <p:spPr>
          <a:xfrm>
            <a:off x="8960636" y="3297905"/>
            <a:ext cx="38765" cy="51114"/>
          </a:xfrm>
          <a:prstGeom prst="rect">
            <a:avLst/>
          </a:prstGeom>
          <a:solidFill>
            <a:srgbClr val="2097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8" name="Retângulo 197">
            <a:extLst>
              <a:ext uri="{FF2B5EF4-FFF2-40B4-BE49-F238E27FC236}">
                <a16:creationId xmlns:a16="http://schemas.microsoft.com/office/drawing/2014/main" id="{C958CE48-A11C-4C86-B723-F7112E338398}"/>
              </a:ext>
            </a:extLst>
          </p:cNvPr>
          <p:cNvSpPr/>
          <p:nvPr/>
        </p:nvSpPr>
        <p:spPr>
          <a:xfrm>
            <a:off x="8961314" y="3394878"/>
            <a:ext cx="38086" cy="55655"/>
          </a:xfrm>
          <a:prstGeom prst="rect">
            <a:avLst/>
          </a:prstGeom>
          <a:solidFill>
            <a:schemeClr val="accent1">
              <a:lumMod val="7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99" name="Retângulo 198">
            <a:extLst>
              <a:ext uri="{FF2B5EF4-FFF2-40B4-BE49-F238E27FC236}">
                <a16:creationId xmlns:a16="http://schemas.microsoft.com/office/drawing/2014/main" id="{EA66809D-35E3-44BD-A4DB-C8D7F011489F}"/>
              </a:ext>
            </a:extLst>
          </p:cNvPr>
          <p:cNvSpPr/>
          <p:nvPr/>
        </p:nvSpPr>
        <p:spPr>
          <a:xfrm>
            <a:off x="9012181" y="3341230"/>
            <a:ext cx="894609" cy="165964"/>
          </a:xfrm>
          <a:prstGeom prst="rect">
            <a:avLst/>
          </a:prstGeom>
        </p:spPr>
        <p:txBody>
          <a:bodyPr wrap="none">
            <a:spAutoFit/>
          </a:bodyPr>
          <a:lstStyle/>
          <a:p>
            <a:r>
              <a:rPr lang="pt-BR" sz="700" dirty="0" err="1"/>
              <a:t>Partner</a:t>
            </a:r>
            <a:r>
              <a:rPr lang="pt-BR" sz="700" dirty="0"/>
              <a:t> MATOPIBA VDB</a:t>
            </a:r>
            <a:endParaRPr lang="en-US" sz="700" dirty="0"/>
          </a:p>
        </p:txBody>
      </p:sp>
      <p:sp>
        <p:nvSpPr>
          <p:cNvPr id="200" name="Rectangle 166">
            <a:extLst>
              <a:ext uri="{FF2B5EF4-FFF2-40B4-BE49-F238E27FC236}">
                <a16:creationId xmlns:a16="http://schemas.microsoft.com/office/drawing/2014/main" id="{CB43C368-56CA-494E-9B2D-A16595080ED0}"/>
              </a:ext>
            </a:extLst>
          </p:cNvPr>
          <p:cNvSpPr>
            <a:spLocks noChangeArrowheads="1"/>
          </p:cNvSpPr>
          <p:nvPr>
            <p:custDataLst>
              <p:tags r:id="rId11"/>
            </p:custDataLst>
          </p:nvPr>
        </p:nvSpPr>
        <p:spPr bwMode="gray">
          <a:xfrm>
            <a:off x="347423" y="1324776"/>
            <a:ext cx="1633206" cy="221705"/>
          </a:xfrm>
          <a:prstGeom prst="rect">
            <a:avLst/>
          </a:prstGeom>
          <a:solidFill>
            <a:srgbClr val="DCDCDC"/>
          </a:solidFill>
          <a:ln w="12700">
            <a:solidFill>
              <a:schemeClr val="bg1"/>
            </a:solidFill>
            <a:miter lim="800000"/>
            <a:headEnd/>
            <a:tailEnd/>
          </a:ln>
        </p:spPr>
        <p:txBody>
          <a:bodyPr lIns="0" tIns="0" rIns="0" bIns="0" anchor="ctr"/>
          <a:lstStyle/>
          <a:p>
            <a:pPr algn="ctr" defTabSz="940621" eaLnBrk="0" hangingPunct="0"/>
            <a:r>
              <a:rPr lang="en-US" sz="1400" b="1" dirty="0">
                <a:solidFill>
                  <a:srgbClr val="000000"/>
                </a:solidFill>
              </a:rPr>
              <a:t>2017</a:t>
            </a:r>
          </a:p>
        </p:txBody>
      </p:sp>
      <p:sp>
        <p:nvSpPr>
          <p:cNvPr id="201" name="Rectangle 2">
            <a:extLst>
              <a:ext uri="{FF2B5EF4-FFF2-40B4-BE49-F238E27FC236}">
                <a16:creationId xmlns:a16="http://schemas.microsoft.com/office/drawing/2014/main" id="{99F03A27-BFF8-4D4C-B2B2-95AB522AFEA9}"/>
              </a:ext>
            </a:extLst>
          </p:cNvPr>
          <p:cNvSpPr>
            <a:spLocks noChangeArrowheads="1"/>
          </p:cNvSpPr>
          <p:nvPr>
            <p:custDataLst>
              <p:tags r:id="rId12"/>
            </p:custDataLst>
          </p:nvPr>
        </p:nvSpPr>
        <p:spPr bwMode="gray">
          <a:xfrm>
            <a:off x="358003" y="1597270"/>
            <a:ext cx="1622624" cy="1904789"/>
          </a:xfrm>
          <a:prstGeom prst="rect">
            <a:avLst/>
          </a:prstGeom>
          <a:noFill/>
          <a:ln w="12700">
            <a:solidFill>
              <a:srgbClr val="C0C0C0"/>
            </a:solidFill>
            <a:miter lim="800000"/>
            <a:headEnd/>
            <a:tailEnd/>
          </a:ln>
        </p:spPr>
        <p:txBody>
          <a:bodyPr lIns="0" tIns="0" rIns="0" bIns="0" anchor="ctr"/>
          <a:lstStyle/>
          <a:p>
            <a:pPr algn="ctr" defTabSz="940621" eaLnBrk="0" hangingPunct="0"/>
            <a:endParaRPr lang="en-US" sz="2100" b="1" dirty="0">
              <a:solidFill>
                <a:srgbClr val="000000"/>
              </a:solidFill>
            </a:endParaRPr>
          </a:p>
        </p:txBody>
      </p:sp>
      <p:grpSp>
        <p:nvGrpSpPr>
          <p:cNvPr id="202" name="Group 345">
            <a:extLst>
              <a:ext uri="{FF2B5EF4-FFF2-40B4-BE49-F238E27FC236}">
                <a16:creationId xmlns:a16="http://schemas.microsoft.com/office/drawing/2014/main" id="{B92A2261-D9CE-40CF-93F4-1F3AD5DD76EF}"/>
              </a:ext>
            </a:extLst>
          </p:cNvPr>
          <p:cNvGrpSpPr>
            <a:grpSpLocks noChangeAspect="1"/>
          </p:cNvGrpSpPr>
          <p:nvPr/>
        </p:nvGrpSpPr>
        <p:grpSpPr bwMode="auto">
          <a:xfrm>
            <a:off x="432259" y="1624498"/>
            <a:ext cx="1392425" cy="1597569"/>
            <a:chOff x="10105" y="200"/>
            <a:chExt cx="4730" cy="4710"/>
          </a:xfrm>
          <a:solidFill>
            <a:schemeClr val="bg1">
              <a:lumMod val="75000"/>
            </a:schemeClr>
          </a:solidFill>
        </p:grpSpPr>
        <p:sp>
          <p:nvSpPr>
            <p:cNvPr id="203" name="Freeform 318">
              <a:extLst>
                <a:ext uri="{FF2B5EF4-FFF2-40B4-BE49-F238E27FC236}">
                  <a16:creationId xmlns:a16="http://schemas.microsoft.com/office/drawing/2014/main" id="{82BC1DBC-5963-4A21-9986-39BEC01FA6FB}"/>
                </a:ext>
              </a:extLst>
            </p:cNvPr>
            <p:cNvSpPr>
              <a:spLocks noChangeAspect="1"/>
            </p:cNvSpPr>
            <p:nvPr/>
          </p:nvSpPr>
          <p:spPr bwMode="auto">
            <a:xfrm>
              <a:off x="10105" y="1698"/>
              <a:ext cx="878" cy="494"/>
            </a:xfrm>
            <a:custGeom>
              <a:avLst/>
              <a:gdLst/>
              <a:ahLst/>
              <a:cxnLst>
                <a:cxn ang="0">
                  <a:pos x="364" y="133"/>
                </a:cxn>
                <a:cxn ang="0">
                  <a:pos x="353" y="134"/>
                </a:cxn>
                <a:cxn ang="0">
                  <a:pos x="296" y="101"/>
                </a:cxn>
                <a:cxn ang="0">
                  <a:pos x="216" y="58"/>
                </a:cxn>
                <a:cxn ang="0">
                  <a:pos x="87" y="31"/>
                </a:cxn>
                <a:cxn ang="0">
                  <a:pos x="13" y="0"/>
                </a:cxn>
                <a:cxn ang="0">
                  <a:pos x="15" y="9"/>
                </a:cxn>
                <a:cxn ang="0">
                  <a:pos x="2" y="14"/>
                </a:cxn>
                <a:cxn ang="0">
                  <a:pos x="0" y="25"/>
                </a:cxn>
                <a:cxn ang="0">
                  <a:pos x="18" y="39"/>
                </a:cxn>
                <a:cxn ang="0">
                  <a:pos x="10" y="47"/>
                </a:cxn>
                <a:cxn ang="0">
                  <a:pos x="21" y="55"/>
                </a:cxn>
                <a:cxn ang="0">
                  <a:pos x="23" y="66"/>
                </a:cxn>
                <a:cxn ang="0">
                  <a:pos x="39" y="81"/>
                </a:cxn>
                <a:cxn ang="0">
                  <a:pos x="40" y="92"/>
                </a:cxn>
                <a:cxn ang="0">
                  <a:pos x="51" y="97"/>
                </a:cxn>
                <a:cxn ang="0">
                  <a:pos x="65" y="117"/>
                </a:cxn>
                <a:cxn ang="0">
                  <a:pos x="48" y="137"/>
                </a:cxn>
                <a:cxn ang="0">
                  <a:pos x="99" y="145"/>
                </a:cxn>
                <a:cxn ang="0">
                  <a:pos x="108" y="173"/>
                </a:cxn>
                <a:cxn ang="0">
                  <a:pos x="163" y="173"/>
                </a:cxn>
                <a:cxn ang="0">
                  <a:pos x="206" y="140"/>
                </a:cxn>
                <a:cxn ang="0">
                  <a:pos x="206" y="151"/>
                </a:cxn>
                <a:cxn ang="0">
                  <a:pos x="208" y="158"/>
                </a:cxn>
                <a:cxn ang="0">
                  <a:pos x="202" y="165"/>
                </a:cxn>
                <a:cxn ang="0">
                  <a:pos x="200" y="233"/>
                </a:cxn>
                <a:cxn ang="0">
                  <a:pos x="207" y="228"/>
                </a:cxn>
                <a:cxn ang="0">
                  <a:pos x="218" y="238"/>
                </a:cxn>
                <a:cxn ang="0">
                  <a:pos x="242" y="229"/>
                </a:cxn>
                <a:cxn ang="0">
                  <a:pos x="276" y="229"/>
                </a:cxn>
                <a:cxn ang="0">
                  <a:pos x="313" y="233"/>
                </a:cxn>
                <a:cxn ang="0">
                  <a:pos x="320" y="247"/>
                </a:cxn>
                <a:cxn ang="0">
                  <a:pos x="345" y="232"/>
                </a:cxn>
                <a:cxn ang="0">
                  <a:pos x="355" y="214"/>
                </a:cxn>
                <a:cxn ang="0">
                  <a:pos x="373" y="216"/>
                </a:cxn>
                <a:cxn ang="0">
                  <a:pos x="398" y="196"/>
                </a:cxn>
                <a:cxn ang="0">
                  <a:pos x="419" y="192"/>
                </a:cxn>
                <a:cxn ang="0">
                  <a:pos x="439" y="170"/>
                </a:cxn>
                <a:cxn ang="0">
                  <a:pos x="439" y="170"/>
                </a:cxn>
                <a:cxn ang="0">
                  <a:pos x="433" y="163"/>
                </a:cxn>
                <a:cxn ang="0">
                  <a:pos x="364" y="133"/>
                </a:cxn>
              </a:cxnLst>
              <a:rect l="0" t="0" r="r" b="b"/>
              <a:pathLst>
                <a:path w="439" h="247">
                  <a:moveTo>
                    <a:pt x="364" y="133"/>
                  </a:moveTo>
                  <a:cubicBezTo>
                    <a:pt x="364" y="133"/>
                    <a:pt x="355" y="134"/>
                    <a:pt x="353" y="134"/>
                  </a:cubicBezTo>
                  <a:cubicBezTo>
                    <a:pt x="352" y="134"/>
                    <a:pt x="312" y="108"/>
                    <a:pt x="296" y="101"/>
                  </a:cubicBezTo>
                  <a:cubicBezTo>
                    <a:pt x="280" y="94"/>
                    <a:pt x="216" y="58"/>
                    <a:pt x="216" y="58"/>
                  </a:cubicBezTo>
                  <a:cubicBezTo>
                    <a:pt x="216" y="58"/>
                    <a:pt x="104" y="34"/>
                    <a:pt x="87" y="31"/>
                  </a:cubicBezTo>
                  <a:cubicBezTo>
                    <a:pt x="74" y="29"/>
                    <a:pt x="32" y="9"/>
                    <a:pt x="13" y="0"/>
                  </a:cubicBezTo>
                  <a:cubicBezTo>
                    <a:pt x="14" y="4"/>
                    <a:pt x="15" y="8"/>
                    <a:pt x="15" y="9"/>
                  </a:cubicBezTo>
                  <a:cubicBezTo>
                    <a:pt x="2" y="14"/>
                    <a:pt x="2" y="14"/>
                    <a:pt x="2" y="14"/>
                  </a:cubicBezTo>
                  <a:cubicBezTo>
                    <a:pt x="2" y="14"/>
                    <a:pt x="0" y="19"/>
                    <a:pt x="0" y="25"/>
                  </a:cubicBezTo>
                  <a:cubicBezTo>
                    <a:pt x="0" y="32"/>
                    <a:pt x="18" y="39"/>
                    <a:pt x="18" y="39"/>
                  </a:cubicBezTo>
                  <a:cubicBezTo>
                    <a:pt x="18" y="39"/>
                    <a:pt x="11" y="46"/>
                    <a:pt x="10" y="47"/>
                  </a:cubicBezTo>
                  <a:cubicBezTo>
                    <a:pt x="10" y="48"/>
                    <a:pt x="21" y="55"/>
                    <a:pt x="21" y="55"/>
                  </a:cubicBezTo>
                  <a:cubicBezTo>
                    <a:pt x="21" y="55"/>
                    <a:pt x="20" y="57"/>
                    <a:pt x="23" y="66"/>
                  </a:cubicBezTo>
                  <a:cubicBezTo>
                    <a:pt x="25" y="76"/>
                    <a:pt x="39" y="81"/>
                    <a:pt x="39" y="81"/>
                  </a:cubicBezTo>
                  <a:cubicBezTo>
                    <a:pt x="40" y="92"/>
                    <a:pt x="40" y="92"/>
                    <a:pt x="40" y="92"/>
                  </a:cubicBezTo>
                  <a:cubicBezTo>
                    <a:pt x="51" y="97"/>
                    <a:pt x="51" y="97"/>
                    <a:pt x="51" y="97"/>
                  </a:cubicBezTo>
                  <a:cubicBezTo>
                    <a:pt x="65" y="117"/>
                    <a:pt x="65" y="117"/>
                    <a:pt x="65" y="117"/>
                  </a:cubicBezTo>
                  <a:cubicBezTo>
                    <a:pt x="48" y="137"/>
                    <a:pt x="48" y="137"/>
                    <a:pt x="48" y="137"/>
                  </a:cubicBezTo>
                  <a:cubicBezTo>
                    <a:pt x="48" y="137"/>
                    <a:pt x="86" y="141"/>
                    <a:pt x="99" y="145"/>
                  </a:cubicBezTo>
                  <a:cubicBezTo>
                    <a:pt x="112" y="149"/>
                    <a:pt x="108" y="173"/>
                    <a:pt x="108" y="173"/>
                  </a:cubicBezTo>
                  <a:cubicBezTo>
                    <a:pt x="163" y="173"/>
                    <a:pt x="163" y="173"/>
                    <a:pt x="163" y="173"/>
                  </a:cubicBezTo>
                  <a:cubicBezTo>
                    <a:pt x="206" y="140"/>
                    <a:pt x="206" y="140"/>
                    <a:pt x="206" y="140"/>
                  </a:cubicBezTo>
                  <a:cubicBezTo>
                    <a:pt x="206" y="151"/>
                    <a:pt x="206" y="151"/>
                    <a:pt x="206" y="151"/>
                  </a:cubicBezTo>
                  <a:cubicBezTo>
                    <a:pt x="208" y="158"/>
                    <a:pt x="208" y="158"/>
                    <a:pt x="208" y="158"/>
                  </a:cubicBezTo>
                  <a:cubicBezTo>
                    <a:pt x="202" y="165"/>
                    <a:pt x="202" y="165"/>
                    <a:pt x="202" y="165"/>
                  </a:cubicBezTo>
                  <a:cubicBezTo>
                    <a:pt x="200" y="233"/>
                    <a:pt x="200" y="233"/>
                    <a:pt x="200" y="233"/>
                  </a:cubicBezTo>
                  <a:cubicBezTo>
                    <a:pt x="207" y="228"/>
                    <a:pt x="207" y="228"/>
                    <a:pt x="207" y="228"/>
                  </a:cubicBezTo>
                  <a:cubicBezTo>
                    <a:pt x="218" y="238"/>
                    <a:pt x="218" y="238"/>
                    <a:pt x="218" y="238"/>
                  </a:cubicBezTo>
                  <a:cubicBezTo>
                    <a:pt x="242" y="229"/>
                    <a:pt x="242" y="229"/>
                    <a:pt x="242" y="229"/>
                  </a:cubicBezTo>
                  <a:cubicBezTo>
                    <a:pt x="242" y="229"/>
                    <a:pt x="270" y="229"/>
                    <a:pt x="276" y="229"/>
                  </a:cubicBezTo>
                  <a:cubicBezTo>
                    <a:pt x="281" y="229"/>
                    <a:pt x="312" y="233"/>
                    <a:pt x="313" y="233"/>
                  </a:cubicBezTo>
                  <a:cubicBezTo>
                    <a:pt x="314" y="232"/>
                    <a:pt x="320" y="247"/>
                    <a:pt x="320" y="247"/>
                  </a:cubicBezTo>
                  <a:cubicBezTo>
                    <a:pt x="320" y="247"/>
                    <a:pt x="327" y="238"/>
                    <a:pt x="345" y="232"/>
                  </a:cubicBezTo>
                  <a:cubicBezTo>
                    <a:pt x="364" y="225"/>
                    <a:pt x="355" y="214"/>
                    <a:pt x="355" y="214"/>
                  </a:cubicBezTo>
                  <a:cubicBezTo>
                    <a:pt x="355" y="214"/>
                    <a:pt x="372" y="215"/>
                    <a:pt x="373" y="216"/>
                  </a:cubicBezTo>
                  <a:cubicBezTo>
                    <a:pt x="374" y="215"/>
                    <a:pt x="390" y="201"/>
                    <a:pt x="398" y="196"/>
                  </a:cubicBezTo>
                  <a:cubicBezTo>
                    <a:pt x="407" y="190"/>
                    <a:pt x="419" y="192"/>
                    <a:pt x="419" y="192"/>
                  </a:cubicBezTo>
                  <a:cubicBezTo>
                    <a:pt x="419" y="192"/>
                    <a:pt x="435" y="173"/>
                    <a:pt x="439" y="170"/>
                  </a:cubicBezTo>
                  <a:cubicBezTo>
                    <a:pt x="439" y="170"/>
                    <a:pt x="439" y="170"/>
                    <a:pt x="439" y="170"/>
                  </a:cubicBezTo>
                  <a:cubicBezTo>
                    <a:pt x="433" y="163"/>
                    <a:pt x="433" y="163"/>
                    <a:pt x="433" y="163"/>
                  </a:cubicBezTo>
                  <a:lnTo>
                    <a:pt x="364" y="133"/>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04" name="Freeform 319">
              <a:extLst>
                <a:ext uri="{FF2B5EF4-FFF2-40B4-BE49-F238E27FC236}">
                  <a16:creationId xmlns:a16="http://schemas.microsoft.com/office/drawing/2014/main" id="{30C9C95F-85BC-4CB7-8F70-BBCDB835E65F}"/>
                </a:ext>
              </a:extLst>
            </p:cNvPr>
            <p:cNvSpPr>
              <a:spLocks noChangeAspect="1"/>
            </p:cNvSpPr>
            <p:nvPr/>
          </p:nvSpPr>
          <p:spPr bwMode="auto">
            <a:xfrm>
              <a:off x="10967" y="1795"/>
              <a:ext cx="858" cy="692"/>
            </a:xfrm>
            <a:custGeom>
              <a:avLst/>
              <a:gdLst/>
              <a:ahLst/>
              <a:cxnLst>
                <a:cxn ang="0">
                  <a:pos x="279" y="40"/>
                </a:cxn>
                <a:cxn ang="0">
                  <a:pos x="272" y="28"/>
                </a:cxn>
                <a:cxn ang="0">
                  <a:pos x="251" y="20"/>
                </a:cxn>
                <a:cxn ang="0">
                  <a:pos x="191" y="0"/>
                </a:cxn>
                <a:cxn ang="0">
                  <a:pos x="187" y="22"/>
                </a:cxn>
                <a:cxn ang="0">
                  <a:pos x="174" y="43"/>
                </a:cxn>
                <a:cxn ang="0">
                  <a:pos x="162" y="64"/>
                </a:cxn>
                <a:cxn ang="0">
                  <a:pos x="132" y="68"/>
                </a:cxn>
                <a:cxn ang="0">
                  <a:pos x="115" y="72"/>
                </a:cxn>
                <a:cxn ang="0">
                  <a:pos x="102" y="90"/>
                </a:cxn>
                <a:cxn ang="0">
                  <a:pos x="84" y="81"/>
                </a:cxn>
                <a:cxn ang="0">
                  <a:pos x="75" y="91"/>
                </a:cxn>
                <a:cxn ang="0">
                  <a:pos x="50" y="86"/>
                </a:cxn>
                <a:cxn ang="0">
                  <a:pos x="24" y="97"/>
                </a:cxn>
                <a:cxn ang="0">
                  <a:pos x="0" y="113"/>
                </a:cxn>
                <a:cxn ang="0">
                  <a:pos x="9" y="121"/>
                </a:cxn>
                <a:cxn ang="0">
                  <a:pos x="74" y="115"/>
                </a:cxn>
                <a:cxn ang="0">
                  <a:pos x="98" y="114"/>
                </a:cxn>
                <a:cxn ang="0">
                  <a:pos x="96" y="136"/>
                </a:cxn>
                <a:cxn ang="0">
                  <a:pos x="98" y="183"/>
                </a:cxn>
                <a:cxn ang="0">
                  <a:pos x="96" y="227"/>
                </a:cxn>
                <a:cxn ang="0">
                  <a:pos x="104" y="241"/>
                </a:cxn>
                <a:cxn ang="0">
                  <a:pos x="138" y="258"/>
                </a:cxn>
                <a:cxn ang="0">
                  <a:pos x="164" y="274"/>
                </a:cxn>
                <a:cxn ang="0">
                  <a:pos x="207" y="287"/>
                </a:cxn>
                <a:cxn ang="0">
                  <a:pos x="258" y="309"/>
                </a:cxn>
                <a:cxn ang="0">
                  <a:pos x="299" y="336"/>
                </a:cxn>
                <a:cxn ang="0">
                  <a:pos x="369" y="346"/>
                </a:cxn>
                <a:cxn ang="0">
                  <a:pos x="392" y="309"/>
                </a:cxn>
                <a:cxn ang="0">
                  <a:pos x="406" y="281"/>
                </a:cxn>
                <a:cxn ang="0">
                  <a:pos x="417" y="250"/>
                </a:cxn>
                <a:cxn ang="0">
                  <a:pos x="406" y="236"/>
                </a:cxn>
                <a:cxn ang="0">
                  <a:pos x="422" y="206"/>
                </a:cxn>
                <a:cxn ang="0">
                  <a:pos x="394" y="190"/>
                </a:cxn>
                <a:cxn ang="0">
                  <a:pos x="319" y="180"/>
                </a:cxn>
                <a:cxn ang="0">
                  <a:pos x="316" y="133"/>
                </a:cxn>
                <a:cxn ang="0">
                  <a:pos x="318" y="108"/>
                </a:cxn>
                <a:cxn ang="0">
                  <a:pos x="319" y="91"/>
                </a:cxn>
                <a:cxn ang="0">
                  <a:pos x="321" y="78"/>
                </a:cxn>
                <a:cxn ang="0">
                  <a:pos x="318" y="54"/>
                </a:cxn>
                <a:cxn ang="0">
                  <a:pos x="290" y="52"/>
                </a:cxn>
              </a:cxnLst>
              <a:rect l="0" t="0" r="r" b="b"/>
              <a:pathLst>
                <a:path w="429" h="346">
                  <a:moveTo>
                    <a:pt x="290" y="52"/>
                  </a:moveTo>
                  <a:cubicBezTo>
                    <a:pt x="284" y="50"/>
                    <a:pt x="279" y="40"/>
                    <a:pt x="279" y="40"/>
                  </a:cubicBezTo>
                  <a:cubicBezTo>
                    <a:pt x="273" y="42"/>
                    <a:pt x="273" y="42"/>
                    <a:pt x="273" y="42"/>
                  </a:cubicBezTo>
                  <a:cubicBezTo>
                    <a:pt x="272" y="28"/>
                    <a:pt x="272" y="28"/>
                    <a:pt x="272" y="28"/>
                  </a:cubicBezTo>
                  <a:cubicBezTo>
                    <a:pt x="261" y="28"/>
                    <a:pt x="261" y="28"/>
                    <a:pt x="261" y="28"/>
                  </a:cubicBezTo>
                  <a:cubicBezTo>
                    <a:pt x="261" y="28"/>
                    <a:pt x="257" y="21"/>
                    <a:pt x="251" y="20"/>
                  </a:cubicBezTo>
                  <a:cubicBezTo>
                    <a:pt x="245" y="20"/>
                    <a:pt x="240" y="2"/>
                    <a:pt x="240" y="2"/>
                  </a:cubicBezTo>
                  <a:cubicBezTo>
                    <a:pt x="191" y="0"/>
                    <a:pt x="191" y="0"/>
                    <a:pt x="191" y="0"/>
                  </a:cubicBezTo>
                  <a:cubicBezTo>
                    <a:pt x="192" y="9"/>
                    <a:pt x="192" y="9"/>
                    <a:pt x="192" y="9"/>
                  </a:cubicBezTo>
                  <a:cubicBezTo>
                    <a:pt x="192" y="9"/>
                    <a:pt x="187" y="20"/>
                    <a:pt x="187" y="22"/>
                  </a:cubicBezTo>
                  <a:cubicBezTo>
                    <a:pt x="186" y="23"/>
                    <a:pt x="172" y="22"/>
                    <a:pt x="172" y="24"/>
                  </a:cubicBezTo>
                  <a:cubicBezTo>
                    <a:pt x="172" y="27"/>
                    <a:pt x="172" y="36"/>
                    <a:pt x="174" y="43"/>
                  </a:cubicBezTo>
                  <a:cubicBezTo>
                    <a:pt x="175" y="50"/>
                    <a:pt x="162" y="49"/>
                    <a:pt x="162" y="49"/>
                  </a:cubicBezTo>
                  <a:cubicBezTo>
                    <a:pt x="162" y="64"/>
                    <a:pt x="162" y="64"/>
                    <a:pt x="162" y="64"/>
                  </a:cubicBezTo>
                  <a:cubicBezTo>
                    <a:pt x="153" y="60"/>
                    <a:pt x="153" y="60"/>
                    <a:pt x="153" y="60"/>
                  </a:cubicBezTo>
                  <a:cubicBezTo>
                    <a:pt x="132" y="68"/>
                    <a:pt x="132" y="68"/>
                    <a:pt x="132" y="68"/>
                  </a:cubicBezTo>
                  <a:cubicBezTo>
                    <a:pt x="126" y="60"/>
                    <a:pt x="126" y="60"/>
                    <a:pt x="126" y="60"/>
                  </a:cubicBezTo>
                  <a:cubicBezTo>
                    <a:pt x="115" y="72"/>
                    <a:pt x="115" y="72"/>
                    <a:pt x="115" y="72"/>
                  </a:cubicBezTo>
                  <a:cubicBezTo>
                    <a:pt x="116" y="79"/>
                    <a:pt x="116" y="79"/>
                    <a:pt x="116" y="79"/>
                  </a:cubicBezTo>
                  <a:cubicBezTo>
                    <a:pt x="102" y="90"/>
                    <a:pt x="102" y="90"/>
                    <a:pt x="102" y="90"/>
                  </a:cubicBezTo>
                  <a:cubicBezTo>
                    <a:pt x="98" y="79"/>
                    <a:pt x="98" y="79"/>
                    <a:pt x="98" y="79"/>
                  </a:cubicBezTo>
                  <a:cubicBezTo>
                    <a:pt x="84" y="81"/>
                    <a:pt x="84" y="81"/>
                    <a:pt x="84" y="81"/>
                  </a:cubicBezTo>
                  <a:cubicBezTo>
                    <a:pt x="85" y="95"/>
                    <a:pt x="85" y="95"/>
                    <a:pt x="85" y="95"/>
                  </a:cubicBezTo>
                  <a:cubicBezTo>
                    <a:pt x="85" y="95"/>
                    <a:pt x="84" y="92"/>
                    <a:pt x="75" y="91"/>
                  </a:cubicBezTo>
                  <a:cubicBezTo>
                    <a:pt x="66" y="89"/>
                    <a:pt x="62" y="98"/>
                    <a:pt x="60" y="99"/>
                  </a:cubicBezTo>
                  <a:cubicBezTo>
                    <a:pt x="59" y="100"/>
                    <a:pt x="50" y="86"/>
                    <a:pt x="50" y="86"/>
                  </a:cubicBezTo>
                  <a:cubicBezTo>
                    <a:pt x="24" y="88"/>
                    <a:pt x="24" y="88"/>
                    <a:pt x="24" y="88"/>
                  </a:cubicBezTo>
                  <a:cubicBezTo>
                    <a:pt x="24" y="97"/>
                    <a:pt x="24" y="97"/>
                    <a:pt x="24" y="97"/>
                  </a:cubicBezTo>
                  <a:cubicBezTo>
                    <a:pt x="24" y="97"/>
                    <a:pt x="12" y="106"/>
                    <a:pt x="6" y="109"/>
                  </a:cubicBezTo>
                  <a:cubicBezTo>
                    <a:pt x="4" y="110"/>
                    <a:pt x="2" y="111"/>
                    <a:pt x="0" y="113"/>
                  </a:cubicBezTo>
                  <a:cubicBezTo>
                    <a:pt x="3" y="114"/>
                    <a:pt x="3" y="114"/>
                    <a:pt x="3" y="114"/>
                  </a:cubicBezTo>
                  <a:cubicBezTo>
                    <a:pt x="9" y="121"/>
                    <a:pt x="9" y="121"/>
                    <a:pt x="9" y="121"/>
                  </a:cubicBezTo>
                  <a:cubicBezTo>
                    <a:pt x="14" y="118"/>
                    <a:pt x="41" y="115"/>
                    <a:pt x="41" y="115"/>
                  </a:cubicBezTo>
                  <a:cubicBezTo>
                    <a:pt x="41" y="115"/>
                    <a:pt x="65" y="112"/>
                    <a:pt x="74" y="115"/>
                  </a:cubicBezTo>
                  <a:cubicBezTo>
                    <a:pt x="83" y="117"/>
                    <a:pt x="84" y="104"/>
                    <a:pt x="84" y="104"/>
                  </a:cubicBezTo>
                  <a:cubicBezTo>
                    <a:pt x="98" y="114"/>
                    <a:pt x="98" y="114"/>
                    <a:pt x="98" y="114"/>
                  </a:cubicBezTo>
                  <a:cubicBezTo>
                    <a:pt x="88" y="126"/>
                    <a:pt x="88" y="126"/>
                    <a:pt x="88" y="126"/>
                  </a:cubicBezTo>
                  <a:cubicBezTo>
                    <a:pt x="88" y="126"/>
                    <a:pt x="96" y="131"/>
                    <a:pt x="96" y="136"/>
                  </a:cubicBezTo>
                  <a:cubicBezTo>
                    <a:pt x="96" y="141"/>
                    <a:pt x="87" y="142"/>
                    <a:pt x="86" y="153"/>
                  </a:cubicBezTo>
                  <a:cubicBezTo>
                    <a:pt x="84" y="164"/>
                    <a:pt x="98" y="183"/>
                    <a:pt x="98" y="183"/>
                  </a:cubicBezTo>
                  <a:cubicBezTo>
                    <a:pt x="98" y="183"/>
                    <a:pt x="89" y="192"/>
                    <a:pt x="87" y="199"/>
                  </a:cubicBezTo>
                  <a:cubicBezTo>
                    <a:pt x="84" y="207"/>
                    <a:pt x="96" y="227"/>
                    <a:pt x="96" y="227"/>
                  </a:cubicBezTo>
                  <a:cubicBezTo>
                    <a:pt x="103" y="228"/>
                    <a:pt x="103" y="228"/>
                    <a:pt x="103" y="228"/>
                  </a:cubicBezTo>
                  <a:cubicBezTo>
                    <a:pt x="104" y="241"/>
                    <a:pt x="104" y="241"/>
                    <a:pt x="104" y="241"/>
                  </a:cubicBezTo>
                  <a:cubicBezTo>
                    <a:pt x="125" y="257"/>
                    <a:pt x="125" y="257"/>
                    <a:pt x="125" y="257"/>
                  </a:cubicBezTo>
                  <a:cubicBezTo>
                    <a:pt x="138" y="258"/>
                    <a:pt x="138" y="258"/>
                    <a:pt x="138" y="258"/>
                  </a:cubicBezTo>
                  <a:cubicBezTo>
                    <a:pt x="140" y="266"/>
                    <a:pt x="140" y="266"/>
                    <a:pt x="140" y="266"/>
                  </a:cubicBezTo>
                  <a:cubicBezTo>
                    <a:pt x="140" y="266"/>
                    <a:pt x="157" y="274"/>
                    <a:pt x="164" y="274"/>
                  </a:cubicBezTo>
                  <a:cubicBezTo>
                    <a:pt x="170" y="275"/>
                    <a:pt x="177" y="271"/>
                    <a:pt x="189" y="271"/>
                  </a:cubicBezTo>
                  <a:cubicBezTo>
                    <a:pt x="201" y="271"/>
                    <a:pt x="207" y="287"/>
                    <a:pt x="207" y="287"/>
                  </a:cubicBezTo>
                  <a:cubicBezTo>
                    <a:pt x="227" y="287"/>
                    <a:pt x="227" y="287"/>
                    <a:pt x="227" y="287"/>
                  </a:cubicBezTo>
                  <a:cubicBezTo>
                    <a:pt x="227" y="287"/>
                    <a:pt x="248" y="307"/>
                    <a:pt x="258" y="309"/>
                  </a:cubicBezTo>
                  <a:cubicBezTo>
                    <a:pt x="267" y="311"/>
                    <a:pt x="282" y="313"/>
                    <a:pt x="283" y="313"/>
                  </a:cubicBezTo>
                  <a:cubicBezTo>
                    <a:pt x="284" y="313"/>
                    <a:pt x="299" y="336"/>
                    <a:pt x="299" y="336"/>
                  </a:cubicBezTo>
                  <a:cubicBezTo>
                    <a:pt x="356" y="337"/>
                    <a:pt x="356" y="337"/>
                    <a:pt x="356" y="337"/>
                  </a:cubicBezTo>
                  <a:cubicBezTo>
                    <a:pt x="356" y="337"/>
                    <a:pt x="362" y="341"/>
                    <a:pt x="369" y="346"/>
                  </a:cubicBezTo>
                  <a:cubicBezTo>
                    <a:pt x="378" y="340"/>
                    <a:pt x="389" y="333"/>
                    <a:pt x="389" y="332"/>
                  </a:cubicBezTo>
                  <a:cubicBezTo>
                    <a:pt x="389" y="331"/>
                    <a:pt x="392" y="309"/>
                    <a:pt x="392" y="309"/>
                  </a:cubicBezTo>
                  <a:cubicBezTo>
                    <a:pt x="406" y="299"/>
                    <a:pt x="406" y="299"/>
                    <a:pt x="406" y="299"/>
                  </a:cubicBezTo>
                  <a:cubicBezTo>
                    <a:pt x="406" y="281"/>
                    <a:pt x="406" y="281"/>
                    <a:pt x="406" y="281"/>
                  </a:cubicBezTo>
                  <a:cubicBezTo>
                    <a:pt x="429" y="266"/>
                    <a:pt x="429" y="266"/>
                    <a:pt x="429" y="266"/>
                  </a:cubicBezTo>
                  <a:cubicBezTo>
                    <a:pt x="417" y="250"/>
                    <a:pt x="417" y="250"/>
                    <a:pt x="417" y="250"/>
                  </a:cubicBezTo>
                  <a:cubicBezTo>
                    <a:pt x="417" y="239"/>
                    <a:pt x="417" y="239"/>
                    <a:pt x="417" y="239"/>
                  </a:cubicBezTo>
                  <a:cubicBezTo>
                    <a:pt x="406" y="236"/>
                    <a:pt x="406" y="236"/>
                    <a:pt x="406" y="236"/>
                  </a:cubicBezTo>
                  <a:cubicBezTo>
                    <a:pt x="404" y="218"/>
                    <a:pt x="404" y="218"/>
                    <a:pt x="404" y="218"/>
                  </a:cubicBezTo>
                  <a:cubicBezTo>
                    <a:pt x="422" y="206"/>
                    <a:pt x="422" y="206"/>
                    <a:pt x="422" y="206"/>
                  </a:cubicBezTo>
                  <a:cubicBezTo>
                    <a:pt x="409" y="187"/>
                    <a:pt x="409" y="187"/>
                    <a:pt x="409" y="187"/>
                  </a:cubicBezTo>
                  <a:cubicBezTo>
                    <a:pt x="394" y="190"/>
                    <a:pt x="394" y="190"/>
                    <a:pt x="394" y="190"/>
                  </a:cubicBezTo>
                  <a:cubicBezTo>
                    <a:pt x="384" y="183"/>
                    <a:pt x="384" y="183"/>
                    <a:pt x="384" y="183"/>
                  </a:cubicBezTo>
                  <a:cubicBezTo>
                    <a:pt x="319" y="180"/>
                    <a:pt x="319" y="180"/>
                    <a:pt x="319" y="180"/>
                  </a:cubicBezTo>
                  <a:cubicBezTo>
                    <a:pt x="319" y="180"/>
                    <a:pt x="326" y="158"/>
                    <a:pt x="325" y="155"/>
                  </a:cubicBezTo>
                  <a:cubicBezTo>
                    <a:pt x="324" y="151"/>
                    <a:pt x="316" y="140"/>
                    <a:pt x="316" y="133"/>
                  </a:cubicBezTo>
                  <a:cubicBezTo>
                    <a:pt x="316" y="127"/>
                    <a:pt x="326" y="118"/>
                    <a:pt x="326" y="118"/>
                  </a:cubicBezTo>
                  <a:cubicBezTo>
                    <a:pt x="318" y="108"/>
                    <a:pt x="318" y="108"/>
                    <a:pt x="318" y="108"/>
                  </a:cubicBezTo>
                  <a:cubicBezTo>
                    <a:pt x="325" y="99"/>
                    <a:pt x="325" y="99"/>
                    <a:pt x="325" y="99"/>
                  </a:cubicBezTo>
                  <a:cubicBezTo>
                    <a:pt x="319" y="91"/>
                    <a:pt x="319" y="91"/>
                    <a:pt x="319" y="91"/>
                  </a:cubicBezTo>
                  <a:cubicBezTo>
                    <a:pt x="317" y="83"/>
                    <a:pt x="317" y="83"/>
                    <a:pt x="317" y="83"/>
                  </a:cubicBezTo>
                  <a:cubicBezTo>
                    <a:pt x="321" y="78"/>
                    <a:pt x="321" y="78"/>
                    <a:pt x="321" y="78"/>
                  </a:cubicBezTo>
                  <a:cubicBezTo>
                    <a:pt x="317" y="54"/>
                    <a:pt x="317" y="54"/>
                    <a:pt x="317" y="54"/>
                  </a:cubicBezTo>
                  <a:cubicBezTo>
                    <a:pt x="318" y="54"/>
                    <a:pt x="318" y="54"/>
                    <a:pt x="318" y="54"/>
                  </a:cubicBezTo>
                  <a:cubicBezTo>
                    <a:pt x="312" y="50"/>
                    <a:pt x="308" y="47"/>
                    <a:pt x="308" y="47"/>
                  </a:cubicBezTo>
                  <a:cubicBezTo>
                    <a:pt x="308" y="47"/>
                    <a:pt x="297" y="55"/>
                    <a:pt x="290" y="52"/>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05" name="Freeform 320">
              <a:extLst>
                <a:ext uri="{FF2B5EF4-FFF2-40B4-BE49-F238E27FC236}">
                  <a16:creationId xmlns:a16="http://schemas.microsoft.com/office/drawing/2014/main" id="{91A17DE8-2926-4525-B401-AEF837787E9B}"/>
                </a:ext>
              </a:extLst>
            </p:cNvPr>
            <p:cNvSpPr>
              <a:spLocks noChangeAspect="1"/>
            </p:cNvSpPr>
            <p:nvPr/>
          </p:nvSpPr>
          <p:spPr bwMode="auto">
            <a:xfrm>
              <a:off x="10129" y="564"/>
              <a:ext cx="2141" cy="1459"/>
            </a:xfrm>
            <a:custGeom>
              <a:avLst/>
              <a:gdLst/>
              <a:ahLst/>
              <a:cxnLst>
                <a:cxn ang="0">
                  <a:pos x="953" y="493"/>
                </a:cxn>
                <a:cxn ang="0">
                  <a:pos x="1049" y="274"/>
                </a:cxn>
                <a:cxn ang="0">
                  <a:pos x="1060" y="257"/>
                </a:cxn>
                <a:cxn ang="0">
                  <a:pos x="1030" y="258"/>
                </a:cxn>
                <a:cxn ang="0">
                  <a:pos x="992" y="241"/>
                </a:cxn>
                <a:cxn ang="0">
                  <a:pos x="962" y="225"/>
                </a:cxn>
                <a:cxn ang="0">
                  <a:pos x="942" y="210"/>
                </a:cxn>
                <a:cxn ang="0">
                  <a:pos x="918" y="189"/>
                </a:cxn>
                <a:cxn ang="0">
                  <a:pos x="901" y="159"/>
                </a:cxn>
                <a:cxn ang="0">
                  <a:pos x="814" y="141"/>
                </a:cxn>
                <a:cxn ang="0">
                  <a:pos x="807" y="171"/>
                </a:cxn>
                <a:cxn ang="0">
                  <a:pos x="793" y="190"/>
                </a:cxn>
                <a:cxn ang="0">
                  <a:pos x="733" y="190"/>
                </a:cxn>
                <a:cxn ang="0">
                  <a:pos x="745" y="230"/>
                </a:cxn>
                <a:cxn ang="0">
                  <a:pos x="701" y="199"/>
                </a:cxn>
                <a:cxn ang="0">
                  <a:pos x="689" y="168"/>
                </a:cxn>
                <a:cxn ang="0">
                  <a:pos x="678" y="99"/>
                </a:cxn>
                <a:cxn ang="0">
                  <a:pos x="673" y="53"/>
                </a:cxn>
                <a:cxn ang="0">
                  <a:pos x="647" y="12"/>
                </a:cxn>
                <a:cxn ang="0">
                  <a:pos x="611" y="16"/>
                </a:cxn>
                <a:cxn ang="0">
                  <a:pos x="571" y="52"/>
                </a:cxn>
                <a:cxn ang="0">
                  <a:pos x="532" y="66"/>
                </a:cxn>
                <a:cxn ang="0">
                  <a:pos x="500" y="81"/>
                </a:cxn>
                <a:cxn ang="0">
                  <a:pos x="420" y="65"/>
                </a:cxn>
                <a:cxn ang="0">
                  <a:pos x="387" y="14"/>
                </a:cxn>
                <a:cxn ang="0">
                  <a:pos x="362" y="11"/>
                </a:cxn>
                <a:cxn ang="0">
                  <a:pos x="339" y="33"/>
                </a:cxn>
                <a:cxn ang="0">
                  <a:pos x="238" y="30"/>
                </a:cxn>
                <a:cxn ang="0">
                  <a:pos x="279" y="94"/>
                </a:cxn>
                <a:cxn ang="0">
                  <a:pos x="243" y="100"/>
                </a:cxn>
                <a:cxn ang="0">
                  <a:pos x="224" y="147"/>
                </a:cxn>
                <a:cxn ang="0">
                  <a:pos x="260" y="193"/>
                </a:cxn>
                <a:cxn ang="0">
                  <a:pos x="213" y="397"/>
                </a:cxn>
                <a:cxn ang="0">
                  <a:pos x="155" y="397"/>
                </a:cxn>
                <a:cxn ang="0">
                  <a:pos x="102" y="420"/>
                </a:cxn>
                <a:cxn ang="0">
                  <a:pos x="56" y="445"/>
                </a:cxn>
                <a:cxn ang="0">
                  <a:pos x="29" y="501"/>
                </a:cxn>
                <a:cxn ang="0">
                  <a:pos x="22" y="536"/>
                </a:cxn>
                <a:cxn ang="0">
                  <a:pos x="75" y="597"/>
                </a:cxn>
                <a:cxn ang="0">
                  <a:pos x="341" y="700"/>
                </a:cxn>
                <a:cxn ang="0">
                  <a:pos x="424" y="724"/>
                </a:cxn>
                <a:cxn ang="0">
                  <a:pos x="468" y="701"/>
                </a:cxn>
                <a:cxn ang="0">
                  <a:pos x="503" y="710"/>
                </a:cxn>
                <a:cxn ang="0">
                  <a:pos x="520" y="705"/>
                </a:cxn>
                <a:cxn ang="0">
                  <a:pos x="544" y="675"/>
                </a:cxn>
                <a:cxn ang="0">
                  <a:pos x="580" y="679"/>
                </a:cxn>
                <a:cxn ang="0">
                  <a:pos x="590" y="639"/>
                </a:cxn>
                <a:cxn ang="0">
                  <a:pos x="609" y="615"/>
                </a:cxn>
                <a:cxn ang="0">
                  <a:pos x="679" y="643"/>
                </a:cxn>
                <a:cxn ang="0">
                  <a:pos x="697" y="655"/>
                </a:cxn>
                <a:cxn ang="0">
                  <a:pos x="736" y="669"/>
                </a:cxn>
                <a:cxn ang="0">
                  <a:pos x="926" y="651"/>
                </a:cxn>
                <a:cxn ang="0">
                  <a:pos x="942" y="600"/>
                </a:cxn>
                <a:cxn ang="0">
                  <a:pos x="943" y="575"/>
                </a:cxn>
              </a:cxnLst>
              <a:rect l="0" t="0" r="r" b="b"/>
              <a:pathLst>
                <a:path w="1069" h="728">
                  <a:moveTo>
                    <a:pt x="922" y="540"/>
                  </a:moveTo>
                  <a:cubicBezTo>
                    <a:pt x="922" y="528"/>
                    <a:pt x="930" y="530"/>
                    <a:pt x="937" y="526"/>
                  </a:cubicBezTo>
                  <a:cubicBezTo>
                    <a:pt x="943" y="522"/>
                    <a:pt x="948" y="501"/>
                    <a:pt x="953" y="493"/>
                  </a:cubicBezTo>
                  <a:cubicBezTo>
                    <a:pt x="958" y="485"/>
                    <a:pt x="999" y="386"/>
                    <a:pt x="1005" y="373"/>
                  </a:cubicBezTo>
                  <a:cubicBezTo>
                    <a:pt x="1011" y="361"/>
                    <a:pt x="1044" y="288"/>
                    <a:pt x="1044" y="288"/>
                  </a:cubicBezTo>
                  <a:cubicBezTo>
                    <a:pt x="1049" y="274"/>
                    <a:pt x="1049" y="274"/>
                    <a:pt x="1049" y="274"/>
                  </a:cubicBezTo>
                  <a:cubicBezTo>
                    <a:pt x="1055" y="274"/>
                    <a:pt x="1055" y="274"/>
                    <a:pt x="1055" y="274"/>
                  </a:cubicBezTo>
                  <a:cubicBezTo>
                    <a:pt x="1069" y="257"/>
                    <a:pt x="1069" y="257"/>
                    <a:pt x="1069" y="257"/>
                  </a:cubicBezTo>
                  <a:cubicBezTo>
                    <a:pt x="1060" y="257"/>
                    <a:pt x="1060" y="257"/>
                    <a:pt x="1060" y="257"/>
                  </a:cubicBezTo>
                  <a:cubicBezTo>
                    <a:pt x="1056" y="264"/>
                    <a:pt x="1056" y="264"/>
                    <a:pt x="1056" y="264"/>
                  </a:cubicBezTo>
                  <a:cubicBezTo>
                    <a:pt x="1056" y="264"/>
                    <a:pt x="1041" y="270"/>
                    <a:pt x="1029" y="270"/>
                  </a:cubicBezTo>
                  <a:cubicBezTo>
                    <a:pt x="1018" y="270"/>
                    <a:pt x="1030" y="258"/>
                    <a:pt x="1030" y="258"/>
                  </a:cubicBezTo>
                  <a:cubicBezTo>
                    <a:pt x="1012" y="253"/>
                    <a:pt x="1012" y="253"/>
                    <a:pt x="1012" y="253"/>
                  </a:cubicBezTo>
                  <a:cubicBezTo>
                    <a:pt x="1002" y="236"/>
                    <a:pt x="1002" y="236"/>
                    <a:pt x="1002" y="236"/>
                  </a:cubicBezTo>
                  <a:cubicBezTo>
                    <a:pt x="992" y="241"/>
                    <a:pt x="992" y="241"/>
                    <a:pt x="992" y="241"/>
                  </a:cubicBezTo>
                  <a:cubicBezTo>
                    <a:pt x="982" y="235"/>
                    <a:pt x="982" y="235"/>
                    <a:pt x="982" y="235"/>
                  </a:cubicBezTo>
                  <a:cubicBezTo>
                    <a:pt x="977" y="228"/>
                    <a:pt x="977" y="228"/>
                    <a:pt x="977" y="228"/>
                  </a:cubicBezTo>
                  <a:cubicBezTo>
                    <a:pt x="962" y="225"/>
                    <a:pt x="962" y="225"/>
                    <a:pt x="962" y="225"/>
                  </a:cubicBezTo>
                  <a:cubicBezTo>
                    <a:pt x="949" y="218"/>
                    <a:pt x="949" y="218"/>
                    <a:pt x="949" y="218"/>
                  </a:cubicBezTo>
                  <a:cubicBezTo>
                    <a:pt x="949" y="218"/>
                    <a:pt x="953" y="215"/>
                    <a:pt x="954" y="206"/>
                  </a:cubicBezTo>
                  <a:cubicBezTo>
                    <a:pt x="955" y="197"/>
                    <a:pt x="942" y="210"/>
                    <a:pt x="942" y="210"/>
                  </a:cubicBezTo>
                  <a:cubicBezTo>
                    <a:pt x="926" y="202"/>
                    <a:pt x="926" y="202"/>
                    <a:pt x="926" y="202"/>
                  </a:cubicBezTo>
                  <a:cubicBezTo>
                    <a:pt x="927" y="186"/>
                    <a:pt x="927" y="186"/>
                    <a:pt x="927" y="186"/>
                  </a:cubicBezTo>
                  <a:cubicBezTo>
                    <a:pt x="918" y="189"/>
                    <a:pt x="918" y="189"/>
                    <a:pt x="918" y="189"/>
                  </a:cubicBezTo>
                  <a:cubicBezTo>
                    <a:pt x="908" y="177"/>
                    <a:pt x="908" y="177"/>
                    <a:pt x="908" y="177"/>
                  </a:cubicBezTo>
                  <a:cubicBezTo>
                    <a:pt x="907" y="159"/>
                    <a:pt x="907" y="159"/>
                    <a:pt x="907" y="159"/>
                  </a:cubicBezTo>
                  <a:cubicBezTo>
                    <a:pt x="901" y="159"/>
                    <a:pt x="901" y="159"/>
                    <a:pt x="901" y="159"/>
                  </a:cubicBezTo>
                  <a:cubicBezTo>
                    <a:pt x="897" y="121"/>
                    <a:pt x="897" y="121"/>
                    <a:pt x="897" y="121"/>
                  </a:cubicBezTo>
                  <a:cubicBezTo>
                    <a:pt x="826" y="122"/>
                    <a:pt x="826" y="122"/>
                    <a:pt x="826" y="122"/>
                  </a:cubicBezTo>
                  <a:cubicBezTo>
                    <a:pt x="826" y="122"/>
                    <a:pt x="818" y="139"/>
                    <a:pt x="814" y="141"/>
                  </a:cubicBezTo>
                  <a:cubicBezTo>
                    <a:pt x="811" y="144"/>
                    <a:pt x="814" y="155"/>
                    <a:pt x="814" y="155"/>
                  </a:cubicBezTo>
                  <a:cubicBezTo>
                    <a:pt x="814" y="155"/>
                    <a:pt x="807" y="158"/>
                    <a:pt x="807" y="160"/>
                  </a:cubicBezTo>
                  <a:cubicBezTo>
                    <a:pt x="806" y="161"/>
                    <a:pt x="807" y="171"/>
                    <a:pt x="807" y="171"/>
                  </a:cubicBezTo>
                  <a:cubicBezTo>
                    <a:pt x="807" y="171"/>
                    <a:pt x="816" y="173"/>
                    <a:pt x="816" y="179"/>
                  </a:cubicBezTo>
                  <a:cubicBezTo>
                    <a:pt x="817" y="185"/>
                    <a:pt x="800" y="182"/>
                    <a:pt x="800" y="182"/>
                  </a:cubicBezTo>
                  <a:cubicBezTo>
                    <a:pt x="793" y="190"/>
                    <a:pt x="793" y="190"/>
                    <a:pt x="793" y="190"/>
                  </a:cubicBezTo>
                  <a:cubicBezTo>
                    <a:pt x="758" y="164"/>
                    <a:pt x="758" y="164"/>
                    <a:pt x="758" y="164"/>
                  </a:cubicBezTo>
                  <a:cubicBezTo>
                    <a:pt x="741" y="178"/>
                    <a:pt x="741" y="178"/>
                    <a:pt x="741" y="178"/>
                  </a:cubicBezTo>
                  <a:cubicBezTo>
                    <a:pt x="733" y="190"/>
                    <a:pt x="733" y="190"/>
                    <a:pt x="733" y="190"/>
                  </a:cubicBezTo>
                  <a:cubicBezTo>
                    <a:pt x="735" y="201"/>
                    <a:pt x="735" y="201"/>
                    <a:pt x="735" y="201"/>
                  </a:cubicBezTo>
                  <a:cubicBezTo>
                    <a:pt x="735" y="201"/>
                    <a:pt x="734" y="212"/>
                    <a:pt x="734" y="217"/>
                  </a:cubicBezTo>
                  <a:cubicBezTo>
                    <a:pt x="734" y="221"/>
                    <a:pt x="745" y="230"/>
                    <a:pt x="745" y="230"/>
                  </a:cubicBezTo>
                  <a:cubicBezTo>
                    <a:pt x="737" y="230"/>
                    <a:pt x="737" y="230"/>
                    <a:pt x="737" y="230"/>
                  </a:cubicBezTo>
                  <a:cubicBezTo>
                    <a:pt x="718" y="222"/>
                    <a:pt x="718" y="222"/>
                    <a:pt x="718" y="222"/>
                  </a:cubicBezTo>
                  <a:cubicBezTo>
                    <a:pt x="718" y="222"/>
                    <a:pt x="710" y="212"/>
                    <a:pt x="701" y="199"/>
                  </a:cubicBezTo>
                  <a:cubicBezTo>
                    <a:pt x="692" y="186"/>
                    <a:pt x="679" y="178"/>
                    <a:pt x="679" y="178"/>
                  </a:cubicBezTo>
                  <a:cubicBezTo>
                    <a:pt x="679" y="178"/>
                    <a:pt x="690" y="179"/>
                    <a:pt x="693" y="178"/>
                  </a:cubicBezTo>
                  <a:cubicBezTo>
                    <a:pt x="696" y="176"/>
                    <a:pt x="689" y="168"/>
                    <a:pt x="689" y="168"/>
                  </a:cubicBezTo>
                  <a:cubicBezTo>
                    <a:pt x="698" y="155"/>
                    <a:pt x="698" y="155"/>
                    <a:pt x="698" y="155"/>
                  </a:cubicBezTo>
                  <a:cubicBezTo>
                    <a:pt x="689" y="137"/>
                    <a:pt x="689" y="137"/>
                    <a:pt x="689" y="137"/>
                  </a:cubicBezTo>
                  <a:cubicBezTo>
                    <a:pt x="689" y="137"/>
                    <a:pt x="679" y="115"/>
                    <a:pt x="678" y="99"/>
                  </a:cubicBezTo>
                  <a:cubicBezTo>
                    <a:pt x="676" y="83"/>
                    <a:pt x="684" y="86"/>
                    <a:pt x="684" y="86"/>
                  </a:cubicBezTo>
                  <a:cubicBezTo>
                    <a:pt x="680" y="71"/>
                    <a:pt x="680" y="71"/>
                    <a:pt x="680" y="71"/>
                  </a:cubicBezTo>
                  <a:cubicBezTo>
                    <a:pt x="673" y="53"/>
                    <a:pt x="673" y="53"/>
                    <a:pt x="673" y="53"/>
                  </a:cubicBezTo>
                  <a:cubicBezTo>
                    <a:pt x="662" y="40"/>
                    <a:pt x="662" y="40"/>
                    <a:pt x="662" y="40"/>
                  </a:cubicBezTo>
                  <a:cubicBezTo>
                    <a:pt x="670" y="17"/>
                    <a:pt x="670" y="17"/>
                    <a:pt x="670" y="17"/>
                  </a:cubicBezTo>
                  <a:cubicBezTo>
                    <a:pt x="647" y="12"/>
                    <a:pt x="647" y="12"/>
                    <a:pt x="647" y="12"/>
                  </a:cubicBezTo>
                  <a:cubicBezTo>
                    <a:pt x="626" y="3"/>
                    <a:pt x="626" y="3"/>
                    <a:pt x="626" y="3"/>
                  </a:cubicBezTo>
                  <a:cubicBezTo>
                    <a:pt x="612" y="8"/>
                    <a:pt x="612" y="8"/>
                    <a:pt x="612" y="8"/>
                  </a:cubicBezTo>
                  <a:cubicBezTo>
                    <a:pt x="612" y="8"/>
                    <a:pt x="612" y="15"/>
                    <a:pt x="611" y="16"/>
                  </a:cubicBezTo>
                  <a:cubicBezTo>
                    <a:pt x="611" y="18"/>
                    <a:pt x="588" y="15"/>
                    <a:pt x="588" y="15"/>
                  </a:cubicBezTo>
                  <a:cubicBezTo>
                    <a:pt x="588" y="15"/>
                    <a:pt x="588" y="36"/>
                    <a:pt x="588" y="37"/>
                  </a:cubicBezTo>
                  <a:cubicBezTo>
                    <a:pt x="588" y="38"/>
                    <a:pt x="571" y="52"/>
                    <a:pt x="571" y="52"/>
                  </a:cubicBezTo>
                  <a:cubicBezTo>
                    <a:pt x="566" y="43"/>
                    <a:pt x="566" y="43"/>
                    <a:pt x="566" y="43"/>
                  </a:cubicBezTo>
                  <a:cubicBezTo>
                    <a:pt x="566" y="43"/>
                    <a:pt x="549" y="62"/>
                    <a:pt x="546" y="65"/>
                  </a:cubicBezTo>
                  <a:cubicBezTo>
                    <a:pt x="543" y="67"/>
                    <a:pt x="533" y="65"/>
                    <a:pt x="532" y="66"/>
                  </a:cubicBezTo>
                  <a:cubicBezTo>
                    <a:pt x="532" y="68"/>
                    <a:pt x="520" y="67"/>
                    <a:pt x="520" y="67"/>
                  </a:cubicBezTo>
                  <a:cubicBezTo>
                    <a:pt x="520" y="67"/>
                    <a:pt x="504" y="95"/>
                    <a:pt x="495" y="95"/>
                  </a:cubicBezTo>
                  <a:cubicBezTo>
                    <a:pt x="486" y="95"/>
                    <a:pt x="500" y="81"/>
                    <a:pt x="500" y="81"/>
                  </a:cubicBezTo>
                  <a:cubicBezTo>
                    <a:pt x="492" y="71"/>
                    <a:pt x="492" y="71"/>
                    <a:pt x="492" y="71"/>
                  </a:cubicBezTo>
                  <a:cubicBezTo>
                    <a:pt x="492" y="71"/>
                    <a:pt x="469" y="89"/>
                    <a:pt x="456" y="89"/>
                  </a:cubicBezTo>
                  <a:cubicBezTo>
                    <a:pt x="443" y="90"/>
                    <a:pt x="420" y="65"/>
                    <a:pt x="420" y="65"/>
                  </a:cubicBezTo>
                  <a:cubicBezTo>
                    <a:pt x="400" y="63"/>
                    <a:pt x="400" y="63"/>
                    <a:pt x="400" y="63"/>
                  </a:cubicBezTo>
                  <a:cubicBezTo>
                    <a:pt x="400" y="63"/>
                    <a:pt x="408" y="49"/>
                    <a:pt x="408" y="43"/>
                  </a:cubicBezTo>
                  <a:cubicBezTo>
                    <a:pt x="409" y="37"/>
                    <a:pt x="387" y="14"/>
                    <a:pt x="387" y="14"/>
                  </a:cubicBezTo>
                  <a:cubicBezTo>
                    <a:pt x="382" y="0"/>
                    <a:pt x="382" y="0"/>
                    <a:pt x="382" y="0"/>
                  </a:cubicBezTo>
                  <a:cubicBezTo>
                    <a:pt x="382" y="0"/>
                    <a:pt x="370" y="14"/>
                    <a:pt x="370" y="15"/>
                  </a:cubicBezTo>
                  <a:cubicBezTo>
                    <a:pt x="370" y="15"/>
                    <a:pt x="362" y="11"/>
                    <a:pt x="362" y="11"/>
                  </a:cubicBezTo>
                  <a:cubicBezTo>
                    <a:pt x="352" y="26"/>
                    <a:pt x="352" y="26"/>
                    <a:pt x="352" y="26"/>
                  </a:cubicBezTo>
                  <a:cubicBezTo>
                    <a:pt x="352" y="26"/>
                    <a:pt x="336" y="15"/>
                    <a:pt x="334" y="18"/>
                  </a:cubicBezTo>
                  <a:cubicBezTo>
                    <a:pt x="331" y="20"/>
                    <a:pt x="339" y="33"/>
                    <a:pt x="339" y="33"/>
                  </a:cubicBezTo>
                  <a:cubicBezTo>
                    <a:pt x="272" y="31"/>
                    <a:pt x="272" y="31"/>
                    <a:pt x="272" y="31"/>
                  </a:cubicBezTo>
                  <a:cubicBezTo>
                    <a:pt x="272" y="31"/>
                    <a:pt x="265" y="29"/>
                    <a:pt x="258" y="27"/>
                  </a:cubicBezTo>
                  <a:cubicBezTo>
                    <a:pt x="251" y="25"/>
                    <a:pt x="238" y="30"/>
                    <a:pt x="238" y="30"/>
                  </a:cubicBezTo>
                  <a:cubicBezTo>
                    <a:pt x="240" y="67"/>
                    <a:pt x="240" y="67"/>
                    <a:pt x="240" y="67"/>
                  </a:cubicBezTo>
                  <a:cubicBezTo>
                    <a:pt x="240" y="67"/>
                    <a:pt x="264" y="67"/>
                    <a:pt x="273" y="71"/>
                  </a:cubicBezTo>
                  <a:cubicBezTo>
                    <a:pt x="282" y="74"/>
                    <a:pt x="279" y="94"/>
                    <a:pt x="279" y="94"/>
                  </a:cubicBezTo>
                  <a:cubicBezTo>
                    <a:pt x="272" y="102"/>
                    <a:pt x="272" y="102"/>
                    <a:pt x="272" y="102"/>
                  </a:cubicBezTo>
                  <a:cubicBezTo>
                    <a:pt x="257" y="91"/>
                    <a:pt x="257" y="91"/>
                    <a:pt x="257" y="91"/>
                  </a:cubicBezTo>
                  <a:cubicBezTo>
                    <a:pt x="257" y="91"/>
                    <a:pt x="243" y="99"/>
                    <a:pt x="243" y="100"/>
                  </a:cubicBezTo>
                  <a:cubicBezTo>
                    <a:pt x="243" y="100"/>
                    <a:pt x="230" y="102"/>
                    <a:pt x="230" y="102"/>
                  </a:cubicBezTo>
                  <a:cubicBezTo>
                    <a:pt x="230" y="102"/>
                    <a:pt x="226" y="109"/>
                    <a:pt x="222" y="117"/>
                  </a:cubicBezTo>
                  <a:cubicBezTo>
                    <a:pt x="217" y="125"/>
                    <a:pt x="224" y="144"/>
                    <a:pt x="224" y="147"/>
                  </a:cubicBezTo>
                  <a:cubicBezTo>
                    <a:pt x="224" y="149"/>
                    <a:pt x="249" y="166"/>
                    <a:pt x="251" y="166"/>
                  </a:cubicBezTo>
                  <a:cubicBezTo>
                    <a:pt x="254" y="167"/>
                    <a:pt x="252" y="178"/>
                    <a:pt x="252" y="180"/>
                  </a:cubicBezTo>
                  <a:cubicBezTo>
                    <a:pt x="252" y="181"/>
                    <a:pt x="257" y="192"/>
                    <a:pt x="260" y="193"/>
                  </a:cubicBezTo>
                  <a:cubicBezTo>
                    <a:pt x="262" y="194"/>
                    <a:pt x="259" y="237"/>
                    <a:pt x="259" y="237"/>
                  </a:cubicBezTo>
                  <a:cubicBezTo>
                    <a:pt x="226" y="399"/>
                    <a:pt x="226" y="399"/>
                    <a:pt x="226" y="399"/>
                  </a:cubicBezTo>
                  <a:cubicBezTo>
                    <a:pt x="213" y="397"/>
                    <a:pt x="213" y="397"/>
                    <a:pt x="213" y="397"/>
                  </a:cubicBezTo>
                  <a:cubicBezTo>
                    <a:pt x="213" y="397"/>
                    <a:pt x="208" y="387"/>
                    <a:pt x="193" y="387"/>
                  </a:cubicBezTo>
                  <a:cubicBezTo>
                    <a:pt x="177" y="388"/>
                    <a:pt x="163" y="403"/>
                    <a:pt x="163" y="403"/>
                  </a:cubicBezTo>
                  <a:cubicBezTo>
                    <a:pt x="163" y="403"/>
                    <a:pt x="157" y="399"/>
                    <a:pt x="155" y="397"/>
                  </a:cubicBezTo>
                  <a:cubicBezTo>
                    <a:pt x="152" y="396"/>
                    <a:pt x="132" y="408"/>
                    <a:pt x="132" y="408"/>
                  </a:cubicBezTo>
                  <a:cubicBezTo>
                    <a:pt x="132" y="408"/>
                    <a:pt x="120" y="407"/>
                    <a:pt x="112" y="410"/>
                  </a:cubicBezTo>
                  <a:cubicBezTo>
                    <a:pt x="104" y="413"/>
                    <a:pt x="102" y="420"/>
                    <a:pt x="102" y="420"/>
                  </a:cubicBezTo>
                  <a:cubicBezTo>
                    <a:pt x="102" y="420"/>
                    <a:pt x="102" y="420"/>
                    <a:pt x="93" y="420"/>
                  </a:cubicBezTo>
                  <a:cubicBezTo>
                    <a:pt x="84" y="420"/>
                    <a:pt x="83" y="430"/>
                    <a:pt x="82" y="430"/>
                  </a:cubicBezTo>
                  <a:cubicBezTo>
                    <a:pt x="82" y="431"/>
                    <a:pt x="56" y="445"/>
                    <a:pt x="56" y="445"/>
                  </a:cubicBezTo>
                  <a:cubicBezTo>
                    <a:pt x="56" y="445"/>
                    <a:pt x="59" y="452"/>
                    <a:pt x="52" y="459"/>
                  </a:cubicBezTo>
                  <a:cubicBezTo>
                    <a:pt x="45" y="467"/>
                    <a:pt x="44" y="483"/>
                    <a:pt x="44" y="483"/>
                  </a:cubicBezTo>
                  <a:cubicBezTo>
                    <a:pt x="44" y="483"/>
                    <a:pt x="29" y="500"/>
                    <a:pt x="29" y="501"/>
                  </a:cubicBezTo>
                  <a:cubicBezTo>
                    <a:pt x="29" y="501"/>
                    <a:pt x="34" y="511"/>
                    <a:pt x="34" y="511"/>
                  </a:cubicBezTo>
                  <a:cubicBezTo>
                    <a:pt x="34" y="511"/>
                    <a:pt x="40" y="518"/>
                    <a:pt x="39" y="528"/>
                  </a:cubicBezTo>
                  <a:cubicBezTo>
                    <a:pt x="37" y="537"/>
                    <a:pt x="22" y="535"/>
                    <a:pt x="22" y="536"/>
                  </a:cubicBezTo>
                  <a:cubicBezTo>
                    <a:pt x="22" y="537"/>
                    <a:pt x="4" y="550"/>
                    <a:pt x="1" y="555"/>
                  </a:cubicBezTo>
                  <a:cubicBezTo>
                    <a:pt x="0" y="558"/>
                    <a:pt x="0" y="562"/>
                    <a:pt x="1" y="566"/>
                  </a:cubicBezTo>
                  <a:cubicBezTo>
                    <a:pt x="20" y="575"/>
                    <a:pt x="62" y="595"/>
                    <a:pt x="75" y="597"/>
                  </a:cubicBezTo>
                  <a:cubicBezTo>
                    <a:pt x="92" y="600"/>
                    <a:pt x="204" y="624"/>
                    <a:pt x="204" y="624"/>
                  </a:cubicBezTo>
                  <a:cubicBezTo>
                    <a:pt x="204" y="624"/>
                    <a:pt x="268" y="660"/>
                    <a:pt x="284" y="667"/>
                  </a:cubicBezTo>
                  <a:cubicBezTo>
                    <a:pt x="300" y="674"/>
                    <a:pt x="340" y="700"/>
                    <a:pt x="341" y="700"/>
                  </a:cubicBezTo>
                  <a:cubicBezTo>
                    <a:pt x="343" y="700"/>
                    <a:pt x="352" y="699"/>
                    <a:pt x="352" y="699"/>
                  </a:cubicBezTo>
                  <a:cubicBezTo>
                    <a:pt x="418" y="728"/>
                    <a:pt x="418" y="728"/>
                    <a:pt x="418" y="728"/>
                  </a:cubicBezTo>
                  <a:cubicBezTo>
                    <a:pt x="420" y="726"/>
                    <a:pt x="422" y="725"/>
                    <a:pt x="424" y="724"/>
                  </a:cubicBezTo>
                  <a:cubicBezTo>
                    <a:pt x="430" y="721"/>
                    <a:pt x="442" y="712"/>
                    <a:pt x="442" y="712"/>
                  </a:cubicBezTo>
                  <a:cubicBezTo>
                    <a:pt x="442" y="703"/>
                    <a:pt x="442" y="703"/>
                    <a:pt x="442" y="703"/>
                  </a:cubicBezTo>
                  <a:cubicBezTo>
                    <a:pt x="468" y="701"/>
                    <a:pt x="468" y="701"/>
                    <a:pt x="468" y="701"/>
                  </a:cubicBezTo>
                  <a:cubicBezTo>
                    <a:pt x="468" y="701"/>
                    <a:pt x="477" y="715"/>
                    <a:pt x="478" y="714"/>
                  </a:cubicBezTo>
                  <a:cubicBezTo>
                    <a:pt x="480" y="713"/>
                    <a:pt x="484" y="704"/>
                    <a:pt x="493" y="706"/>
                  </a:cubicBezTo>
                  <a:cubicBezTo>
                    <a:pt x="502" y="707"/>
                    <a:pt x="503" y="710"/>
                    <a:pt x="503" y="710"/>
                  </a:cubicBezTo>
                  <a:cubicBezTo>
                    <a:pt x="502" y="696"/>
                    <a:pt x="502" y="696"/>
                    <a:pt x="502" y="696"/>
                  </a:cubicBezTo>
                  <a:cubicBezTo>
                    <a:pt x="516" y="694"/>
                    <a:pt x="516" y="694"/>
                    <a:pt x="516" y="694"/>
                  </a:cubicBezTo>
                  <a:cubicBezTo>
                    <a:pt x="520" y="705"/>
                    <a:pt x="520" y="705"/>
                    <a:pt x="520" y="705"/>
                  </a:cubicBezTo>
                  <a:cubicBezTo>
                    <a:pt x="534" y="694"/>
                    <a:pt x="534" y="694"/>
                    <a:pt x="534" y="694"/>
                  </a:cubicBezTo>
                  <a:cubicBezTo>
                    <a:pt x="533" y="687"/>
                    <a:pt x="533" y="687"/>
                    <a:pt x="533" y="687"/>
                  </a:cubicBezTo>
                  <a:cubicBezTo>
                    <a:pt x="544" y="675"/>
                    <a:pt x="544" y="675"/>
                    <a:pt x="544" y="675"/>
                  </a:cubicBezTo>
                  <a:cubicBezTo>
                    <a:pt x="550" y="683"/>
                    <a:pt x="550" y="683"/>
                    <a:pt x="550" y="683"/>
                  </a:cubicBezTo>
                  <a:cubicBezTo>
                    <a:pt x="571" y="675"/>
                    <a:pt x="571" y="675"/>
                    <a:pt x="571" y="675"/>
                  </a:cubicBezTo>
                  <a:cubicBezTo>
                    <a:pt x="580" y="679"/>
                    <a:pt x="580" y="679"/>
                    <a:pt x="580" y="679"/>
                  </a:cubicBezTo>
                  <a:cubicBezTo>
                    <a:pt x="580" y="664"/>
                    <a:pt x="580" y="664"/>
                    <a:pt x="580" y="664"/>
                  </a:cubicBezTo>
                  <a:cubicBezTo>
                    <a:pt x="580" y="664"/>
                    <a:pt x="593" y="665"/>
                    <a:pt x="592" y="658"/>
                  </a:cubicBezTo>
                  <a:cubicBezTo>
                    <a:pt x="590" y="651"/>
                    <a:pt x="590" y="642"/>
                    <a:pt x="590" y="639"/>
                  </a:cubicBezTo>
                  <a:cubicBezTo>
                    <a:pt x="590" y="637"/>
                    <a:pt x="604" y="638"/>
                    <a:pt x="605" y="637"/>
                  </a:cubicBezTo>
                  <a:cubicBezTo>
                    <a:pt x="605" y="635"/>
                    <a:pt x="610" y="624"/>
                    <a:pt x="610" y="624"/>
                  </a:cubicBezTo>
                  <a:cubicBezTo>
                    <a:pt x="609" y="615"/>
                    <a:pt x="609" y="615"/>
                    <a:pt x="609" y="615"/>
                  </a:cubicBezTo>
                  <a:cubicBezTo>
                    <a:pt x="658" y="617"/>
                    <a:pt x="658" y="617"/>
                    <a:pt x="658" y="617"/>
                  </a:cubicBezTo>
                  <a:cubicBezTo>
                    <a:pt x="658" y="617"/>
                    <a:pt x="663" y="635"/>
                    <a:pt x="669" y="635"/>
                  </a:cubicBezTo>
                  <a:cubicBezTo>
                    <a:pt x="675" y="636"/>
                    <a:pt x="679" y="643"/>
                    <a:pt x="679" y="643"/>
                  </a:cubicBezTo>
                  <a:cubicBezTo>
                    <a:pt x="690" y="643"/>
                    <a:pt x="690" y="643"/>
                    <a:pt x="690" y="643"/>
                  </a:cubicBezTo>
                  <a:cubicBezTo>
                    <a:pt x="691" y="657"/>
                    <a:pt x="691" y="657"/>
                    <a:pt x="691" y="657"/>
                  </a:cubicBezTo>
                  <a:cubicBezTo>
                    <a:pt x="697" y="655"/>
                    <a:pt x="697" y="655"/>
                    <a:pt x="697" y="655"/>
                  </a:cubicBezTo>
                  <a:cubicBezTo>
                    <a:pt x="697" y="655"/>
                    <a:pt x="702" y="665"/>
                    <a:pt x="708" y="667"/>
                  </a:cubicBezTo>
                  <a:cubicBezTo>
                    <a:pt x="715" y="670"/>
                    <a:pt x="726" y="662"/>
                    <a:pt x="726" y="662"/>
                  </a:cubicBezTo>
                  <a:cubicBezTo>
                    <a:pt x="726" y="662"/>
                    <a:pt x="730" y="665"/>
                    <a:pt x="736" y="669"/>
                  </a:cubicBezTo>
                  <a:cubicBezTo>
                    <a:pt x="923" y="666"/>
                    <a:pt x="923" y="666"/>
                    <a:pt x="923" y="666"/>
                  </a:cubicBezTo>
                  <a:cubicBezTo>
                    <a:pt x="934" y="661"/>
                    <a:pt x="934" y="661"/>
                    <a:pt x="934" y="661"/>
                  </a:cubicBezTo>
                  <a:cubicBezTo>
                    <a:pt x="934" y="661"/>
                    <a:pt x="923" y="659"/>
                    <a:pt x="926" y="651"/>
                  </a:cubicBezTo>
                  <a:cubicBezTo>
                    <a:pt x="930" y="643"/>
                    <a:pt x="933" y="642"/>
                    <a:pt x="934" y="631"/>
                  </a:cubicBezTo>
                  <a:cubicBezTo>
                    <a:pt x="934" y="621"/>
                    <a:pt x="930" y="611"/>
                    <a:pt x="930" y="611"/>
                  </a:cubicBezTo>
                  <a:cubicBezTo>
                    <a:pt x="942" y="600"/>
                    <a:pt x="942" y="600"/>
                    <a:pt x="942" y="600"/>
                  </a:cubicBezTo>
                  <a:cubicBezTo>
                    <a:pt x="942" y="600"/>
                    <a:pt x="934" y="577"/>
                    <a:pt x="942" y="579"/>
                  </a:cubicBezTo>
                  <a:cubicBezTo>
                    <a:pt x="943" y="580"/>
                    <a:pt x="943" y="580"/>
                    <a:pt x="944" y="580"/>
                  </a:cubicBezTo>
                  <a:cubicBezTo>
                    <a:pt x="944" y="578"/>
                    <a:pt x="943" y="576"/>
                    <a:pt x="943" y="575"/>
                  </a:cubicBezTo>
                  <a:cubicBezTo>
                    <a:pt x="941" y="566"/>
                    <a:pt x="922" y="553"/>
                    <a:pt x="922" y="540"/>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206" name="Freeform 321">
              <a:extLst>
                <a:ext uri="{FF2B5EF4-FFF2-40B4-BE49-F238E27FC236}">
                  <a16:creationId xmlns:a16="http://schemas.microsoft.com/office/drawing/2014/main" id="{AAE79E0A-7C73-495D-9A98-3A38FBF289BD}"/>
                </a:ext>
              </a:extLst>
            </p:cNvPr>
            <p:cNvSpPr>
              <a:spLocks noChangeAspect="1"/>
            </p:cNvSpPr>
            <p:nvPr/>
          </p:nvSpPr>
          <p:spPr bwMode="auto">
            <a:xfrm>
              <a:off x="11209" y="200"/>
              <a:ext cx="721" cy="825"/>
            </a:xfrm>
            <a:custGeom>
              <a:avLst/>
              <a:gdLst/>
              <a:ahLst/>
              <a:cxnLst>
                <a:cxn ang="0">
                  <a:pos x="304" y="204"/>
                </a:cxn>
                <a:cxn ang="0">
                  <a:pos x="307" y="182"/>
                </a:cxn>
                <a:cxn ang="0">
                  <a:pos x="305" y="111"/>
                </a:cxn>
                <a:cxn ang="0">
                  <a:pos x="321" y="79"/>
                </a:cxn>
                <a:cxn ang="0">
                  <a:pos x="308" y="49"/>
                </a:cxn>
                <a:cxn ang="0">
                  <a:pos x="279" y="39"/>
                </a:cxn>
                <a:cxn ang="0">
                  <a:pos x="282" y="1"/>
                </a:cxn>
                <a:cxn ang="0">
                  <a:pos x="256" y="22"/>
                </a:cxn>
                <a:cxn ang="0">
                  <a:pos x="227" y="47"/>
                </a:cxn>
                <a:cxn ang="0">
                  <a:pos x="205" y="50"/>
                </a:cxn>
                <a:cxn ang="0">
                  <a:pos x="186" y="61"/>
                </a:cxn>
                <a:cxn ang="0">
                  <a:pos x="168" y="66"/>
                </a:cxn>
                <a:cxn ang="0">
                  <a:pos x="149" y="66"/>
                </a:cxn>
                <a:cxn ang="0">
                  <a:pos x="125" y="78"/>
                </a:cxn>
                <a:cxn ang="0">
                  <a:pos x="107" y="90"/>
                </a:cxn>
                <a:cxn ang="0">
                  <a:pos x="81" y="87"/>
                </a:cxn>
                <a:cxn ang="0">
                  <a:pos x="53" y="84"/>
                </a:cxn>
                <a:cxn ang="0">
                  <a:pos x="25" y="66"/>
                </a:cxn>
                <a:cxn ang="0">
                  <a:pos x="0" y="60"/>
                </a:cxn>
                <a:cxn ang="0">
                  <a:pos x="41" y="101"/>
                </a:cxn>
                <a:cxn ang="0">
                  <a:pos x="38" y="130"/>
                </a:cxn>
                <a:cxn ang="0">
                  <a:pos x="49" y="163"/>
                </a:cxn>
                <a:cxn ang="0">
                  <a:pos x="85" y="172"/>
                </a:cxn>
                <a:cxn ang="0">
                  <a:pos x="87" y="185"/>
                </a:cxn>
                <a:cxn ang="0">
                  <a:pos x="131" y="199"/>
                </a:cxn>
                <a:cxn ang="0">
                  <a:pos x="134" y="235"/>
                </a:cxn>
                <a:cxn ang="0">
                  <a:pos x="145" y="268"/>
                </a:cxn>
                <a:cxn ang="0">
                  <a:pos x="150" y="319"/>
                </a:cxn>
                <a:cxn ang="0">
                  <a:pos x="150" y="350"/>
                </a:cxn>
                <a:cxn ang="0">
                  <a:pos x="140" y="360"/>
                </a:cxn>
                <a:cxn ang="0">
                  <a:pos x="179" y="404"/>
                </a:cxn>
                <a:cxn ang="0">
                  <a:pos x="206" y="412"/>
                </a:cxn>
                <a:cxn ang="0">
                  <a:pos x="196" y="383"/>
                </a:cxn>
                <a:cxn ang="0">
                  <a:pos x="202" y="360"/>
                </a:cxn>
                <a:cxn ang="0">
                  <a:pos x="254" y="372"/>
                </a:cxn>
                <a:cxn ang="0">
                  <a:pos x="277" y="361"/>
                </a:cxn>
                <a:cxn ang="0">
                  <a:pos x="268" y="342"/>
                </a:cxn>
                <a:cxn ang="0">
                  <a:pos x="275" y="323"/>
                </a:cxn>
                <a:cxn ang="0">
                  <a:pos x="357" y="303"/>
                </a:cxn>
                <a:cxn ang="0">
                  <a:pos x="359" y="244"/>
                </a:cxn>
              </a:cxnLst>
              <a:rect l="0" t="0" r="r" b="b"/>
              <a:pathLst>
                <a:path w="359" h="412">
                  <a:moveTo>
                    <a:pt x="359" y="244"/>
                  </a:moveTo>
                  <a:cubicBezTo>
                    <a:pt x="343" y="237"/>
                    <a:pt x="304" y="204"/>
                    <a:pt x="304" y="204"/>
                  </a:cubicBezTo>
                  <a:cubicBezTo>
                    <a:pt x="307" y="201"/>
                    <a:pt x="307" y="201"/>
                    <a:pt x="307" y="201"/>
                  </a:cubicBezTo>
                  <a:cubicBezTo>
                    <a:pt x="307" y="201"/>
                    <a:pt x="309" y="182"/>
                    <a:pt x="307" y="182"/>
                  </a:cubicBezTo>
                  <a:cubicBezTo>
                    <a:pt x="305" y="182"/>
                    <a:pt x="291" y="161"/>
                    <a:pt x="291" y="147"/>
                  </a:cubicBezTo>
                  <a:cubicBezTo>
                    <a:pt x="291" y="132"/>
                    <a:pt x="303" y="116"/>
                    <a:pt x="305" y="111"/>
                  </a:cubicBezTo>
                  <a:cubicBezTo>
                    <a:pt x="307" y="106"/>
                    <a:pt x="299" y="101"/>
                    <a:pt x="299" y="101"/>
                  </a:cubicBezTo>
                  <a:cubicBezTo>
                    <a:pt x="321" y="79"/>
                    <a:pt x="321" y="79"/>
                    <a:pt x="321" y="79"/>
                  </a:cubicBezTo>
                  <a:cubicBezTo>
                    <a:pt x="308" y="66"/>
                    <a:pt x="308" y="66"/>
                    <a:pt x="308" y="66"/>
                  </a:cubicBezTo>
                  <a:cubicBezTo>
                    <a:pt x="308" y="66"/>
                    <a:pt x="312" y="58"/>
                    <a:pt x="308" y="49"/>
                  </a:cubicBezTo>
                  <a:cubicBezTo>
                    <a:pt x="303" y="39"/>
                    <a:pt x="283" y="47"/>
                    <a:pt x="283" y="47"/>
                  </a:cubicBezTo>
                  <a:cubicBezTo>
                    <a:pt x="279" y="39"/>
                    <a:pt x="279" y="39"/>
                    <a:pt x="279" y="39"/>
                  </a:cubicBezTo>
                  <a:cubicBezTo>
                    <a:pt x="279" y="39"/>
                    <a:pt x="290" y="28"/>
                    <a:pt x="290" y="21"/>
                  </a:cubicBezTo>
                  <a:cubicBezTo>
                    <a:pt x="290" y="14"/>
                    <a:pt x="283" y="2"/>
                    <a:pt x="282" y="1"/>
                  </a:cubicBezTo>
                  <a:cubicBezTo>
                    <a:pt x="281" y="1"/>
                    <a:pt x="248" y="0"/>
                    <a:pt x="246" y="0"/>
                  </a:cubicBezTo>
                  <a:cubicBezTo>
                    <a:pt x="245" y="0"/>
                    <a:pt x="259" y="11"/>
                    <a:pt x="256" y="22"/>
                  </a:cubicBezTo>
                  <a:cubicBezTo>
                    <a:pt x="253" y="33"/>
                    <a:pt x="235" y="34"/>
                    <a:pt x="235" y="34"/>
                  </a:cubicBezTo>
                  <a:cubicBezTo>
                    <a:pt x="235" y="34"/>
                    <a:pt x="236" y="46"/>
                    <a:pt x="227" y="47"/>
                  </a:cubicBezTo>
                  <a:cubicBezTo>
                    <a:pt x="217" y="48"/>
                    <a:pt x="216" y="39"/>
                    <a:pt x="216" y="39"/>
                  </a:cubicBezTo>
                  <a:cubicBezTo>
                    <a:pt x="205" y="50"/>
                    <a:pt x="205" y="50"/>
                    <a:pt x="205" y="50"/>
                  </a:cubicBezTo>
                  <a:cubicBezTo>
                    <a:pt x="205" y="50"/>
                    <a:pt x="197" y="62"/>
                    <a:pt x="197" y="63"/>
                  </a:cubicBezTo>
                  <a:cubicBezTo>
                    <a:pt x="197" y="63"/>
                    <a:pt x="186" y="61"/>
                    <a:pt x="186" y="61"/>
                  </a:cubicBezTo>
                  <a:cubicBezTo>
                    <a:pt x="178" y="71"/>
                    <a:pt x="178" y="71"/>
                    <a:pt x="178" y="71"/>
                  </a:cubicBezTo>
                  <a:cubicBezTo>
                    <a:pt x="168" y="66"/>
                    <a:pt x="168" y="66"/>
                    <a:pt x="168" y="66"/>
                  </a:cubicBezTo>
                  <a:cubicBezTo>
                    <a:pt x="168" y="66"/>
                    <a:pt x="164" y="72"/>
                    <a:pt x="160" y="72"/>
                  </a:cubicBezTo>
                  <a:cubicBezTo>
                    <a:pt x="156" y="72"/>
                    <a:pt x="149" y="66"/>
                    <a:pt x="149" y="66"/>
                  </a:cubicBezTo>
                  <a:cubicBezTo>
                    <a:pt x="149" y="66"/>
                    <a:pt x="144" y="69"/>
                    <a:pt x="142" y="73"/>
                  </a:cubicBezTo>
                  <a:cubicBezTo>
                    <a:pt x="140" y="77"/>
                    <a:pt x="124" y="74"/>
                    <a:pt x="125" y="78"/>
                  </a:cubicBezTo>
                  <a:cubicBezTo>
                    <a:pt x="125" y="82"/>
                    <a:pt x="119" y="99"/>
                    <a:pt x="113" y="99"/>
                  </a:cubicBezTo>
                  <a:cubicBezTo>
                    <a:pt x="107" y="99"/>
                    <a:pt x="107" y="90"/>
                    <a:pt x="107" y="90"/>
                  </a:cubicBezTo>
                  <a:cubicBezTo>
                    <a:pt x="91" y="78"/>
                    <a:pt x="91" y="78"/>
                    <a:pt x="91" y="78"/>
                  </a:cubicBezTo>
                  <a:cubicBezTo>
                    <a:pt x="81" y="87"/>
                    <a:pt x="81" y="87"/>
                    <a:pt x="81" y="87"/>
                  </a:cubicBezTo>
                  <a:cubicBezTo>
                    <a:pt x="69" y="79"/>
                    <a:pt x="69" y="79"/>
                    <a:pt x="69" y="79"/>
                  </a:cubicBezTo>
                  <a:cubicBezTo>
                    <a:pt x="53" y="84"/>
                    <a:pt x="53" y="84"/>
                    <a:pt x="53" y="84"/>
                  </a:cubicBezTo>
                  <a:cubicBezTo>
                    <a:pt x="53" y="84"/>
                    <a:pt x="34" y="68"/>
                    <a:pt x="32" y="69"/>
                  </a:cubicBezTo>
                  <a:cubicBezTo>
                    <a:pt x="29" y="70"/>
                    <a:pt x="25" y="66"/>
                    <a:pt x="25" y="66"/>
                  </a:cubicBezTo>
                  <a:cubicBezTo>
                    <a:pt x="21" y="73"/>
                    <a:pt x="21" y="73"/>
                    <a:pt x="21" y="73"/>
                  </a:cubicBezTo>
                  <a:cubicBezTo>
                    <a:pt x="0" y="60"/>
                    <a:pt x="0" y="60"/>
                    <a:pt x="0" y="60"/>
                  </a:cubicBezTo>
                  <a:cubicBezTo>
                    <a:pt x="0" y="60"/>
                    <a:pt x="16" y="89"/>
                    <a:pt x="26" y="91"/>
                  </a:cubicBezTo>
                  <a:cubicBezTo>
                    <a:pt x="35" y="93"/>
                    <a:pt x="41" y="101"/>
                    <a:pt x="41" y="101"/>
                  </a:cubicBezTo>
                  <a:cubicBezTo>
                    <a:pt x="35" y="112"/>
                    <a:pt x="35" y="112"/>
                    <a:pt x="35" y="112"/>
                  </a:cubicBezTo>
                  <a:cubicBezTo>
                    <a:pt x="35" y="112"/>
                    <a:pt x="38" y="129"/>
                    <a:pt x="38" y="130"/>
                  </a:cubicBezTo>
                  <a:cubicBezTo>
                    <a:pt x="38" y="131"/>
                    <a:pt x="45" y="142"/>
                    <a:pt x="50" y="148"/>
                  </a:cubicBezTo>
                  <a:cubicBezTo>
                    <a:pt x="56" y="154"/>
                    <a:pt x="49" y="157"/>
                    <a:pt x="49" y="163"/>
                  </a:cubicBezTo>
                  <a:cubicBezTo>
                    <a:pt x="50" y="170"/>
                    <a:pt x="64" y="173"/>
                    <a:pt x="64" y="173"/>
                  </a:cubicBezTo>
                  <a:cubicBezTo>
                    <a:pt x="85" y="172"/>
                    <a:pt x="85" y="172"/>
                    <a:pt x="85" y="172"/>
                  </a:cubicBezTo>
                  <a:cubicBezTo>
                    <a:pt x="88" y="185"/>
                    <a:pt x="88" y="185"/>
                    <a:pt x="88" y="185"/>
                  </a:cubicBezTo>
                  <a:cubicBezTo>
                    <a:pt x="87" y="185"/>
                    <a:pt x="87" y="185"/>
                    <a:pt x="87" y="185"/>
                  </a:cubicBezTo>
                  <a:cubicBezTo>
                    <a:pt x="108" y="194"/>
                    <a:pt x="108" y="194"/>
                    <a:pt x="108" y="194"/>
                  </a:cubicBezTo>
                  <a:cubicBezTo>
                    <a:pt x="131" y="199"/>
                    <a:pt x="131" y="199"/>
                    <a:pt x="131" y="199"/>
                  </a:cubicBezTo>
                  <a:cubicBezTo>
                    <a:pt x="123" y="222"/>
                    <a:pt x="123" y="222"/>
                    <a:pt x="123" y="222"/>
                  </a:cubicBezTo>
                  <a:cubicBezTo>
                    <a:pt x="134" y="235"/>
                    <a:pt x="134" y="235"/>
                    <a:pt x="134" y="235"/>
                  </a:cubicBezTo>
                  <a:cubicBezTo>
                    <a:pt x="141" y="253"/>
                    <a:pt x="141" y="253"/>
                    <a:pt x="141" y="253"/>
                  </a:cubicBezTo>
                  <a:cubicBezTo>
                    <a:pt x="145" y="268"/>
                    <a:pt x="145" y="268"/>
                    <a:pt x="145" y="268"/>
                  </a:cubicBezTo>
                  <a:cubicBezTo>
                    <a:pt x="145" y="268"/>
                    <a:pt x="137" y="265"/>
                    <a:pt x="139" y="281"/>
                  </a:cubicBezTo>
                  <a:cubicBezTo>
                    <a:pt x="140" y="297"/>
                    <a:pt x="150" y="319"/>
                    <a:pt x="150" y="319"/>
                  </a:cubicBezTo>
                  <a:cubicBezTo>
                    <a:pt x="159" y="337"/>
                    <a:pt x="159" y="337"/>
                    <a:pt x="159" y="337"/>
                  </a:cubicBezTo>
                  <a:cubicBezTo>
                    <a:pt x="150" y="350"/>
                    <a:pt x="150" y="350"/>
                    <a:pt x="150" y="350"/>
                  </a:cubicBezTo>
                  <a:cubicBezTo>
                    <a:pt x="150" y="350"/>
                    <a:pt x="157" y="358"/>
                    <a:pt x="154" y="360"/>
                  </a:cubicBezTo>
                  <a:cubicBezTo>
                    <a:pt x="151" y="361"/>
                    <a:pt x="140" y="360"/>
                    <a:pt x="140" y="360"/>
                  </a:cubicBezTo>
                  <a:cubicBezTo>
                    <a:pt x="140" y="360"/>
                    <a:pt x="153" y="368"/>
                    <a:pt x="162" y="381"/>
                  </a:cubicBezTo>
                  <a:cubicBezTo>
                    <a:pt x="171" y="394"/>
                    <a:pt x="179" y="404"/>
                    <a:pt x="179" y="404"/>
                  </a:cubicBezTo>
                  <a:cubicBezTo>
                    <a:pt x="198" y="412"/>
                    <a:pt x="198" y="412"/>
                    <a:pt x="198" y="412"/>
                  </a:cubicBezTo>
                  <a:cubicBezTo>
                    <a:pt x="206" y="412"/>
                    <a:pt x="206" y="412"/>
                    <a:pt x="206" y="412"/>
                  </a:cubicBezTo>
                  <a:cubicBezTo>
                    <a:pt x="206" y="412"/>
                    <a:pt x="195" y="403"/>
                    <a:pt x="195" y="399"/>
                  </a:cubicBezTo>
                  <a:cubicBezTo>
                    <a:pt x="195" y="394"/>
                    <a:pt x="196" y="383"/>
                    <a:pt x="196" y="383"/>
                  </a:cubicBezTo>
                  <a:cubicBezTo>
                    <a:pt x="194" y="372"/>
                    <a:pt x="194" y="372"/>
                    <a:pt x="194" y="372"/>
                  </a:cubicBezTo>
                  <a:cubicBezTo>
                    <a:pt x="202" y="360"/>
                    <a:pt x="202" y="360"/>
                    <a:pt x="202" y="360"/>
                  </a:cubicBezTo>
                  <a:cubicBezTo>
                    <a:pt x="219" y="346"/>
                    <a:pt x="219" y="346"/>
                    <a:pt x="219" y="346"/>
                  </a:cubicBezTo>
                  <a:cubicBezTo>
                    <a:pt x="254" y="372"/>
                    <a:pt x="254" y="372"/>
                    <a:pt x="254" y="372"/>
                  </a:cubicBezTo>
                  <a:cubicBezTo>
                    <a:pt x="261" y="364"/>
                    <a:pt x="261" y="364"/>
                    <a:pt x="261" y="364"/>
                  </a:cubicBezTo>
                  <a:cubicBezTo>
                    <a:pt x="261" y="364"/>
                    <a:pt x="278" y="367"/>
                    <a:pt x="277" y="361"/>
                  </a:cubicBezTo>
                  <a:cubicBezTo>
                    <a:pt x="277" y="355"/>
                    <a:pt x="268" y="353"/>
                    <a:pt x="268" y="353"/>
                  </a:cubicBezTo>
                  <a:cubicBezTo>
                    <a:pt x="268" y="353"/>
                    <a:pt x="267" y="343"/>
                    <a:pt x="268" y="342"/>
                  </a:cubicBezTo>
                  <a:cubicBezTo>
                    <a:pt x="268" y="340"/>
                    <a:pt x="275" y="337"/>
                    <a:pt x="275" y="337"/>
                  </a:cubicBezTo>
                  <a:cubicBezTo>
                    <a:pt x="275" y="337"/>
                    <a:pt x="272" y="326"/>
                    <a:pt x="275" y="323"/>
                  </a:cubicBezTo>
                  <a:cubicBezTo>
                    <a:pt x="279" y="321"/>
                    <a:pt x="287" y="304"/>
                    <a:pt x="287" y="304"/>
                  </a:cubicBezTo>
                  <a:cubicBezTo>
                    <a:pt x="357" y="303"/>
                    <a:pt x="357" y="303"/>
                    <a:pt x="357" y="303"/>
                  </a:cubicBezTo>
                  <a:cubicBezTo>
                    <a:pt x="358" y="296"/>
                    <a:pt x="359" y="284"/>
                    <a:pt x="359" y="265"/>
                  </a:cubicBezTo>
                  <a:cubicBezTo>
                    <a:pt x="359" y="258"/>
                    <a:pt x="359" y="251"/>
                    <a:pt x="359" y="24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07" name="Freeform 322">
              <a:extLst>
                <a:ext uri="{FF2B5EF4-FFF2-40B4-BE49-F238E27FC236}">
                  <a16:creationId xmlns:a16="http://schemas.microsoft.com/office/drawing/2014/main" id="{773288BE-BBC2-4BA0-976D-96AFA12CE1B2}"/>
                </a:ext>
              </a:extLst>
            </p:cNvPr>
            <p:cNvSpPr>
              <a:spLocks noChangeAspect="1"/>
            </p:cNvSpPr>
            <p:nvPr/>
          </p:nvSpPr>
          <p:spPr bwMode="auto">
            <a:xfrm>
              <a:off x="12414" y="297"/>
              <a:ext cx="610" cy="687"/>
            </a:xfrm>
            <a:custGeom>
              <a:avLst/>
              <a:gdLst/>
              <a:ahLst/>
              <a:cxnLst>
                <a:cxn ang="0">
                  <a:pos x="3" y="146"/>
                </a:cxn>
                <a:cxn ang="0">
                  <a:pos x="4" y="148"/>
                </a:cxn>
                <a:cxn ang="0">
                  <a:pos x="5" y="163"/>
                </a:cxn>
                <a:cxn ang="0">
                  <a:pos x="35" y="162"/>
                </a:cxn>
                <a:cxn ang="0">
                  <a:pos x="62" y="186"/>
                </a:cxn>
                <a:cxn ang="0">
                  <a:pos x="74" y="185"/>
                </a:cxn>
                <a:cxn ang="0">
                  <a:pos x="91" y="197"/>
                </a:cxn>
                <a:cxn ang="0">
                  <a:pos x="85" y="206"/>
                </a:cxn>
                <a:cxn ang="0">
                  <a:pos x="108" y="233"/>
                </a:cxn>
                <a:cxn ang="0">
                  <a:pos x="101" y="242"/>
                </a:cxn>
                <a:cxn ang="0">
                  <a:pos x="106" y="249"/>
                </a:cxn>
                <a:cxn ang="0">
                  <a:pos x="106" y="257"/>
                </a:cxn>
                <a:cxn ang="0">
                  <a:pos x="114" y="263"/>
                </a:cxn>
                <a:cxn ang="0">
                  <a:pos x="115" y="281"/>
                </a:cxn>
                <a:cxn ang="0">
                  <a:pos x="127" y="284"/>
                </a:cxn>
                <a:cxn ang="0">
                  <a:pos x="133" y="301"/>
                </a:cxn>
                <a:cxn ang="0">
                  <a:pos x="144" y="306"/>
                </a:cxn>
                <a:cxn ang="0">
                  <a:pos x="143" y="318"/>
                </a:cxn>
                <a:cxn ang="0">
                  <a:pos x="147" y="320"/>
                </a:cxn>
                <a:cxn ang="0">
                  <a:pos x="147" y="336"/>
                </a:cxn>
                <a:cxn ang="0">
                  <a:pos x="171" y="343"/>
                </a:cxn>
                <a:cxn ang="0">
                  <a:pos x="175" y="337"/>
                </a:cxn>
                <a:cxn ang="0">
                  <a:pos x="192" y="336"/>
                </a:cxn>
                <a:cxn ang="0">
                  <a:pos x="190" y="317"/>
                </a:cxn>
                <a:cxn ang="0">
                  <a:pos x="198" y="309"/>
                </a:cxn>
                <a:cxn ang="0">
                  <a:pos x="199" y="300"/>
                </a:cxn>
                <a:cxn ang="0">
                  <a:pos x="208" y="302"/>
                </a:cxn>
                <a:cxn ang="0">
                  <a:pos x="219" y="283"/>
                </a:cxn>
                <a:cxn ang="0">
                  <a:pos x="219" y="275"/>
                </a:cxn>
                <a:cxn ang="0">
                  <a:pos x="232" y="273"/>
                </a:cxn>
                <a:cxn ang="0">
                  <a:pos x="248" y="261"/>
                </a:cxn>
                <a:cxn ang="0">
                  <a:pos x="259" y="256"/>
                </a:cxn>
                <a:cxn ang="0">
                  <a:pos x="265" y="242"/>
                </a:cxn>
                <a:cxn ang="0">
                  <a:pos x="271" y="224"/>
                </a:cxn>
                <a:cxn ang="0">
                  <a:pos x="286" y="224"/>
                </a:cxn>
                <a:cxn ang="0">
                  <a:pos x="304" y="197"/>
                </a:cxn>
                <a:cxn ang="0">
                  <a:pos x="300" y="170"/>
                </a:cxn>
                <a:cxn ang="0">
                  <a:pos x="279" y="156"/>
                </a:cxn>
                <a:cxn ang="0">
                  <a:pos x="269" y="136"/>
                </a:cxn>
                <a:cxn ang="0">
                  <a:pos x="253" y="139"/>
                </a:cxn>
                <a:cxn ang="0">
                  <a:pos x="234" y="90"/>
                </a:cxn>
                <a:cxn ang="0">
                  <a:pos x="230" y="32"/>
                </a:cxn>
                <a:cxn ang="0">
                  <a:pos x="221" y="30"/>
                </a:cxn>
                <a:cxn ang="0">
                  <a:pos x="221" y="19"/>
                </a:cxn>
                <a:cxn ang="0">
                  <a:pos x="203" y="0"/>
                </a:cxn>
                <a:cxn ang="0">
                  <a:pos x="198" y="20"/>
                </a:cxn>
                <a:cxn ang="0">
                  <a:pos x="152" y="77"/>
                </a:cxn>
                <a:cxn ang="0">
                  <a:pos x="142" y="113"/>
                </a:cxn>
                <a:cxn ang="0">
                  <a:pos x="116" y="137"/>
                </a:cxn>
                <a:cxn ang="0">
                  <a:pos x="94" y="127"/>
                </a:cxn>
                <a:cxn ang="0">
                  <a:pos x="86" y="133"/>
                </a:cxn>
                <a:cxn ang="0">
                  <a:pos x="66" y="123"/>
                </a:cxn>
                <a:cxn ang="0">
                  <a:pos x="40" y="138"/>
                </a:cxn>
                <a:cxn ang="0">
                  <a:pos x="12" y="122"/>
                </a:cxn>
                <a:cxn ang="0">
                  <a:pos x="0" y="117"/>
                </a:cxn>
                <a:cxn ang="0">
                  <a:pos x="7" y="135"/>
                </a:cxn>
                <a:cxn ang="0">
                  <a:pos x="3" y="146"/>
                </a:cxn>
              </a:cxnLst>
              <a:rect l="0" t="0" r="r" b="b"/>
              <a:pathLst>
                <a:path w="304" h="343">
                  <a:moveTo>
                    <a:pt x="3" y="146"/>
                  </a:moveTo>
                  <a:cubicBezTo>
                    <a:pt x="4" y="148"/>
                    <a:pt x="4" y="148"/>
                    <a:pt x="4" y="148"/>
                  </a:cubicBezTo>
                  <a:cubicBezTo>
                    <a:pt x="5" y="163"/>
                    <a:pt x="5" y="163"/>
                    <a:pt x="5" y="163"/>
                  </a:cubicBezTo>
                  <a:cubicBezTo>
                    <a:pt x="35" y="162"/>
                    <a:pt x="35" y="162"/>
                    <a:pt x="35" y="162"/>
                  </a:cubicBezTo>
                  <a:cubicBezTo>
                    <a:pt x="62" y="186"/>
                    <a:pt x="62" y="186"/>
                    <a:pt x="62" y="186"/>
                  </a:cubicBezTo>
                  <a:cubicBezTo>
                    <a:pt x="74" y="185"/>
                    <a:pt x="74" y="185"/>
                    <a:pt x="74" y="185"/>
                  </a:cubicBezTo>
                  <a:cubicBezTo>
                    <a:pt x="91" y="197"/>
                    <a:pt x="91" y="197"/>
                    <a:pt x="91" y="197"/>
                  </a:cubicBezTo>
                  <a:cubicBezTo>
                    <a:pt x="85" y="206"/>
                    <a:pt x="85" y="206"/>
                    <a:pt x="85" y="206"/>
                  </a:cubicBezTo>
                  <a:cubicBezTo>
                    <a:pt x="108" y="233"/>
                    <a:pt x="108" y="233"/>
                    <a:pt x="108" y="233"/>
                  </a:cubicBezTo>
                  <a:cubicBezTo>
                    <a:pt x="101" y="242"/>
                    <a:pt x="101" y="242"/>
                    <a:pt x="101" y="242"/>
                  </a:cubicBezTo>
                  <a:cubicBezTo>
                    <a:pt x="106" y="249"/>
                    <a:pt x="106" y="249"/>
                    <a:pt x="106" y="249"/>
                  </a:cubicBezTo>
                  <a:cubicBezTo>
                    <a:pt x="106" y="257"/>
                    <a:pt x="106" y="257"/>
                    <a:pt x="106" y="257"/>
                  </a:cubicBezTo>
                  <a:cubicBezTo>
                    <a:pt x="114" y="263"/>
                    <a:pt x="114" y="263"/>
                    <a:pt x="114" y="263"/>
                  </a:cubicBezTo>
                  <a:cubicBezTo>
                    <a:pt x="115" y="281"/>
                    <a:pt x="115" y="281"/>
                    <a:pt x="115" y="281"/>
                  </a:cubicBezTo>
                  <a:cubicBezTo>
                    <a:pt x="115" y="281"/>
                    <a:pt x="121" y="276"/>
                    <a:pt x="127" y="284"/>
                  </a:cubicBezTo>
                  <a:cubicBezTo>
                    <a:pt x="132" y="292"/>
                    <a:pt x="127" y="297"/>
                    <a:pt x="133" y="301"/>
                  </a:cubicBezTo>
                  <a:cubicBezTo>
                    <a:pt x="139" y="305"/>
                    <a:pt x="144" y="306"/>
                    <a:pt x="144" y="306"/>
                  </a:cubicBezTo>
                  <a:cubicBezTo>
                    <a:pt x="143" y="318"/>
                    <a:pt x="143" y="318"/>
                    <a:pt x="143" y="318"/>
                  </a:cubicBezTo>
                  <a:cubicBezTo>
                    <a:pt x="147" y="320"/>
                    <a:pt x="147" y="320"/>
                    <a:pt x="147" y="320"/>
                  </a:cubicBezTo>
                  <a:cubicBezTo>
                    <a:pt x="147" y="336"/>
                    <a:pt x="147" y="336"/>
                    <a:pt x="147" y="336"/>
                  </a:cubicBezTo>
                  <a:cubicBezTo>
                    <a:pt x="171" y="343"/>
                    <a:pt x="171" y="343"/>
                    <a:pt x="171" y="343"/>
                  </a:cubicBezTo>
                  <a:cubicBezTo>
                    <a:pt x="171" y="343"/>
                    <a:pt x="173" y="337"/>
                    <a:pt x="175" y="337"/>
                  </a:cubicBezTo>
                  <a:cubicBezTo>
                    <a:pt x="177" y="337"/>
                    <a:pt x="192" y="336"/>
                    <a:pt x="192" y="336"/>
                  </a:cubicBezTo>
                  <a:cubicBezTo>
                    <a:pt x="190" y="317"/>
                    <a:pt x="190" y="317"/>
                    <a:pt x="190" y="317"/>
                  </a:cubicBezTo>
                  <a:cubicBezTo>
                    <a:pt x="190" y="317"/>
                    <a:pt x="198" y="316"/>
                    <a:pt x="198" y="309"/>
                  </a:cubicBezTo>
                  <a:cubicBezTo>
                    <a:pt x="199" y="302"/>
                    <a:pt x="199" y="300"/>
                    <a:pt x="199" y="300"/>
                  </a:cubicBezTo>
                  <a:cubicBezTo>
                    <a:pt x="208" y="302"/>
                    <a:pt x="208" y="302"/>
                    <a:pt x="208" y="302"/>
                  </a:cubicBezTo>
                  <a:cubicBezTo>
                    <a:pt x="219" y="283"/>
                    <a:pt x="219" y="283"/>
                    <a:pt x="219" y="283"/>
                  </a:cubicBezTo>
                  <a:cubicBezTo>
                    <a:pt x="219" y="275"/>
                    <a:pt x="219" y="275"/>
                    <a:pt x="219" y="275"/>
                  </a:cubicBezTo>
                  <a:cubicBezTo>
                    <a:pt x="232" y="273"/>
                    <a:pt x="232" y="273"/>
                    <a:pt x="232" y="273"/>
                  </a:cubicBezTo>
                  <a:cubicBezTo>
                    <a:pt x="232" y="273"/>
                    <a:pt x="239" y="262"/>
                    <a:pt x="248" y="261"/>
                  </a:cubicBezTo>
                  <a:cubicBezTo>
                    <a:pt x="256" y="260"/>
                    <a:pt x="259" y="256"/>
                    <a:pt x="259" y="256"/>
                  </a:cubicBezTo>
                  <a:cubicBezTo>
                    <a:pt x="265" y="242"/>
                    <a:pt x="265" y="242"/>
                    <a:pt x="265" y="242"/>
                  </a:cubicBezTo>
                  <a:cubicBezTo>
                    <a:pt x="265" y="242"/>
                    <a:pt x="257" y="224"/>
                    <a:pt x="271" y="224"/>
                  </a:cubicBezTo>
                  <a:cubicBezTo>
                    <a:pt x="276" y="224"/>
                    <a:pt x="281" y="224"/>
                    <a:pt x="286" y="224"/>
                  </a:cubicBezTo>
                  <a:cubicBezTo>
                    <a:pt x="304" y="197"/>
                    <a:pt x="304" y="197"/>
                    <a:pt x="304" y="197"/>
                  </a:cubicBezTo>
                  <a:cubicBezTo>
                    <a:pt x="304" y="197"/>
                    <a:pt x="302" y="179"/>
                    <a:pt x="300" y="170"/>
                  </a:cubicBezTo>
                  <a:cubicBezTo>
                    <a:pt x="298" y="161"/>
                    <a:pt x="285" y="159"/>
                    <a:pt x="279" y="156"/>
                  </a:cubicBezTo>
                  <a:cubicBezTo>
                    <a:pt x="273" y="154"/>
                    <a:pt x="276" y="143"/>
                    <a:pt x="269" y="136"/>
                  </a:cubicBezTo>
                  <a:cubicBezTo>
                    <a:pt x="263" y="129"/>
                    <a:pt x="259" y="140"/>
                    <a:pt x="253" y="139"/>
                  </a:cubicBezTo>
                  <a:cubicBezTo>
                    <a:pt x="248" y="138"/>
                    <a:pt x="235" y="96"/>
                    <a:pt x="234" y="90"/>
                  </a:cubicBezTo>
                  <a:cubicBezTo>
                    <a:pt x="234" y="84"/>
                    <a:pt x="230" y="32"/>
                    <a:pt x="230" y="32"/>
                  </a:cubicBezTo>
                  <a:cubicBezTo>
                    <a:pt x="221" y="30"/>
                    <a:pt x="221" y="30"/>
                    <a:pt x="221" y="30"/>
                  </a:cubicBezTo>
                  <a:cubicBezTo>
                    <a:pt x="221" y="19"/>
                    <a:pt x="221" y="19"/>
                    <a:pt x="221" y="19"/>
                  </a:cubicBezTo>
                  <a:cubicBezTo>
                    <a:pt x="203" y="0"/>
                    <a:pt x="203" y="0"/>
                    <a:pt x="203" y="0"/>
                  </a:cubicBezTo>
                  <a:cubicBezTo>
                    <a:pt x="203" y="0"/>
                    <a:pt x="198" y="18"/>
                    <a:pt x="198" y="20"/>
                  </a:cubicBezTo>
                  <a:cubicBezTo>
                    <a:pt x="198" y="22"/>
                    <a:pt x="152" y="77"/>
                    <a:pt x="152" y="77"/>
                  </a:cubicBezTo>
                  <a:cubicBezTo>
                    <a:pt x="152" y="77"/>
                    <a:pt x="150" y="100"/>
                    <a:pt x="142" y="113"/>
                  </a:cubicBezTo>
                  <a:cubicBezTo>
                    <a:pt x="134" y="126"/>
                    <a:pt x="122" y="132"/>
                    <a:pt x="116" y="137"/>
                  </a:cubicBezTo>
                  <a:cubicBezTo>
                    <a:pt x="109" y="143"/>
                    <a:pt x="94" y="127"/>
                    <a:pt x="94" y="127"/>
                  </a:cubicBezTo>
                  <a:cubicBezTo>
                    <a:pt x="86" y="133"/>
                    <a:pt x="86" y="133"/>
                    <a:pt x="86" y="133"/>
                  </a:cubicBezTo>
                  <a:cubicBezTo>
                    <a:pt x="66" y="123"/>
                    <a:pt x="66" y="123"/>
                    <a:pt x="66" y="123"/>
                  </a:cubicBezTo>
                  <a:cubicBezTo>
                    <a:pt x="66" y="123"/>
                    <a:pt x="57" y="137"/>
                    <a:pt x="40" y="138"/>
                  </a:cubicBezTo>
                  <a:cubicBezTo>
                    <a:pt x="23" y="139"/>
                    <a:pt x="12" y="122"/>
                    <a:pt x="12" y="122"/>
                  </a:cubicBezTo>
                  <a:cubicBezTo>
                    <a:pt x="12" y="122"/>
                    <a:pt x="6" y="119"/>
                    <a:pt x="0" y="117"/>
                  </a:cubicBezTo>
                  <a:cubicBezTo>
                    <a:pt x="7" y="135"/>
                    <a:pt x="7" y="135"/>
                    <a:pt x="7" y="135"/>
                  </a:cubicBezTo>
                  <a:lnTo>
                    <a:pt x="3" y="14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08" name="Freeform 325">
              <a:extLst>
                <a:ext uri="{FF2B5EF4-FFF2-40B4-BE49-F238E27FC236}">
                  <a16:creationId xmlns:a16="http://schemas.microsoft.com/office/drawing/2014/main" id="{0FC0C961-50BD-4E58-837B-F35415B731AD}"/>
                </a:ext>
              </a:extLst>
            </p:cNvPr>
            <p:cNvSpPr>
              <a:spLocks noChangeAspect="1"/>
            </p:cNvSpPr>
            <p:nvPr/>
          </p:nvSpPr>
          <p:spPr bwMode="auto">
            <a:xfrm>
              <a:off x="11600" y="1719"/>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09" name="Freeform 326">
              <a:extLst>
                <a:ext uri="{FF2B5EF4-FFF2-40B4-BE49-F238E27FC236}">
                  <a16:creationId xmlns:a16="http://schemas.microsoft.com/office/drawing/2014/main" id="{63216841-CEB0-4079-9C4E-EB4AFE2424D6}"/>
                </a:ext>
              </a:extLst>
            </p:cNvPr>
            <p:cNvSpPr>
              <a:spLocks noChangeAspect="1"/>
            </p:cNvSpPr>
            <p:nvPr/>
          </p:nvSpPr>
          <p:spPr bwMode="auto">
            <a:xfrm>
              <a:off x="12007" y="2911"/>
              <a:ext cx="890" cy="837"/>
            </a:xfrm>
            <a:custGeom>
              <a:avLst/>
              <a:gdLst/>
              <a:ahLst/>
              <a:cxnLst>
                <a:cxn ang="0">
                  <a:pos x="386" y="109"/>
                </a:cxn>
                <a:cxn ang="0">
                  <a:pos x="366" y="98"/>
                </a:cxn>
                <a:cxn ang="0">
                  <a:pos x="339" y="86"/>
                </a:cxn>
                <a:cxn ang="0">
                  <a:pos x="320" y="81"/>
                </a:cxn>
                <a:cxn ang="0">
                  <a:pos x="331" y="70"/>
                </a:cxn>
                <a:cxn ang="0">
                  <a:pos x="312" y="74"/>
                </a:cxn>
                <a:cxn ang="0">
                  <a:pos x="310" y="50"/>
                </a:cxn>
                <a:cxn ang="0">
                  <a:pos x="257" y="41"/>
                </a:cxn>
                <a:cxn ang="0">
                  <a:pos x="271" y="27"/>
                </a:cxn>
                <a:cxn ang="0">
                  <a:pos x="262" y="16"/>
                </a:cxn>
                <a:cxn ang="0">
                  <a:pos x="237" y="30"/>
                </a:cxn>
                <a:cxn ang="0">
                  <a:pos x="204" y="25"/>
                </a:cxn>
                <a:cxn ang="0">
                  <a:pos x="161" y="10"/>
                </a:cxn>
                <a:cxn ang="0">
                  <a:pos x="127" y="1"/>
                </a:cxn>
                <a:cxn ang="0">
                  <a:pos x="102" y="4"/>
                </a:cxn>
                <a:cxn ang="0">
                  <a:pos x="88" y="4"/>
                </a:cxn>
                <a:cxn ang="0">
                  <a:pos x="69" y="37"/>
                </a:cxn>
                <a:cxn ang="0">
                  <a:pos x="51" y="44"/>
                </a:cxn>
                <a:cxn ang="0">
                  <a:pos x="28" y="35"/>
                </a:cxn>
                <a:cxn ang="0">
                  <a:pos x="47" y="65"/>
                </a:cxn>
                <a:cxn ang="0">
                  <a:pos x="27" y="101"/>
                </a:cxn>
                <a:cxn ang="0">
                  <a:pos x="25" y="116"/>
                </a:cxn>
                <a:cxn ang="0">
                  <a:pos x="23" y="167"/>
                </a:cxn>
                <a:cxn ang="0">
                  <a:pos x="0" y="181"/>
                </a:cxn>
                <a:cxn ang="0">
                  <a:pos x="12" y="208"/>
                </a:cxn>
                <a:cxn ang="0">
                  <a:pos x="24" y="251"/>
                </a:cxn>
                <a:cxn ang="0">
                  <a:pos x="17" y="284"/>
                </a:cxn>
                <a:cxn ang="0">
                  <a:pos x="30" y="298"/>
                </a:cxn>
                <a:cxn ang="0">
                  <a:pos x="93" y="311"/>
                </a:cxn>
                <a:cxn ang="0">
                  <a:pos x="123" y="310"/>
                </a:cxn>
                <a:cxn ang="0">
                  <a:pos x="154" y="329"/>
                </a:cxn>
                <a:cxn ang="0">
                  <a:pos x="162" y="366"/>
                </a:cxn>
                <a:cxn ang="0">
                  <a:pos x="165" y="392"/>
                </a:cxn>
                <a:cxn ang="0">
                  <a:pos x="196" y="412"/>
                </a:cxn>
                <a:cxn ang="0">
                  <a:pos x="235" y="415"/>
                </a:cxn>
                <a:cxn ang="0">
                  <a:pos x="245" y="412"/>
                </a:cxn>
                <a:cxn ang="0">
                  <a:pos x="272" y="369"/>
                </a:cxn>
                <a:cxn ang="0">
                  <a:pos x="303" y="336"/>
                </a:cxn>
                <a:cxn ang="0">
                  <a:pos x="357" y="295"/>
                </a:cxn>
                <a:cxn ang="0">
                  <a:pos x="373" y="270"/>
                </a:cxn>
                <a:cxn ang="0">
                  <a:pos x="378" y="259"/>
                </a:cxn>
                <a:cxn ang="0">
                  <a:pos x="403" y="223"/>
                </a:cxn>
                <a:cxn ang="0">
                  <a:pos x="418" y="190"/>
                </a:cxn>
                <a:cxn ang="0">
                  <a:pos x="435" y="151"/>
                </a:cxn>
                <a:cxn ang="0">
                  <a:pos x="444" y="140"/>
                </a:cxn>
                <a:cxn ang="0">
                  <a:pos x="399" y="120"/>
                </a:cxn>
              </a:cxnLst>
              <a:rect l="0" t="0" r="r" b="b"/>
              <a:pathLst>
                <a:path w="444" h="418">
                  <a:moveTo>
                    <a:pt x="399" y="120"/>
                  </a:moveTo>
                  <a:cubicBezTo>
                    <a:pt x="385" y="118"/>
                    <a:pt x="386" y="109"/>
                    <a:pt x="386" y="109"/>
                  </a:cubicBezTo>
                  <a:cubicBezTo>
                    <a:pt x="386" y="109"/>
                    <a:pt x="375" y="109"/>
                    <a:pt x="371" y="109"/>
                  </a:cubicBezTo>
                  <a:cubicBezTo>
                    <a:pt x="368" y="109"/>
                    <a:pt x="366" y="98"/>
                    <a:pt x="366" y="98"/>
                  </a:cubicBezTo>
                  <a:cubicBezTo>
                    <a:pt x="353" y="98"/>
                    <a:pt x="353" y="98"/>
                    <a:pt x="353" y="98"/>
                  </a:cubicBezTo>
                  <a:cubicBezTo>
                    <a:pt x="339" y="86"/>
                    <a:pt x="339" y="86"/>
                    <a:pt x="339" y="86"/>
                  </a:cubicBezTo>
                  <a:cubicBezTo>
                    <a:pt x="339" y="86"/>
                    <a:pt x="333" y="94"/>
                    <a:pt x="331" y="94"/>
                  </a:cubicBezTo>
                  <a:cubicBezTo>
                    <a:pt x="330" y="94"/>
                    <a:pt x="325" y="89"/>
                    <a:pt x="320" y="81"/>
                  </a:cubicBezTo>
                  <a:cubicBezTo>
                    <a:pt x="315" y="73"/>
                    <a:pt x="330" y="75"/>
                    <a:pt x="330" y="75"/>
                  </a:cubicBezTo>
                  <a:cubicBezTo>
                    <a:pt x="331" y="70"/>
                    <a:pt x="331" y="70"/>
                    <a:pt x="331" y="70"/>
                  </a:cubicBezTo>
                  <a:cubicBezTo>
                    <a:pt x="316" y="69"/>
                    <a:pt x="316" y="69"/>
                    <a:pt x="316" y="69"/>
                  </a:cubicBezTo>
                  <a:cubicBezTo>
                    <a:pt x="316" y="69"/>
                    <a:pt x="315" y="74"/>
                    <a:pt x="312" y="74"/>
                  </a:cubicBezTo>
                  <a:cubicBezTo>
                    <a:pt x="310" y="74"/>
                    <a:pt x="308" y="57"/>
                    <a:pt x="308" y="57"/>
                  </a:cubicBezTo>
                  <a:cubicBezTo>
                    <a:pt x="310" y="50"/>
                    <a:pt x="310" y="50"/>
                    <a:pt x="310" y="50"/>
                  </a:cubicBezTo>
                  <a:cubicBezTo>
                    <a:pt x="267" y="48"/>
                    <a:pt x="267" y="48"/>
                    <a:pt x="267" y="48"/>
                  </a:cubicBezTo>
                  <a:cubicBezTo>
                    <a:pt x="257" y="41"/>
                    <a:pt x="257" y="41"/>
                    <a:pt x="257" y="41"/>
                  </a:cubicBezTo>
                  <a:cubicBezTo>
                    <a:pt x="262" y="31"/>
                    <a:pt x="262" y="31"/>
                    <a:pt x="262" y="31"/>
                  </a:cubicBezTo>
                  <a:cubicBezTo>
                    <a:pt x="271" y="27"/>
                    <a:pt x="271" y="27"/>
                    <a:pt x="271" y="27"/>
                  </a:cubicBezTo>
                  <a:cubicBezTo>
                    <a:pt x="272" y="2"/>
                    <a:pt x="272" y="2"/>
                    <a:pt x="272" y="2"/>
                  </a:cubicBezTo>
                  <a:cubicBezTo>
                    <a:pt x="262" y="16"/>
                    <a:pt x="262" y="16"/>
                    <a:pt x="262" y="16"/>
                  </a:cubicBezTo>
                  <a:cubicBezTo>
                    <a:pt x="262" y="16"/>
                    <a:pt x="254" y="16"/>
                    <a:pt x="251" y="21"/>
                  </a:cubicBezTo>
                  <a:cubicBezTo>
                    <a:pt x="248" y="26"/>
                    <a:pt x="237" y="30"/>
                    <a:pt x="237" y="30"/>
                  </a:cubicBezTo>
                  <a:cubicBezTo>
                    <a:pt x="221" y="17"/>
                    <a:pt x="221" y="17"/>
                    <a:pt x="221" y="17"/>
                  </a:cubicBezTo>
                  <a:cubicBezTo>
                    <a:pt x="204" y="25"/>
                    <a:pt x="204" y="25"/>
                    <a:pt x="204" y="25"/>
                  </a:cubicBezTo>
                  <a:cubicBezTo>
                    <a:pt x="204" y="25"/>
                    <a:pt x="175" y="23"/>
                    <a:pt x="173" y="23"/>
                  </a:cubicBezTo>
                  <a:cubicBezTo>
                    <a:pt x="170" y="23"/>
                    <a:pt x="161" y="10"/>
                    <a:pt x="161" y="10"/>
                  </a:cubicBezTo>
                  <a:cubicBezTo>
                    <a:pt x="161" y="10"/>
                    <a:pt x="154" y="8"/>
                    <a:pt x="145" y="7"/>
                  </a:cubicBezTo>
                  <a:cubicBezTo>
                    <a:pt x="135" y="5"/>
                    <a:pt x="139" y="1"/>
                    <a:pt x="127" y="1"/>
                  </a:cubicBezTo>
                  <a:cubicBezTo>
                    <a:pt x="114" y="0"/>
                    <a:pt x="106" y="11"/>
                    <a:pt x="106" y="11"/>
                  </a:cubicBezTo>
                  <a:cubicBezTo>
                    <a:pt x="102" y="4"/>
                    <a:pt x="102" y="4"/>
                    <a:pt x="102" y="4"/>
                  </a:cubicBezTo>
                  <a:cubicBezTo>
                    <a:pt x="96" y="13"/>
                    <a:pt x="96" y="13"/>
                    <a:pt x="96" y="13"/>
                  </a:cubicBezTo>
                  <a:cubicBezTo>
                    <a:pt x="88" y="4"/>
                    <a:pt x="88" y="4"/>
                    <a:pt x="88" y="4"/>
                  </a:cubicBezTo>
                  <a:cubicBezTo>
                    <a:pt x="88" y="4"/>
                    <a:pt x="78" y="18"/>
                    <a:pt x="77" y="24"/>
                  </a:cubicBezTo>
                  <a:cubicBezTo>
                    <a:pt x="76" y="29"/>
                    <a:pt x="70" y="35"/>
                    <a:pt x="69" y="37"/>
                  </a:cubicBezTo>
                  <a:cubicBezTo>
                    <a:pt x="69" y="39"/>
                    <a:pt x="55" y="34"/>
                    <a:pt x="55" y="34"/>
                  </a:cubicBezTo>
                  <a:cubicBezTo>
                    <a:pt x="51" y="44"/>
                    <a:pt x="51" y="44"/>
                    <a:pt x="51" y="44"/>
                  </a:cubicBezTo>
                  <a:cubicBezTo>
                    <a:pt x="37" y="36"/>
                    <a:pt x="37" y="36"/>
                    <a:pt x="37" y="36"/>
                  </a:cubicBezTo>
                  <a:cubicBezTo>
                    <a:pt x="28" y="35"/>
                    <a:pt x="28" y="35"/>
                    <a:pt x="28" y="35"/>
                  </a:cubicBezTo>
                  <a:cubicBezTo>
                    <a:pt x="28" y="36"/>
                    <a:pt x="29" y="38"/>
                    <a:pt x="30" y="41"/>
                  </a:cubicBezTo>
                  <a:cubicBezTo>
                    <a:pt x="35" y="55"/>
                    <a:pt x="47" y="65"/>
                    <a:pt x="47" y="65"/>
                  </a:cubicBezTo>
                  <a:cubicBezTo>
                    <a:pt x="47" y="65"/>
                    <a:pt x="39" y="67"/>
                    <a:pt x="39" y="68"/>
                  </a:cubicBezTo>
                  <a:cubicBezTo>
                    <a:pt x="39" y="68"/>
                    <a:pt x="27" y="94"/>
                    <a:pt x="27" y="101"/>
                  </a:cubicBezTo>
                  <a:cubicBezTo>
                    <a:pt x="27" y="107"/>
                    <a:pt x="36" y="110"/>
                    <a:pt x="36" y="110"/>
                  </a:cubicBezTo>
                  <a:cubicBezTo>
                    <a:pt x="36" y="110"/>
                    <a:pt x="27" y="113"/>
                    <a:pt x="25" y="116"/>
                  </a:cubicBezTo>
                  <a:cubicBezTo>
                    <a:pt x="22" y="119"/>
                    <a:pt x="5" y="155"/>
                    <a:pt x="5" y="155"/>
                  </a:cubicBezTo>
                  <a:cubicBezTo>
                    <a:pt x="23" y="167"/>
                    <a:pt x="23" y="167"/>
                    <a:pt x="23" y="167"/>
                  </a:cubicBezTo>
                  <a:cubicBezTo>
                    <a:pt x="9" y="174"/>
                    <a:pt x="9" y="174"/>
                    <a:pt x="9" y="174"/>
                  </a:cubicBezTo>
                  <a:cubicBezTo>
                    <a:pt x="0" y="181"/>
                    <a:pt x="0" y="181"/>
                    <a:pt x="0" y="181"/>
                  </a:cubicBezTo>
                  <a:cubicBezTo>
                    <a:pt x="0" y="181"/>
                    <a:pt x="9" y="193"/>
                    <a:pt x="10" y="194"/>
                  </a:cubicBezTo>
                  <a:cubicBezTo>
                    <a:pt x="10" y="195"/>
                    <a:pt x="12" y="206"/>
                    <a:pt x="12" y="208"/>
                  </a:cubicBezTo>
                  <a:cubicBezTo>
                    <a:pt x="12" y="210"/>
                    <a:pt x="17" y="212"/>
                    <a:pt x="23" y="221"/>
                  </a:cubicBezTo>
                  <a:cubicBezTo>
                    <a:pt x="29" y="230"/>
                    <a:pt x="24" y="251"/>
                    <a:pt x="24" y="251"/>
                  </a:cubicBezTo>
                  <a:cubicBezTo>
                    <a:pt x="24" y="251"/>
                    <a:pt x="19" y="262"/>
                    <a:pt x="17" y="264"/>
                  </a:cubicBezTo>
                  <a:cubicBezTo>
                    <a:pt x="16" y="266"/>
                    <a:pt x="19" y="275"/>
                    <a:pt x="17" y="284"/>
                  </a:cubicBezTo>
                  <a:cubicBezTo>
                    <a:pt x="16" y="293"/>
                    <a:pt x="16" y="297"/>
                    <a:pt x="21" y="300"/>
                  </a:cubicBezTo>
                  <a:cubicBezTo>
                    <a:pt x="26" y="304"/>
                    <a:pt x="30" y="298"/>
                    <a:pt x="30" y="298"/>
                  </a:cubicBezTo>
                  <a:cubicBezTo>
                    <a:pt x="48" y="304"/>
                    <a:pt x="48" y="304"/>
                    <a:pt x="48" y="304"/>
                  </a:cubicBezTo>
                  <a:cubicBezTo>
                    <a:pt x="93" y="311"/>
                    <a:pt x="93" y="311"/>
                    <a:pt x="93" y="311"/>
                  </a:cubicBezTo>
                  <a:cubicBezTo>
                    <a:pt x="105" y="295"/>
                    <a:pt x="105" y="295"/>
                    <a:pt x="105" y="295"/>
                  </a:cubicBezTo>
                  <a:cubicBezTo>
                    <a:pt x="123" y="310"/>
                    <a:pt x="123" y="310"/>
                    <a:pt x="123" y="310"/>
                  </a:cubicBezTo>
                  <a:cubicBezTo>
                    <a:pt x="123" y="310"/>
                    <a:pt x="130" y="310"/>
                    <a:pt x="143" y="310"/>
                  </a:cubicBezTo>
                  <a:cubicBezTo>
                    <a:pt x="155" y="311"/>
                    <a:pt x="154" y="329"/>
                    <a:pt x="154" y="329"/>
                  </a:cubicBezTo>
                  <a:cubicBezTo>
                    <a:pt x="154" y="329"/>
                    <a:pt x="157" y="357"/>
                    <a:pt x="158" y="358"/>
                  </a:cubicBezTo>
                  <a:cubicBezTo>
                    <a:pt x="158" y="360"/>
                    <a:pt x="162" y="366"/>
                    <a:pt x="162" y="366"/>
                  </a:cubicBezTo>
                  <a:cubicBezTo>
                    <a:pt x="162" y="366"/>
                    <a:pt x="160" y="374"/>
                    <a:pt x="160" y="381"/>
                  </a:cubicBezTo>
                  <a:cubicBezTo>
                    <a:pt x="160" y="388"/>
                    <a:pt x="165" y="392"/>
                    <a:pt x="165" y="392"/>
                  </a:cubicBezTo>
                  <a:cubicBezTo>
                    <a:pt x="165" y="392"/>
                    <a:pt x="165" y="402"/>
                    <a:pt x="167" y="410"/>
                  </a:cubicBezTo>
                  <a:cubicBezTo>
                    <a:pt x="169" y="418"/>
                    <a:pt x="195" y="412"/>
                    <a:pt x="196" y="412"/>
                  </a:cubicBezTo>
                  <a:cubicBezTo>
                    <a:pt x="196" y="412"/>
                    <a:pt x="203" y="406"/>
                    <a:pt x="216" y="402"/>
                  </a:cubicBezTo>
                  <a:cubicBezTo>
                    <a:pt x="230" y="398"/>
                    <a:pt x="235" y="415"/>
                    <a:pt x="235" y="415"/>
                  </a:cubicBezTo>
                  <a:cubicBezTo>
                    <a:pt x="236" y="418"/>
                    <a:pt x="236" y="418"/>
                    <a:pt x="236" y="418"/>
                  </a:cubicBezTo>
                  <a:cubicBezTo>
                    <a:pt x="240" y="415"/>
                    <a:pt x="245" y="412"/>
                    <a:pt x="245" y="412"/>
                  </a:cubicBezTo>
                  <a:cubicBezTo>
                    <a:pt x="254" y="379"/>
                    <a:pt x="254" y="379"/>
                    <a:pt x="254" y="379"/>
                  </a:cubicBezTo>
                  <a:cubicBezTo>
                    <a:pt x="254" y="379"/>
                    <a:pt x="270" y="373"/>
                    <a:pt x="272" y="369"/>
                  </a:cubicBezTo>
                  <a:cubicBezTo>
                    <a:pt x="273" y="366"/>
                    <a:pt x="276" y="347"/>
                    <a:pt x="276" y="347"/>
                  </a:cubicBezTo>
                  <a:cubicBezTo>
                    <a:pt x="303" y="336"/>
                    <a:pt x="303" y="336"/>
                    <a:pt x="303" y="336"/>
                  </a:cubicBezTo>
                  <a:cubicBezTo>
                    <a:pt x="310" y="326"/>
                    <a:pt x="310" y="326"/>
                    <a:pt x="310" y="326"/>
                  </a:cubicBezTo>
                  <a:cubicBezTo>
                    <a:pt x="310" y="326"/>
                    <a:pt x="357" y="300"/>
                    <a:pt x="357" y="295"/>
                  </a:cubicBezTo>
                  <a:cubicBezTo>
                    <a:pt x="357" y="290"/>
                    <a:pt x="356" y="285"/>
                    <a:pt x="357" y="283"/>
                  </a:cubicBezTo>
                  <a:cubicBezTo>
                    <a:pt x="358" y="282"/>
                    <a:pt x="373" y="270"/>
                    <a:pt x="373" y="270"/>
                  </a:cubicBezTo>
                  <a:cubicBezTo>
                    <a:pt x="368" y="261"/>
                    <a:pt x="368" y="261"/>
                    <a:pt x="368" y="261"/>
                  </a:cubicBezTo>
                  <a:cubicBezTo>
                    <a:pt x="378" y="259"/>
                    <a:pt x="378" y="259"/>
                    <a:pt x="378" y="259"/>
                  </a:cubicBezTo>
                  <a:cubicBezTo>
                    <a:pt x="378" y="259"/>
                    <a:pt x="383" y="239"/>
                    <a:pt x="384" y="238"/>
                  </a:cubicBezTo>
                  <a:cubicBezTo>
                    <a:pt x="385" y="237"/>
                    <a:pt x="403" y="223"/>
                    <a:pt x="403" y="223"/>
                  </a:cubicBezTo>
                  <a:cubicBezTo>
                    <a:pt x="396" y="212"/>
                    <a:pt x="396" y="212"/>
                    <a:pt x="396" y="212"/>
                  </a:cubicBezTo>
                  <a:cubicBezTo>
                    <a:pt x="418" y="190"/>
                    <a:pt x="418" y="190"/>
                    <a:pt x="418" y="190"/>
                  </a:cubicBezTo>
                  <a:cubicBezTo>
                    <a:pt x="433" y="189"/>
                    <a:pt x="433" y="189"/>
                    <a:pt x="433" y="189"/>
                  </a:cubicBezTo>
                  <a:cubicBezTo>
                    <a:pt x="435" y="151"/>
                    <a:pt x="435" y="151"/>
                    <a:pt x="435" y="151"/>
                  </a:cubicBezTo>
                  <a:cubicBezTo>
                    <a:pt x="435" y="151"/>
                    <a:pt x="443" y="147"/>
                    <a:pt x="443" y="146"/>
                  </a:cubicBezTo>
                  <a:cubicBezTo>
                    <a:pt x="443" y="145"/>
                    <a:pt x="443" y="143"/>
                    <a:pt x="444" y="140"/>
                  </a:cubicBezTo>
                  <a:cubicBezTo>
                    <a:pt x="432" y="127"/>
                    <a:pt x="432" y="127"/>
                    <a:pt x="432" y="127"/>
                  </a:cubicBezTo>
                  <a:cubicBezTo>
                    <a:pt x="432" y="127"/>
                    <a:pt x="414" y="122"/>
                    <a:pt x="399" y="120"/>
                  </a:cubicBez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0" name="Freeform 327">
              <a:extLst>
                <a:ext uri="{FF2B5EF4-FFF2-40B4-BE49-F238E27FC236}">
                  <a16:creationId xmlns:a16="http://schemas.microsoft.com/office/drawing/2014/main" id="{E610D4C2-7D81-4543-AC5F-C4868D65839D}"/>
                </a:ext>
              </a:extLst>
            </p:cNvPr>
            <p:cNvSpPr>
              <a:spLocks noChangeAspect="1" noEditPoints="1"/>
            </p:cNvSpPr>
            <p:nvPr/>
          </p:nvSpPr>
          <p:spPr bwMode="auto">
            <a:xfrm>
              <a:off x="12607" y="2332"/>
              <a:ext cx="893" cy="860"/>
            </a:xfrm>
            <a:custGeom>
              <a:avLst/>
              <a:gdLst/>
              <a:ahLst/>
              <a:cxnLst>
                <a:cxn ang="0">
                  <a:pos x="426" y="83"/>
                </a:cxn>
                <a:cxn ang="0">
                  <a:pos x="419" y="42"/>
                </a:cxn>
                <a:cxn ang="0">
                  <a:pos x="417" y="31"/>
                </a:cxn>
                <a:cxn ang="0">
                  <a:pos x="375" y="48"/>
                </a:cxn>
                <a:cxn ang="0">
                  <a:pos x="356" y="52"/>
                </a:cxn>
                <a:cxn ang="0">
                  <a:pos x="344" y="60"/>
                </a:cxn>
                <a:cxn ang="0">
                  <a:pos x="323" y="55"/>
                </a:cxn>
                <a:cxn ang="0">
                  <a:pos x="303" y="49"/>
                </a:cxn>
                <a:cxn ang="0">
                  <a:pos x="291" y="51"/>
                </a:cxn>
                <a:cxn ang="0">
                  <a:pos x="284" y="44"/>
                </a:cxn>
                <a:cxn ang="0">
                  <a:pos x="259" y="35"/>
                </a:cxn>
                <a:cxn ang="0">
                  <a:pos x="236" y="55"/>
                </a:cxn>
                <a:cxn ang="0">
                  <a:pos x="178" y="31"/>
                </a:cxn>
                <a:cxn ang="0">
                  <a:pos x="165" y="23"/>
                </a:cxn>
                <a:cxn ang="0">
                  <a:pos x="146" y="80"/>
                </a:cxn>
                <a:cxn ang="0">
                  <a:pos x="138" y="109"/>
                </a:cxn>
                <a:cxn ang="0">
                  <a:pos x="116" y="156"/>
                </a:cxn>
                <a:cxn ang="0">
                  <a:pos x="87" y="202"/>
                </a:cxn>
                <a:cxn ang="0">
                  <a:pos x="37" y="235"/>
                </a:cxn>
                <a:cxn ang="0">
                  <a:pos x="13" y="271"/>
                </a:cxn>
                <a:cxn ang="0">
                  <a:pos x="0" y="293"/>
                </a:cxn>
                <a:cxn ang="0">
                  <a:pos x="11" y="339"/>
                </a:cxn>
                <a:cxn ang="0">
                  <a:pos x="13" y="363"/>
                </a:cxn>
                <a:cxn ang="0">
                  <a:pos x="32" y="359"/>
                </a:cxn>
                <a:cxn ang="0">
                  <a:pos x="21" y="370"/>
                </a:cxn>
                <a:cxn ang="0">
                  <a:pos x="40" y="375"/>
                </a:cxn>
                <a:cxn ang="0">
                  <a:pos x="67" y="387"/>
                </a:cxn>
                <a:cxn ang="0">
                  <a:pos x="87" y="398"/>
                </a:cxn>
                <a:cxn ang="0">
                  <a:pos x="133" y="416"/>
                </a:cxn>
                <a:cxn ang="0">
                  <a:pos x="152" y="410"/>
                </a:cxn>
                <a:cxn ang="0">
                  <a:pos x="179" y="381"/>
                </a:cxn>
                <a:cxn ang="0">
                  <a:pos x="226" y="367"/>
                </a:cxn>
                <a:cxn ang="0">
                  <a:pos x="254" y="359"/>
                </a:cxn>
                <a:cxn ang="0">
                  <a:pos x="281" y="356"/>
                </a:cxn>
                <a:cxn ang="0">
                  <a:pos x="301" y="356"/>
                </a:cxn>
                <a:cxn ang="0">
                  <a:pos x="362" y="340"/>
                </a:cxn>
                <a:cxn ang="0">
                  <a:pos x="363" y="315"/>
                </a:cxn>
                <a:cxn ang="0">
                  <a:pos x="368" y="279"/>
                </a:cxn>
                <a:cxn ang="0">
                  <a:pos x="353" y="243"/>
                </a:cxn>
                <a:cxn ang="0">
                  <a:pos x="360" y="220"/>
                </a:cxn>
                <a:cxn ang="0">
                  <a:pos x="393" y="212"/>
                </a:cxn>
                <a:cxn ang="0">
                  <a:pos x="389" y="182"/>
                </a:cxn>
                <a:cxn ang="0">
                  <a:pos x="407" y="164"/>
                </a:cxn>
                <a:cxn ang="0">
                  <a:pos x="424" y="153"/>
                </a:cxn>
                <a:cxn ang="0">
                  <a:pos x="437" y="127"/>
                </a:cxn>
                <a:cxn ang="0">
                  <a:pos x="421" y="96"/>
                </a:cxn>
                <a:cxn ang="0">
                  <a:pos x="355" y="215"/>
                </a:cxn>
                <a:cxn ang="0">
                  <a:pos x="306" y="219"/>
                </a:cxn>
                <a:cxn ang="0">
                  <a:pos x="306" y="205"/>
                </a:cxn>
                <a:cxn ang="0">
                  <a:pos x="309" y="190"/>
                </a:cxn>
                <a:cxn ang="0">
                  <a:pos x="358" y="197"/>
                </a:cxn>
              </a:cxnLst>
              <a:rect l="0" t="0" r="r" b="b"/>
              <a:pathLst>
                <a:path w="446" h="429">
                  <a:moveTo>
                    <a:pt x="421" y="96"/>
                  </a:moveTo>
                  <a:cubicBezTo>
                    <a:pt x="421" y="96"/>
                    <a:pt x="423" y="93"/>
                    <a:pt x="426" y="83"/>
                  </a:cubicBezTo>
                  <a:cubicBezTo>
                    <a:pt x="429" y="73"/>
                    <a:pt x="437" y="57"/>
                    <a:pt x="437" y="57"/>
                  </a:cubicBezTo>
                  <a:cubicBezTo>
                    <a:pt x="419" y="42"/>
                    <a:pt x="419" y="42"/>
                    <a:pt x="419" y="42"/>
                  </a:cubicBezTo>
                  <a:cubicBezTo>
                    <a:pt x="431" y="34"/>
                    <a:pt x="431" y="34"/>
                    <a:pt x="431" y="34"/>
                  </a:cubicBezTo>
                  <a:cubicBezTo>
                    <a:pt x="431" y="34"/>
                    <a:pt x="421" y="32"/>
                    <a:pt x="417" y="31"/>
                  </a:cubicBezTo>
                  <a:cubicBezTo>
                    <a:pt x="388" y="36"/>
                    <a:pt x="388" y="36"/>
                    <a:pt x="388" y="36"/>
                  </a:cubicBezTo>
                  <a:cubicBezTo>
                    <a:pt x="375" y="48"/>
                    <a:pt x="375" y="48"/>
                    <a:pt x="375" y="48"/>
                  </a:cubicBezTo>
                  <a:cubicBezTo>
                    <a:pt x="363" y="46"/>
                    <a:pt x="363" y="46"/>
                    <a:pt x="363" y="46"/>
                  </a:cubicBezTo>
                  <a:cubicBezTo>
                    <a:pt x="356" y="52"/>
                    <a:pt x="356" y="52"/>
                    <a:pt x="356" y="52"/>
                  </a:cubicBezTo>
                  <a:cubicBezTo>
                    <a:pt x="340" y="43"/>
                    <a:pt x="340" y="43"/>
                    <a:pt x="340" y="43"/>
                  </a:cubicBezTo>
                  <a:cubicBezTo>
                    <a:pt x="344" y="60"/>
                    <a:pt x="344" y="60"/>
                    <a:pt x="344" y="60"/>
                  </a:cubicBezTo>
                  <a:cubicBezTo>
                    <a:pt x="338" y="67"/>
                    <a:pt x="338" y="67"/>
                    <a:pt x="338" y="67"/>
                  </a:cubicBezTo>
                  <a:cubicBezTo>
                    <a:pt x="323" y="55"/>
                    <a:pt x="323" y="55"/>
                    <a:pt x="323" y="55"/>
                  </a:cubicBezTo>
                  <a:cubicBezTo>
                    <a:pt x="311" y="56"/>
                    <a:pt x="311" y="56"/>
                    <a:pt x="311" y="56"/>
                  </a:cubicBezTo>
                  <a:cubicBezTo>
                    <a:pt x="303" y="49"/>
                    <a:pt x="303" y="49"/>
                    <a:pt x="303" y="49"/>
                  </a:cubicBezTo>
                  <a:cubicBezTo>
                    <a:pt x="292" y="58"/>
                    <a:pt x="292" y="58"/>
                    <a:pt x="292" y="58"/>
                  </a:cubicBezTo>
                  <a:cubicBezTo>
                    <a:pt x="291" y="51"/>
                    <a:pt x="291" y="51"/>
                    <a:pt x="291" y="51"/>
                  </a:cubicBezTo>
                  <a:cubicBezTo>
                    <a:pt x="280" y="54"/>
                    <a:pt x="280" y="54"/>
                    <a:pt x="280" y="54"/>
                  </a:cubicBezTo>
                  <a:cubicBezTo>
                    <a:pt x="284" y="44"/>
                    <a:pt x="284" y="44"/>
                    <a:pt x="284" y="44"/>
                  </a:cubicBezTo>
                  <a:cubicBezTo>
                    <a:pt x="269" y="28"/>
                    <a:pt x="269" y="28"/>
                    <a:pt x="269" y="28"/>
                  </a:cubicBezTo>
                  <a:cubicBezTo>
                    <a:pt x="259" y="35"/>
                    <a:pt x="259" y="35"/>
                    <a:pt x="259" y="35"/>
                  </a:cubicBezTo>
                  <a:cubicBezTo>
                    <a:pt x="251" y="24"/>
                    <a:pt x="251" y="24"/>
                    <a:pt x="251" y="24"/>
                  </a:cubicBezTo>
                  <a:cubicBezTo>
                    <a:pt x="236" y="55"/>
                    <a:pt x="236" y="55"/>
                    <a:pt x="236" y="55"/>
                  </a:cubicBezTo>
                  <a:cubicBezTo>
                    <a:pt x="203" y="36"/>
                    <a:pt x="203" y="36"/>
                    <a:pt x="203" y="36"/>
                  </a:cubicBezTo>
                  <a:cubicBezTo>
                    <a:pt x="178" y="31"/>
                    <a:pt x="178" y="31"/>
                    <a:pt x="178" y="31"/>
                  </a:cubicBezTo>
                  <a:cubicBezTo>
                    <a:pt x="190" y="0"/>
                    <a:pt x="190" y="0"/>
                    <a:pt x="190" y="0"/>
                  </a:cubicBezTo>
                  <a:cubicBezTo>
                    <a:pt x="165" y="23"/>
                    <a:pt x="165" y="23"/>
                    <a:pt x="165" y="23"/>
                  </a:cubicBezTo>
                  <a:cubicBezTo>
                    <a:pt x="163" y="34"/>
                    <a:pt x="162" y="47"/>
                    <a:pt x="161" y="56"/>
                  </a:cubicBezTo>
                  <a:cubicBezTo>
                    <a:pt x="160" y="74"/>
                    <a:pt x="146" y="80"/>
                    <a:pt x="146" y="80"/>
                  </a:cubicBezTo>
                  <a:cubicBezTo>
                    <a:pt x="146" y="80"/>
                    <a:pt x="145" y="102"/>
                    <a:pt x="145" y="104"/>
                  </a:cubicBezTo>
                  <a:cubicBezTo>
                    <a:pt x="145" y="105"/>
                    <a:pt x="138" y="107"/>
                    <a:pt x="138" y="109"/>
                  </a:cubicBezTo>
                  <a:cubicBezTo>
                    <a:pt x="138" y="111"/>
                    <a:pt x="137" y="150"/>
                    <a:pt x="130" y="157"/>
                  </a:cubicBezTo>
                  <a:cubicBezTo>
                    <a:pt x="123" y="164"/>
                    <a:pt x="116" y="158"/>
                    <a:pt x="116" y="156"/>
                  </a:cubicBezTo>
                  <a:cubicBezTo>
                    <a:pt x="116" y="155"/>
                    <a:pt x="96" y="175"/>
                    <a:pt x="94" y="178"/>
                  </a:cubicBezTo>
                  <a:cubicBezTo>
                    <a:pt x="92" y="180"/>
                    <a:pt x="93" y="195"/>
                    <a:pt x="87" y="202"/>
                  </a:cubicBezTo>
                  <a:cubicBezTo>
                    <a:pt x="82" y="209"/>
                    <a:pt x="64" y="211"/>
                    <a:pt x="62" y="211"/>
                  </a:cubicBezTo>
                  <a:cubicBezTo>
                    <a:pt x="60" y="211"/>
                    <a:pt x="37" y="235"/>
                    <a:pt x="37" y="235"/>
                  </a:cubicBezTo>
                  <a:cubicBezTo>
                    <a:pt x="45" y="247"/>
                    <a:pt x="45" y="247"/>
                    <a:pt x="45" y="247"/>
                  </a:cubicBezTo>
                  <a:cubicBezTo>
                    <a:pt x="13" y="271"/>
                    <a:pt x="13" y="271"/>
                    <a:pt x="13" y="271"/>
                  </a:cubicBezTo>
                  <a:cubicBezTo>
                    <a:pt x="12" y="283"/>
                    <a:pt x="12" y="283"/>
                    <a:pt x="12" y="283"/>
                  </a:cubicBezTo>
                  <a:cubicBezTo>
                    <a:pt x="0" y="293"/>
                    <a:pt x="0" y="293"/>
                    <a:pt x="0" y="293"/>
                  </a:cubicBezTo>
                  <a:cubicBezTo>
                    <a:pt x="0" y="293"/>
                    <a:pt x="0" y="321"/>
                    <a:pt x="5" y="323"/>
                  </a:cubicBezTo>
                  <a:cubicBezTo>
                    <a:pt x="11" y="326"/>
                    <a:pt x="11" y="339"/>
                    <a:pt x="11" y="339"/>
                  </a:cubicBezTo>
                  <a:cubicBezTo>
                    <a:pt x="9" y="346"/>
                    <a:pt x="9" y="346"/>
                    <a:pt x="9" y="346"/>
                  </a:cubicBezTo>
                  <a:cubicBezTo>
                    <a:pt x="9" y="346"/>
                    <a:pt x="11" y="363"/>
                    <a:pt x="13" y="363"/>
                  </a:cubicBezTo>
                  <a:cubicBezTo>
                    <a:pt x="16" y="363"/>
                    <a:pt x="17" y="358"/>
                    <a:pt x="17" y="358"/>
                  </a:cubicBezTo>
                  <a:cubicBezTo>
                    <a:pt x="32" y="359"/>
                    <a:pt x="32" y="359"/>
                    <a:pt x="32" y="359"/>
                  </a:cubicBezTo>
                  <a:cubicBezTo>
                    <a:pt x="31" y="364"/>
                    <a:pt x="31" y="364"/>
                    <a:pt x="31" y="364"/>
                  </a:cubicBezTo>
                  <a:cubicBezTo>
                    <a:pt x="31" y="364"/>
                    <a:pt x="16" y="362"/>
                    <a:pt x="21" y="370"/>
                  </a:cubicBezTo>
                  <a:cubicBezTo>
                    <a:pt x="26" y="378"/>
                    <a:pt x="31" y="383"/>
                    <a:pt x="32" y="383"/>
                  </a:cubicBezTo>
                  <a:cubicBezTo>
                    <a:pt x="34" y="383"/>
                    <a:pt x="40" y="375"/>
                    <a:pt x="40" y="375"/>
                  </a:cubicBezTo>
                  <a:cubicBezTo>
                    <a:pt x="54" y="387"/>
                    <a:pt x="54" y="387"/>
                    <a:pt x="54" y="387"/>
                  </a:cubicBezTo>
                  <a:cubicBezTo>
                    <a:pt x="67" y="387"/>
                    <a:pt x="67" y="387"/>
                    <a:pt x="67" y="387"/>
                  </a:cubicBezTo>
                  <a:cubicBezTo>
                    <a:pt x="67" y="387"/>
                    <a:pt x="69" y="398"/>
                    <a:pt x="72" y="398"/>
                  </a:cubicBezTo>
                  <a:cubicBezTo>
                    <a:pt x="76" y="398"/>
                    <a:pt x="87" y="398"/>
                    <a:pt x="87" y="398"/>
                  </a:cubicBezTo>
                  <a:cubicBezTo>
                    <a:pt x="87" y="398"/>
                    <a:pt x="86" y="407"/>
                    <a:pt x="100" y="409"/>
                  </a:cubicBezTo>
                  <a:cubicBezTo>
                    <a:pt x="115" y="411"/>
                    <a:pt x="133" y="416"/>
                    <a:pt x="133" y="416"/>
                  </a:cubicBezTo>
                  <a:cubicBezTo>
                    <a:pt x="145" y="429"/>
                    <a:pt x="145" y="429"/>
                    <a:pt x="145" y="429"/>
                  </a:cubicBezTo>
                  <a:cubicBezTo>
                    <a:pt x="147" y="422"/>
                    <a:pt x="150" y="410"/>
                    <a:pt x="152" y="410"/>
                  </a:cubicBezTo>
                  <a:cubicBezTo>
                    <a:pt x="155" y="410"/>
                    <a:pt x="165" y="410"/>
                    <a:pt x="165" y="410"/>
                  </a:cubicBezTo>
                  <a:cubicBezTo>
                    <a:pt x="165" y="410"/>
                    <a:pt x="154" y="385"/>
                    <a:pt x="179" y="381"/>
                  </a:cubicBezTo>
                  <a:cubicBezTo>
                    <a:pt x="203" y="378"/>
                    <a:pt x="209" y="378"/>
                    <a:pt x="211" y="377"/>
                  </a:cubicBezTo>
                  <a:cubicBezTo>
                    <a:pt x="213" y="375"/>
                    <a:pt x="226" y="367"/>
                    <a:pt x="226" y="367"/>
                  </a:cubicBezTo>
                  <a:cubicBezTo>
                    <a:pt x="233" y="378"/>
                    <a:pt x="233" y="378"/>
                    <a:pt x="233" y="378"/>
                  </a:cubicBezTo>
                  <a:cubicBezTo>
                    <a:pt x="254" y="359"/>
                    <a:pt x="254" y="359"/>
                    <a:pt x="254" y="359"/>
                  </a:cubicBezTo>
                  <a:cubicBezTo>
                    <a:pt x="273" y="362"/>
                    <a:pt x="273" y="362"/>
                    <a:pt x="273" y="362"/>
                  </a:cubicBezTo>
                  <a:cubicBezTo>
                    <a:pt x="281" y="356"/>
                    <a:pt x="281" y="356"/>
                    <a:pt x="281" y="356"/>
                  </a:cubicBezTo>
                  <a:cubicBezTo>
                    <a:pt x="289" y="362"/>
                    <a:pt x="289" y="362"/>
                    <a:pt x="289" y="362"/>
                  </a:cubicBezTo>
                  <a:cubicBezTo>
                    <a:pt x="301" y="356"/>
                    <a:pt x="301" y="356"/>
                    <a:pt x="301" y="356"/>
                  </a:cubicBezTo>
                  <a:cubicBezTo>
                    <a:pt x="301" y="356"/>
                    <a:pt x="323" y="369"/>
                    <a:pt x="323" y="368"/>
                  </a:cubicBezTo>
                  <a:cubicBezTo>
                    <a:pt x="324" y="367"/>
                    <a:pt x="362" y="340"/>
                    <a:pt x="362" y="340"/>
                  </a:cubicBezTo>
                  <a:cubicBezTo>
                    <a:pt x="352" y="330"/>
                    <a:pt x="352" y="330"/>
                    <a:pt x="352" y="330"/>
                  </a:cubicBezTo>
                  <a:cubicBezTo>
                    <a:pt x="352" y="330"/>
                    <a:pt x="371" y="320"/>
                    <a:pt x="363" y="315"/>
                  </a:cubicBezTo>
                  <a:cubicBezTo>
                    <a:pt x="355" y="310"/>
                    <a:pt x="346" y="307"/>
                    <a:pt x="347" y="305"/>
                  </a:cubicBezTo>
                  <a:cubicBezTo>
                    <a:pt x="348" y="303"/>
                    <a:pt x="366" y="283"/>
                    <a:pt x="368" y="279"/>
                  </a:cubicBezTo>
                  <a:cubicBezTo>
                    <a:pt x="370" y="274"/>
                    <a:pt x="367" y="263"/>
                    <a:pt x="366" y="262"/>
                  </a:cubicBezTo>
                  <a:cubicBezTo>
                    <a:pt x="364" y="261"/>
                    <a:pt x="349" y="249"/>
                    <a:pt x="353" y="243"/>
                  </a:cubicBezTo>
                  <a:cubicBezTo>
                    <a:pt x="356" y="238"/>
                    <a:pt x="362" y="235"/>
                    <a:pt x="362" y="234"/>
                  </a:cubicBezTo>
                  <a:cubicBezTo>
                    <a:pt x="362" y="234"/>
                    <a:pt x="360" y="220"/>
                    <a:pt x="360" y="220"/>
                  </a:cubicBezTo>
                  <a:cubicBezTo>
                    <a:pt x="372" y="213"/>
                    <a:pt x="372" y="213"/>
                    <a:pt x="372" y="213"/>
                  </a:cubicBezTo>
                  <a:cubicBezTo>
                    <a:pt x="393" y="212"/>
                    <a:pt x="393" y="212"/>
                    <a:pt x="393" y="212"/>
                  </a:cubicBezTo>
                  <a:cubicBezTo>
                    <a:pt x="379" y="188"/>
                    <a:pt x="379" y="188"/>
                    <a:pt x="379" y="188"/>
                  </a:cubicBezTo>
                  <a:cubicBezTo>
                    <a:pt x="389" y="182"/>
                    <a:pt x="389" y="182"/>
                    <a:pt x="389" y="182"/>
                  </a:cubicBezTo>
                  <a:cubicBezTo>
                    <a:pt x="389" y="182"/>
                    <a:pt x="380" y="161"/>
                    <a:pt x="384" y="158"/>
                  </a:cubicBezTo>
                  <a:cubicBezTo>
                    <a:pt x="387" y="156"/>
                    <a:pt x="407" y="166"/>
                    <a:pt x="407" y="164"/>
                  </a:cubicBezTo>
                  <a:cubicBezTo>
                    <a:pt x="407" y="163"/>
                    <a:pt x="396" y="136"/>
                    <a:pt x="409" y="142"/>
                  </a:cubicBezTo>
                  <a:cubicBezTo>
                    <a:pt x="422" y="148"/>
                    <a:pt x="424" y="153"/>
                    <a:pt x="424" y="153"/>
                  </a:cubicBezTo>
                  <a:cubicBezTo>
                    <a:pt x="436" y="150"/>
                    <a:pt x="436" y="150"/>
                    <a:pt x="436" y="150"/>
                  </a:cubicBezTo>
                  <a:cubicBezTo>
                    <a:pt x="437" y="127"/>
                    <a:pt x="437" y="127"/>
                    <a:pt x="437" y="127"/>
                  </a:cubicBezTo>
                  <a:cubicBezTo>
                    <a:pt x="446" y="121"/>
                    <a:pt x="446" y="121"/>
                    <a:pt x="446" y="121"/>
                  </a:cubicBezTo>
                  <a:lnTo>
                    <a:pt x="421" y="96"/>
                  </a:lnTo>
                  <a:close/>
                  <a:moveTo>
                    <a:pt x="356" y="206"/>
                  </a:moveTo>
                  <a:cubicBezTo>
                    <a:pt x="355" y="215"/>
                    <a:pt x="355" y="215"/>
                    <a:pt x="355" y="215"/>
                  </a:cubicBezTo>
                  <a:cubicBezTo>
                    <a:pt x="351" y="220"/>
                    <a:pt x="351" y="220"/>
                    <a:pt x="351" y="220"/>
                  </a:cubicBezTo>
                  <a:cubicBezTo>
                    <a:pt x="306" y="219"/>
                    <a:pt x="306" y="219"/>
                    <a:pt x="306" y="219"/>
                  </a:cubicBezTo>
                  <a:cubicBezTo>
                    <a:pt x="306" y="219"/>
                    <a:pt x="301" y="215"/>
                    <a:pt x="301" y="211"/>
                  </a:cubicBezTo>
                  <a:cubicBezTo>
                    <a:pt x="301" y="206"/>
                    <a:pt x="306" y="205"/>
                    <a:pt x="306" y="205"/>
                  </a:cubicBezTo>
                  <a:cubicBezTo>
                    <a:pt x="305" y="194"/>
                    <a:pt x="305" y="194"/>
                    <a:pt x="305" y="194"/>
                  </a:cubicBezTo>
                  <a:cubicBezTo>
                    <a:pt x="309" y="190"/>
                    <a:pt x="309" y="190"/>
                    <a:pt x="309" y="190"/>
                  </a:cubicBezTo>
                  <a:cubicBezTo>
                    <a:pt x="352" y="189"/>
                    <a:pt x="352" y="189"/>
                    <a:pt x="352" y="189"/>
                  </a:cubicBezTo>
                  <a:cubicBezTo>
                    <a:pt x="358" y="197"/>
                    <a:pt x="358" y="197"/>
                    <a:pt x="358" y="197"/>
                  </a:cubicBezTo>
                  <a:lnTo>
                    <a:pt x="356" y="206"/>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1" name="Freeform 328">
              <a:extLst>
                <a:ext uri="{FF2B5EF4-FFF2-40B4-BE49-F238E27FC236}">
                  <a16:creationId xmlns:a16="http://schemas.microsoft.com/office/drawing/2014/main" id="{9A2B7282-A94C-43D4-9450-2BF11AFF4FBF}"/>
                </a:ext>
              </a:extLst>
            </p:cNvPr>
            <p:cNvSpPr>
              <a:spLocks noChangeAspect="1"/>
            </p:cNvSpPr>
            <p:nvPr/>
          </p:nvSpPr>
          <p:spPr bwMode="auto">
            <a:xfrm>
              <a:off x="13209" y="2711"/>
              <a:ext cx="114" cy="62"/>
            </a:xfrm>
            <a:custGeom>
              <a:avLst/>
              <a:gdLst>
                <a:gd name="T0" fmla="*/ 4096 w 57"/>
                <a:gd name="T1" fmla="*/ 512 h 31"/>
                <a:gd name="T2" fmla="*/ 2048 w 57"/>
                <a:gd name="T3" fmla="*/ 2560 h 31"/>
                <a:gd name="T4" fmla="*/ 2560 w 57"/>
                <a:gd name="T5" fmla="*/ 8192 h 31"/>
                <a:gd name="T6" fmla="*/ 0 w 57"/>
                <a:gd name="T7" fmla="*/ 11264 h 31"/>
                <a:gd name="T8" fmla="*/ 2560 w 57"/>
                <a:gd name="T9" fmla="*/ 15360 h 31"/>
                <a:gd name="T10" fmla="*/ 25600 w 57"/>
                <a:gd name="T11" fmla="*/ 15872 h 31"/>
                <a:gd name="T12" fmla="*/ 27648 w 57"/>
                <a:gd name="T13" fmla="*/ 13312 h 31"/>
                <a:gd name="T14" fmla="*/ 28160 w 57"/>
                <a:gd name="T15" fmla="*/ 8704 h 31"/>
                <a:gd name="T16" fmla="*/ 29184 w 57"/>
                <a:gd name="T17" fmla="*/ 4096 h 31"/>
                <a:gd name="T18" fmla="*/ 26112 w 57"/>
                <a:gd name="T19" fmla="*/ 0 h 31"/>
                <a:gd name="T20" fmla="*/ 4096 w 57"/>
                <a:gd name="T21" fmla="*/ 512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1"/>
                <a:gd name="T35" fmla="*/ 57 w 57"/>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1">
                  <a:moveTo>
                    <a:pt x="8" y="1"/>
                  </a:moveTo>
                  <a:cubicBezTo>
                    <a:pt x="4" y="5"/>
                    <a:pt x="4" y="5"/>
                    <a:pt x="4" y="5"/>
                  </a:cubicBezTo>
                  <a:cubicBezTo>
                    <a:pt x="5" y="16"/>
                    <a:pt x="5" y="16"/>
                    <a:pt x="5" y="16"/>
                  </a:cubicBezTo>
                  <a:cubicBezTo>
                    <a:pt x="5" y="16"/>
                    <a:pt x="0" y="17"/>
                    <a:pt x="0" y="22"/>
                  </a:cubicBezTo>
                  <a:cubicBezTo>
                    <a:pt x="0" y="26"/>
                    <a:pt x="5" y="30"/>
                    <a:pt x="5" y="30"/>
                  </a:cubicBezTo>
                  <a:cubicBezTo>
                    <a:pt x="50" y="31"/>
                    <a:pt x="50" y="31"/>
                    <a:pt x="50" y="31"/>
                  </a:cubicBezTo>
                  <a:cubicBezTo>
                    <a:pt x="54" y="26"/>
                    <a:pt x="54" y="26"/>
                    <a:pt x="54" y="26"/>
                  </a:cubicBezTo>
                  <a:cubicBezTo>
                    <a:pt x="55" y="17"/>
                    <a:pt x="55" y="17"/>
                    <a:pt x="55" y="17"/>
                  </a:cubicBezTo>
                  <a:cubicBezTo>
                    <a:pt x="57" y="8"/>
                    <a:pt x="57" y="8"/>
                    <a:pt x="57" y="8"/>
                  </a:cubicBezTo>
                  <a:cubicBezTo>
                    <a:pt x="51" y="0"/>
                    <a:pt x="51" y="0"/>
                    <a:pt x="51" y="0"/>
                  </a:cubicBezTo>
                  <a:lnTo>
                    <a:pt x="8" y="1"/>
                  </a:lnTo>
                  <a:close/>
                </a:path>
              </a:pathLst>
            </a:custGeom>
            <a:grpFill/>
            <a:ln w="12700">
              <a:solidFill>
                <a:schemeClr val="bg1"/>
              </a:solidFill>
              <a:round/>
              <a:headEnd/>
              <a:tailEnd/>
            </a:ln>
          </p:spPr>
          <p:txBody>
            <a:bodyPr/>
            <a:lstStyle/>
            <a:p>
              <a:endParaRPr lang="en-US" sz="500" dirty="0">
                <a:solidFill>
                  <a:srgbClr val="000000"/>
                </a:solidFill>
              </a:endParaRPr>
            </a:p>
          </p:txBody>
        </p:sp>
        <p:sp>
          <p:nvSpPr>
            <p:cNvPr id="212" name="Freeform 330">
              <a:extLst>
                <a:ext uri="{FF2B5EF4-FFF2-40B4-BE49-F238E27FC236}">
                  <a16:creationId xmlns:a16="http://schemas.microsoft.com/office/drawing/2014/main" id="{CDFE2F99-5CF0-4CB5-9D95-D818E4ED7790}"/>
                </a:ext>
              </a:extLst>
            </p:cNvPr>
            <p:cNvSpPr>
              <a:spLocks noChangeAspect="1"/>
            </p:cNvSpPr>
            <p:nvPr/>
          </p:nvSpPr>
          <p:spPr bwMode="auto">
            <a:xfrm>
              <a:off x="12436" y="3555"/>
              <a:ext cx="812" cy="490"/>
            </a:xfrm>
            <a:custGeom>
              <a:avLst/>
              <a:gdLst/>
              <a:ahLst/>
              <a:cxnLst>
                <a:cxn ang="0">
                  <a:pos x="77" y="226"/>
                </a:cxn>
                <a:cxn ang="0">
                  <a:pos x="89" y="231"/>
                </a:cxn>
                <a:cxn ang="0">
                  <a:pos x="97" y="237"/>
                </a:cxn>
                <a:cxn ang="0">
                  <a:pos x="103" y="231"/>
                </a:cxn>
                <a:cxn ang="0">
                  <a:pos x="123" y="233"/>
                </a:cxn>
                <a:cxn ang="0">
                  <a:pos x="128" y="236"/>
                </a:cxn>
                <a:cxn ang="0">
                  <a:pos x="158" y="243"/>
                </a:cxn>
                <a:cxn ang="0">
                  <a:pos x="173" y="237"/>
                </a:cxn>
                <a:cxn ang="0">
                  <a:pos x="195" y="243"/>
                </a:cxn>
                <a:cxn ang="0">
                  <a:pos x="204" y="238"/>
                </a:cxn>
                <a:cxn ang="0">
                  <a:pos x="213" y="227"/>
                </a:cxn>
                <a:cxn ang="0">
                  <a:pos x="236" y="225"/>
                </a:cxn>
                <a:cxn ang="0">
                  <a:pos x="248" y="212"/>
                </a:cxn>
                <a:cxn ang="0">
                  <a:pos x="262" y="220"/>
                </a:cxn>
                <a:cxn ang="0">
                  <a:pos x="289" y="214"/>
                </a:cxn>
                <a:cxn ang="0">
                  <a:pos x="302" y="225"/>
                </a:cxn>
                <a:cxn ang="0">
                  <a:pos x="314" y="224"/>
                </a:cxn>
                <a:cxn ang="0">
                  <a:pos x="329" y="212"/>
                </a:cxn>
                <a:cxn ang="0">
                  <a:pos x="363" y="212"/>
                </a:cxn>
                <a:cxn ang="0">
                  <a:pos x="362" y="212"/>
                </a:cxn>
                <a:cxn ang="0">
                  <a:pos x="371" y="201"/>
                </a:cxn>
                <a:cxn ang="0">
                  <a:pos x="404" y="167"/>
                </a:cxn>
                <a:cxn ang="0">
                  <a:pos x="388" y="152"/>
                </a:cxn>
                <a:cxn ang="0">
                  <a:pos x="367" y="156"/>
                </a:cxn>
                <a:cxn ang="0">
                  <a:pos x="370" y="134"/>
                </a:cxn>
                <a:cxn ang="0">
                  <a:pos x="322" y="132"/>
                </a:cxn>
                <a:cxn ang="0">
                  <a:pos x="329" y="110"/>
                </a:cxn>
                <a:cxn ang="0">
                  <a:pos x="307" y="84"/>
                </a:cxn>
                <a:cxn ang="0">
                  <a:pos x="302" y="45"/>
                </a:cxn>
                <a:cxn ang="0">
                  <a:pos x="288" y="29"/>
                </a:cxn>
                <a:cxn ang="0">
                  <a:pos x="248" y="26"/>
                </a:cxn>
                <a:cxn ang="0">
                  <a:pos x="236" y="29"/>
                </a:cxn>
                <a:cxn ang="0">
                  <a:pos x="198" y="8"/>
                </a:cxn>
                <a:cxn ang="0">
                  <a:pos x="180" y="12"/>
                </a:cxn>
                <a:cxn ang="0">
                  <a:pos x="155" y="0"/>
                </a:cxn>
                <a:cxn ang="0">
                  <a:pos x="149" y="13"/>
                </a:cxn>
                <a:cxn ang="0">
                  <a:pos x="127" y="5"/>
                </a:cxn>
                <a:cxn ang="0">
                  <a:pos x="116" y="10"/>
                </a:cxn>
                <a:cxn ang="0">
                  <a:pos x="110" y="3"/>
                </a:cxn>
                <a:cxn ang="0">
                  <a:pos x="96" y="5"/>
                </a:cxn>
                <a:cxn ang="0">
                  <a:pos x="89" y="15"/>
                </a:cxn>
                <a:cxn ang="0">
                  <a:pos x="62" y="26"/>
                </a:cxn>
                <a:cxn ang="0">
                  <a:pos x="58" y="48"/>
                </a:cxn>
                <a:cxn ang="0">
                  <a:pos x="40" y="58"/>
                </a:cxn>
                <a:cxn ang="0">
                  <a:pos x="31" y="91"/>
                </a:cxn>
                <a:cxn ang="0">
                  <a:pos x="22" y="97"/>
                </a:cxn>
                <a:cxn ang="0">
                  <a:pos x="23" y="103"/>
                </a:cxn>
                <a:cxn ang="0">
                  <a:pos x="29" y="109"/>
                </a:cxn>
                <a:cxn ang="0">
                  <a:pos x="23" y="117"/>
                </a:cxn>
                <a:cxn ang="0">
                  <a:pos x="21" y="134"/>
                </a:cxn>
                <a:cxn ang="0">
                  <a:pos x="12" y="156"/>
                </a:cxn>
                <a:cxn ang="0">
                  <a:pos x="16" y="163"/>
                </a:cxn>
                <a:cxn ang="0">
                  <a:pos x="3" y="177"/>
                </a:cxn>
                <a:cxn ang="0">
                  <a:pos x="14" y="191"/>
                </a:cxn>
                <a:cxn ang="0">
                  <a:pos x="33" y="183"/>
                </a:cxn>
                <a:cxn ang="0">
                  <a:pos x="48" y="192"/>
                </a:cxn>
                <a:cxn ang="0">
                  <a:pos x="53" y="211"/>
                </a:cxn>
                <a:cxn ang="0">
                  <a:pos x="62" y="222"/>
                </a:cxn>
                <a:cxn ang="0">
                  <a:pos x="64" y="228"/>
                </a:cxn>
                <a:cxn ang="0">
                  <a:pos x="71" y="231"/>
                </a:cxn>
                <a:cxn ang="0">
                  <a:pos x="77" y="226"/>
                </a:cxn>
              </a:cxnLst>
              <a:rect l="0" t="0" r="r" b="b"/>
              <a:pathLst>
                <a:path w="404" h="245">
                  <a:moveTo>
                    <a:pt x="77" y="226"/>
                  </a:moveTo>
                  <a:cubicBezTo>
                    <a:pt x="77" y="226"/>
                    <a:pt x="86" y="228"/>
                    <a:pt x="89" y="231"/>
                  </a:cubicBezTo>
                  <a:cubicBezTo>
                    <a:pt x="91" y="233"/>
                    <a:pt x="96" y="237"/>
                    <a:pt x="97" y="237"/>
                  </a:cubicBezTo>
                  <a:cubicBezTo>
                    <a:pt x="98" y="236"/>
                    <a:pt x="103" y="231"/>
                    <a:pt x="103" y="231"/>
                  </a:cubicBezTo>
                  <a:cubicBezTo>
                    <a:pt x="104" y="231"/>
                    <a:pt x="123" y="233"/>
                    <a:pt x="123" y="233"/>
                  </a:cubicBezTo>
                  <a:cubicBezTo>
                    <a:pt x="123" y="233"/>
                    <a:pt x="126" y="236"/>
                    <a:pt x="128" y="236"/>
                  </a:cubicBezTo>
                  <a:cubicBezTo>
                    <a:pt x="129" y="236"/>
                    <a:pt x="153" y="243"/>
                    <a:pt x="158" y="243"/>
                  </a:cubicBezTo>
                  <a:cubicBezTo>
                    <a:pt x="163" y="242"/>
                    <a:pt x="173" y="237"/>
                    <a:pt x="173" y="237"/>
                  </a:cubicBezTo>
                  <a:cubicBezTo>
                    <a:pt x="173" y="237"/>
                    <a:pt x="193" y="245"/>
                    <a:pt x="195" y="243"/>
                  </a:cubicBezTo>
                  <a:cubicBezTo>
                    <a:pt x="197" y="242"/>
                    <a:pt x="204" y="238"/>
                    <a:pt x="204" y="238"/>
                  </a:cubicBezTo>
                  <a:cubicBezTo>
                    <a:pt x="204" y="237"/>
                    <a:pt x="211" y="227"/>
                    <a:pt x="213" y="227"/>
                  </a:cubicBezTo>
                  <a:cubicBezTo>
                    <a:pt x="215" y="226"/>
                    <a:pt x="235" y="225"/>
                    <a:pt x="236" y="225"/>
                  </a:cubicBezTo>
                  <a:cubicBezTo>
                    <a:pt x="237" y="225"/>
                    <a:pt x="240" y="209"/>
                    <a:pt x="248" y="212"/>
                  </a:cubicBezTo>
                  <a:cubicBezTo>
                    <a:pt x="256" y="214"/>
                    <a:pt x="261" y="220"/>
                    <a:pt x="262" y="220"/>
                  </a:cubicBezTo>
                  <a:cubicBezTo>
                    <a:pt x="263" y="219"/>
                    <a:pt x="280" y="207"/>
                    <a:pt x="289" y="214"/>
                  </a:cubicBezTo>
                  <a:cubicBezTo>
                    <a:pt x="299" y="220"/>
                    <a:pt x="302" y="225"/>
                    <a:pt x="302" y="225"/>
                  </a:cubicBezTo>
                  <a:cubicBezTo>
                    <a:pt x="302" y="225"/>
                    <a:pt x="314" y="225"/>
                    <a:pt x="314" y="224"/>
                  </a:cubicBezTo>
                  <a:cubicBezTo>
                    <a:pt x="314" y="223"/>
                    <a:pt x="328" y="212"/>
                    <a:pt x="329" y="212"/>
                  </a:cubicBezTo>
                  <a:cubicBezTo>
                    <a:pt x="330" y="212"/>
                    <a:pt x="350" y="212"/>
                    <a:pt x="363" y="212"/>
                  </a:cubicBezTo>
                  <a:cubicBezTo>
                    <a:pt x="363" y="212"/>
                    <a:pt x="362" y="212"/>
                    <a:pt x="362" y="212"/>
                  </a:cubicBezTo>
                  <a:cubicBezTo>
                    <a:pt x="362" y="204"/>
                    <a:pt x="371" y="201"/>
                    <a:pt x="371" y="201"/>
                  </a:cubicBezTo>
                  <a:cubicBezTo>
                    <a:pt x="404" y="167"/>
                    <a:pt x="404" y="167"/>
                    <a:pt x="404" y="167"/>
                  </a:cubicBezTo>
                  <a:cubicBezTo>
                    <a:pt x="388" y="152"/>
                    <a:pt x="388" y="152"/>
                    <a:pt x="388" y="152"/>
                  </a:cubicBezTo>
                  <a:cubicBezTo>
                    <a:pt x="367" y="156"/>
                    <a:pt x="367" y="156"/>
                    <a:pt x="367" y="156"/>
                  </a:cubicBezTo>
                  <a:cubicBezTo>
                    <a:pt x="370" y="134"/>
                    <a:pt x="370" y="134"/>
                    <a:pt x="370" y="134"/>
                  </a:cubicBezTo>
                  <a:cubicBezTo>
                    <a:pt x="322" y="132"/>
                    <a:pt x="322" y="132"/>
                    <a:pt x="322" y="132"/>
                  </a:cubicBezTo>
                  <a:cubicBezTo>
                    <a:pt x="329" y="110"/>
                    <a:pt x="329" y="110"/>
                    <a:pt x="329" y="110"/>
                  </a:cubicBezTo>
                  <a:cubicBezTo>
                    <a:pt x="307" y="84"/>
                    <a:pt x="307" y="84"/>
                    <a:pt x="307" y="84"/>
                  </a:cubicBezTo>
                  <a:cubicBezTo>
                    <a:pt x="307" y="84"/>
                    <a:pt x="310" y="57"/>
                    <a:pt x="302" y="45"/>
                  </a:cubicBezTo>
                  <a:cubicBezTo>
                    <a:pt x="295" y="33"/>
                    <a:pt x="288" y="29"/>
                    <a:pt x="288" y="29"/>
                  </a:cubicBezTo>
                  <a:cubicBezTo>
                    <a:pt x="248" y="26"/>
                    <a:pt x="248" y="26"/>
                    <a:pt x="248" y="26"/>
                  </a:cubicBezTo>
                  <a:cubicBezTo>
                    <a:pt x="236" y="29"/>
                    <a:pt x="236" y="29"/>
                    <a:pt x="236" y="29"/>
                  </a:cubicBezTo>
                  <a:cubicBezTo>
                    <a:pt x="236" y="29"/>
                    <a:pt x="198" y="9"/>
                    <a:pt x="198" y="8"/>
                  </a:cubicBezTo>
                  <a:cubicBezTo>
                    <a:pt x="197" y="8"/>
                    <a:pt x="180" y="12"/>
                    <a:pt x="180" y="12"/>
                  </a:cubicBezTo>
                  <a:cubicBezTo>
                    <a:pt x="155" y="0"/>
                    <a:pt x="155" y="0"/>
                    <a:pt x="155" y="0"/>
                  </a:cubicBezTo>
                  <a:cubicBezTo>
                    <a:pt x="155" y="0"/>
                    <a:pt x="150" y="12"/>
                    <a:pt x="149" y="13"/>
                  </a:cubicBezTo>
                  <a:cubicBezTo>
                    <a:pt x="149" y="14"/>
                    <a:pt x="127" y="5"/>
                    <a:pt x="127" y="5"/>
                  </a:cubicBezTo>
                  <a:cubicBezTo>
                    <a:pt x="127" y="5"/>
                    <a:pt x="117" y="10"/>
                    <a:pt x="116" y="10"/>
                  </a:cubicBezTo>
                  <a:cubicBezTo>
                    <a:pt x="115" y="10"/>
                    <a:pt x="110" y="3"/>
                    <a:pt x="110" y="3"/>
                  </a:cubicBezTo>
                  <a:cubicBezTo>
                    <a:pt x="96" y="5"/>
                    <a:pt x="96" y="5"/>
                    <a:pt x="96" y="5"/>
                  </a:cubicBezTo>
                  <a:cubicBezTo>
                    <a:pt x="89" y="15"/>
                    <a:pt x="89" y="15"/>
                    <a:pt x="89" y="15"/>
                  </a:cubicBezTo>
                  <a:cubicBezTo>
                    <a:pt x="62" y="26"/>
                    <a:pt x="62" y="26"/>
                    <a:pt x="62" y="26"/>
                  </a:cubicBezTo>
                  <a:cubicBezTo>
                    <a:pt x="62" y="26"/>
                    <a:pt x="59" y="45"/>
                    <a:pt x="58" y="48"/>
                  </a:cubicBezTo>
                  <a:cubicBezTo>
                    <a:pt x="56" y="52"/>
                    <a:pt x="40" y="58"/>
                    <a:pt x="40" y="58"/>
                  </a:cubicBezTo>
                  <a:cubicBezTo>
                    <a:pt x="31" y="91"/>
                    <a:pt x="31" y="91"/>
                    <a:pt x="31" y="91"/>
                  </a:cubicBezTo>
                  <a:cubicBezTo>
                    <a:pt x="31" y="91"/>
                    <a:pt x="26" y="94"/>
                    <a:pt x="22" y="97"/>
                  </a:cubicBezTo>
                  <a:cubicBezTo>
                    <a:pt x="23" y="103"/>
                    <a:pt x="23" y="103"/>
                    <a:pt x="23" y="103"/>
                  </a:cubicBezTo>
                  <a:cubicBezTo>
                    <a:pt x="29" y="109"/>
                    <a:pt x="29" y="109"/>
                    <a:pt x="29" y="109"/>
                  </a:cubicBezTo>
                  <a:cubicBezTo>
                    <a:pt x="23" y="117"/>
                    <a:pt x="23" y="117"/>
                    <a:pt x="23" y="117"/>
                  </a:cubicBezTo>
                  <a:cubicBezTo>
                    <a:pt x="23" y="117"/>
                    <a:pt x="26" y="128"/>
                    <a:pt x="21" y="134"/>
                  </a:cubicBezTo>
                  <a:cubicBezTo>
                    <a:pt x="17" y="140"/>
                    <a:pt x="12" y="156"/>
                    <a:pt x="12" y="156"/>
                  </a:cubicBezTo>
                  <a:cubicBezTo>
                    <a:pt x="16" y="163"/>
                    <a:pt x="16" y="163"/>
                    <a:pt x="16" y="163"/>
                  </a:cubicBezTo>
                  <a:cubicBezTo>
                    <a:pt x="16" y="163"/>
                    <a:pt x="6" y="172"/>
                    <a:pt x="3" y="177"/>
                  </a:cubicBezTo>
                  <a:cubicBezTo>
                    <a:pt x="0" y="183"/>
                    <a:pt x="14" y="191"/>
                    <a:pt x="14" y="191"/>
                  </a:cubicBezTo>
                  <a:cubicBezTo>
                    <a:pt x="33" y="183"/>
                    <a:pt x="33" y="183"/>
                    <a:pt x="33" y="183"/>
                  </a:cubicBezTo>
                  <a:cubicBezTo>
                    <a:pt x="33" y="183"/>
                    <a:pt x="44" y="189"/>
                    <a:pt x="48" y="192"/>
                  </a:cubicBezTo>
                  <a:cubicBezTo>
                    <a:pt x="52" y="194"/>
                    <a:pt x="53" y="206"/>
                    <a:pt x="53" y="211"/>
                  </a:cubicBezTo>
                  <a:cubicBezTo>
                    <a:pt x="53" y="217"/>
                    <a:pt x="55" y="217"/>
                    <a:pt x="62" y="222"/>
                  </a:cubicBezTo>
                  <a:cubicBezTo>
                    <a:pt x="65" y="224"/>
                    <a:pt x="65" y="226"/>
                    <a:pt x="64" y="228"/>
                  </a:cubicBezTo>
                  <a:cubicBezTo>
                    <a:pt x="71" y="231"/>
                    <a:pt x="71" y="231"/>
                    <a:pt x="71" y="231"/>
                  </a:cubicBezTo>
                  <a:lnTo>
                    <a:pt x="77" y="226"/>
                  </a:ln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3" name="Freeform 331">
              <a:extLst>
                <a:ext uri="{FF2B5EF4-FFF2-40B4-BE49-F238E27FC236}">
                  <a16:creationId xmlns:a16="http://schemas.microsoft.com/office/drawing/2014/main" id="{F7AFEB63-7DF7-431C-AEC7-54BA83B013AD}"/>
                </a:ext>
              </a:extLst>
            </p:cNvPr>
            <p:cNvSpPr>
              <a:spLocks noChangeAspect="1"/>
            </p:cNvSpPr>
            <p:nvPr/>
          </p:nvSpPr>
          <p:spPr bwMode="auto">
            <a:xfrm>
              <a:off x="12546" y="3969"/>
              <a:ext cx="653" cy="410"/>
            </a:xfrm>
            <a:custGeom>
              <a:avLst/>
              <a:gdLst/>
              <a:ahLst/>
              <a:cxnLst>
                <a:cxn ang="0">
                  <a:pos x="6" y="30"/>
                </a:cxn>
                <a:cxn ang="0">
                  <a:pos x="1" y="40"/>
                </a:cxn>
                <a:cxn ang="0">
                  <a:pos x="4" y="55"/>
                </a:cxn>
                <a:cxn ang="0">
                  <a:pos x="0" y="70"/>
                </a:cxn>
                <a:cxn ang="0">
                  <a:pos x="13" y="78"/>
                </a:cxn>
                <a:cxn ang="0">
                  <a:pos x="23" y="70"/>
                </a:cxn>
                <a:cxn ang="0">
                  <a:pos x="31" y="78"/>
                </a:cxn>
                <a:cxn ang="0">
                  <a:pos x="43" y="70"/>
                </a:cxn>
                <a:cxn ang="0">
                  <a:pos x="50" y="79"/>
                </a:cxn>
                <a:cxn ang="0">
                  <a:pos x="66" y="78"/>
                </a:cxn>
                <a:cxn ang="0">
                  <a:pos x="119" y="95"/>
                </a:cxn>
                <a:cxn ang="0">
                  <a:pos x="138" y="93"/>
                </a:cxn>
                <a:cxn ang="0">
                  <a:pos x="156" y="112"/>
                </a:cxn>
                <a:cxn ang="0">
                  <a:pos x="196" y="153"/>
                </a:cxn>
                <a:cxn ang="0">
                  <a:pos x="244" y="153"/>
                </a:cxn>
                <a:cxn ang="0">
                  <a:pos x="243" y="162"/>
                </a:cxn>
                <a:cxn ang="0">
                  <a:pos x="229" y="178"/>
                </a:cxn>
                <a:cxn ang="0">
                  <a:pos x="227" y="193"/>
                </a:cxn>
                <a:cxn ang="0">
                  <a:pos x="218" y="199"/>
                </a:cxn>
                <a:cxn ang="0">
                  <a:pos x="222" y="204"/>
                </a:cxn>
                <a:cxn ang="0">
                  <a:pos x="231" y="198"/>
                </a:cxn>
                <a:cxn ang="0">
                  <a:pos x="243" y="205"/>
                </a:cxn>
                <a:cxn ang="0">
                  <a:pos x="278" y="170"/>
                </a:cxn>
                <a:cxn ang="0">
                  <a:pos x="299" y="160"/>
                </a:cxn>
                <a:cxn ang="0">
                  <a:pos x="310" y="128"/>
                </a:cxn>
                <a:cxn ang="0">
                  <a:pos x="324" y="94"/>
                </a:cxn>
                <a:cxn ang="0">
                  <a:pos x="307" y="83"/>
                </a:cxn>
                <a:cxn ang="0">
                  <a:pos x="318" y="74"/>
                </a:cxn>
                <a:cxn ang="0">
                  <a:pos x="306" y="47"/>
                </a:cxn>
                <a:cxn ang="0">
                  <a:pos x="318" y="18"/>
                </a:cxn>
                <a:cxn ang="0">
                  <a:pos x="308" y="5"/>
                </a:cxn>
                <a:cxn ang="0">
                  <a:pos x="274" y="5"/>
                </a:cxn>
                <a:cxn ang="0">
                  <a:pos x="259" y="17"/>
                </a:cxn>
                <a:cxn ang="0">
                  <a:pos x="247" y="18"/>
                </a:cxn>
                <a:cxn ang="0">
                  <a:pos x="234" y="7"/>
                </a:cxn>
                <a:cxn ang="0">
                  <a:pos x="207" y="13"/>
                </a:cxn>
                <a:cxn ang="0">
                  <a:pos x="193" y="5"/>
                </a:cxn>
                <a:cxn ang="0">
                  <a:pos x="181" y="18"/>
                </a:cxn>
                <a:cxn ang="0">
                  <a:pos x="158" y="20"/>
                </a:cxn>
                <a:cxn ang="0">
                  <a:pos x="149" y="31"/>
                </a:cxn>
                <a:cxn ang="0">
                  <a:pos x="140" y="36"/>
                </a:cxn>
                <a:cxn ang="0">
                  <a:pos x="118" y="30"/>
                </a:cxn>
                <a:cxn ang="0">
                  <a:pos x="103" y="36"/>
                </a:cxn>
                <a:cxn ang="0">
                  <a:pos x="73" y="29"/>
                </a:cxn>
                <a:cxn ang="0">
                  <a:pos x="68" y="26"/>
                </a:cxn>
                <a:cxn ang="0">
                  <a:pos x="48" y="24"/>
                </a:cxn>
                <a:cxn ang="0">
                  <a:pos x="42" y="30"/>
                </a:cxn>
                <a:cxn ang="0">
                  <a:pos x="34" y="24"/>
                </a:cxn>
                <a:cxn ang="0">
                  <a:pos x="22" y="19"/>
                </a:cxn>
                <a:cxn ang="0">
                  <a:pos x="16" y="24"/>
                </a:cxn>
                <a:cxn ang="0">
                  <a:pos x="9" y="21"/>
                </a:cxn>
                <a:cxn ang="0">
                  <a:pos x="6" y="30"/>
                </a:cxn>
              </a:cxnLst>
              <a:rect l="0" t="0" r="r" b="b"/>
              <a:pathLst>
                <a:path w="326" h="205">
                  <a:moveTo>
                    <a:pt x="6" y="30"/>
                  </a:moveTo>
                  <a:cubicBezTo>
                    <a:pt x="7" y="35"/>
                    <a:pt x="1" y="40"/>
                    <a:pt x="1" y="40"/>
                  </a:cubicBezTo>
                  <a:cubicBezTo>
                    <a:pt x="1" y="40"/>
                    <a:pt x="4" y="53"/>
                    <a:pt x="4" y="55"/>
                  </a:cubicBezTo>
                  <a:cubicBezTo>
                    <a:pt x="5" y="56"/>
                    <a:pt x="3" y="64"/>
                    <a:pt x="0" y="70"/>
                  </a:cubicBezTo>
                  <a:cubicBezTo>
                    <a:pt x="4" y="74"/>
                    <a:pt x="10" y="78"/>
                    <a:pt x="13" y="78"/>
                  </a:cubicBezTo>
                  <a:cubicBezTo>
                    <a:pt x="17" y="78"/>
                    <a:pt x="23" y="70"/>
                    <a:pt x="23" y="70"/>
                  </a:cubicBezTo>
                  <a:cubicBezTo>
                    <a:pt x="31" y="78"/>
                    <a:pt x="31" y="78"/>
                    <a:pt x="31" y="78"/>
                  </a:cubicBezTo>
                  <a:cubicBezTo>
                    <a:pt x="43" y="70"/>
                    <a:pt x="43" y="70"/>
                    <a:pt x="43" y="70"/>
                  </a:cubicBezTo>
                  <a:cubicBezTo>
                    <a:pt x="43" y="70"/>
                    <a:pt x="50" y="79"/>
                    <a:pt x="50" y="79"/>
                  </a:cubicBezTo>
                  <a:cubicBezTo>
                    <a:pt x="51" y="79"/>
                    <a:pt x="66" y="78"/>
                    <a:pt x="66" y="78"/>
                  </a:cubicBezTo>
                  <a:cubicBezTo>
                    <a:pt x="119" y="95"/>
                    <a:pt x="119" y="95"/>
                    <a:pt x="119" y="95"/>
                  </a:cubicBezTo>
                  <a:cubicBezTo>
                    <a:pt x="119" y="95"/>
                    <a:pt x="130" y="84"/>
                    <a:pt x="138" y="93"/>
                  </a:cubicBezTo>
                  <a:cubicBezTo>
                    <a:pt x="147" y="101"/>
                    <a:pt x="156" y="112"/>
                    <a:pt x="156" y="112"/>
                  </a:cubicBezTo>
                  <a:cubicBezTo>
                    <a:pt x="196" y="153"/>
                    <a:pt x="196" y="153"/>
                    <a:pt x="196" y="153"/>
                  </a:cubicBezTo>
                  <a:cubicBezTo>
                    <a:pt x="196" y="153"/>
                    <a:pt x="245" y="153"/>
                    <a:pt x="244" y="153"/>
                  </a:cubicBezTo>
                  <a:cubicBezTo>
                    <a:pt x="244" y="154"/>
                    <a:pt x="248" y="160"/>
                    <a:pt x="243" y="162"/>
                  </a:cubicBezTo>
                  <a:cubicBezTo>
                    <a:pt x="238" y="164"/>
                    <a:pt x="229" y="178"/>
                    <a:pt x="229" y="178"/>
                  </a:cubicBezTo>
                  <a:cubicBezTo>
                    <a:pt x="227" y="193"/>
                    <a:pt x="227" y="193"/>
                    <a:pt x="227" y="193"/>
                  </a:cubicBezTo>
                  <a:cubicBezTo>
                    <a:pt x="218" y="199"/>
                    <a:pt x="218" y="199"/>
                    <a:pt x="218" y="199"/>
                  </a:cubicBezTo>
                  <a:cubicBezTo>
                    <a:pt x="222" y="204"/>
                    <a:pt x="222" y="204"/>
                    <a:pt x="222" y="204"/>
                  </a:cubicBezTo>
                  <a:cubicBezTo>
                    <a:pt x="231" y="198"/>
                    <a:pt x="231" y="198"/>
                    <a:pt x="231" y="198"/>
                  </a:cubicBezTo>
                  <a:cubicBezTo>
                    <a:pt x="243" y="205"/>
                    <a:pt x="243" y="205"/>
                    <a:pt x="243" y="205"/>
                  </a:cubicBezTo>
                  <a:cubicBezTo>
                    <a:pt x="255" y="190"/>
                    <a:pt x="269" y="178"/>
                    <a:pt x="278" y="170"/>
                  </a:cubicBezTo>
                  <a:cubicBezTo>
                    <a:pt x="289" y="161"/>
                    <a:pt x="292" y="164"/>
                    <a:pt x="299" y="160"/>
                  </a:cubicBezTo>
                  <a:cubicBezTo>
                    <a:pt x="306" y="156"/>
                    <a:pt x="310" y="128"/>
                    <a:pt x="310" y="128"/>
                  </a:cubicBezTo>
                  <a:cubicBezTo>
                    <a:pt x="310" y="128"/>
                    <a:pt x="323" y="94"/>
                    <a:pt x="324" y="94"/>
                  </a:cubicBezTo>
                  <a:cubicBezTo>
                    <a:pt x="326" y="94"/>
                    <a:pt x="307" y="83"/>
                    <a:pt x="307" y="83"/>
                  </a:cubicBezTo>
                  <a:cubicBezTo>
                    <a:pt x="307" y="83"/>
                    <a:pt x="317" y="74"/>
                    <a:pt x="318" y="74"/>
                  </a:cubicBezTo>
                  <a:cubicBezTo>
                    <a:pt x="319" y="74"/>
                    <a:pt x="311" y="58"/>
                    <a:pt x="306" y="47"/>
                  </a:cubicBezTo>
                  <a:cubicBezTo>
                    <a:pt x="302" y="36"/>
                    <a:pt x="315" y="24"/>
                    <a:pt x="318" y="18"/>
                  </a:cubicBezTo>
                  <a:cubicBezTo>
                    <a:pt x="321" y="12"/>
                    <a:pt x="308" y="14"/>
                    <a:pt x="308" y="5"/>
                  </a:cubicBezTo>
                  <a:cubicBezTo>
                    <a:pt x="295" y="5"/>
                    <a:pt x="275" y="5"/>
                    <a:pt x="274" y="5"/>
                  </a:cubicBezTo>
                  <a:cubicBezTo>
                    <a:pt x="273" y="5"/>
                    <a:pt x="259" y="16"/>
                    <a:pt x="259" y="17"/>
                  </a:cubicBezTo>
                  <a:cubicBezTo>
                    <a:pt x="259" y="18"/>
                    <a:pt x="247" y="18"/>
                    <a:pt x="247" y="18"/>
                  </a:cubicBezTo>
                  <a:cubicBezTo>
                    <a:pt x="247" y="18"/>
                    <a:pt x="244" y="13"/>
                    <a:pt x="234" y="7"/>
                  </a:cubicBezTo>
                  <a:cubicBezTo>
                    <a:pt x="225" y="0"/>
                    <a:pt x="208" y="12"/>
                    <a:pt x="207" y="13"/>
                  </a:cubicBezTo>
                  <a:cubicBezTo>
                    <a:pt x="206" y="13"/>
                    <a:pt x="201" y="7"/>
                    <a:pt x="193" y="5"/>
                  </a:cubicBezTo>
                  <a:cubicBezTo>
                    <a:pt x="185" y="2"/>
                    <a:pt x="182" y="18"/>
                    <a:pt x="181" y="18"/>
                  </a:cubicBezTo>
                  <a:cubicBezTo>
                    <a:pt x="180" y="18"/>
                    <a:pt x="160" y="19"/>
                    <a:pt x="158" y="20"/>
                  </a:cubicBezTo>
                  <a:cubicBezTo>
                    <a:pt x="156" y="20"/>
                    <a:pt x="149" y="30"/>
                    <a:pt x="149" y="31"/>
                  </a:cubicBezTo>
                  <a:cubicBezTo>
                    <a:pt x="149" y="31"/>
                    <a:pt x="142" y="35"/>
                    <a:pt x="140" y="36"/>
                  </a:cubicBezTo>
                  <a:cubicBezTo>
                    <a:pt x="138" y="38"/>
                    <a:pt x="118" y="30"/>
                    <a:pt x="118" y="30"/>
                  </a:cubicBezTo>
                  <a:cubicBezTo>
                    <a:pt x="118" y="30"/>
                    <a:pt x="108" y="35"/>
                    <a:pt x="103" y="36"/>
                  </a:cubicBezTo>
                  <a:cubicBezTo>
                    <a:pt x="98" y="36"/>
                    <a:pt x="74" y="29"/>
                    <a:pt x="73" y="29"/>
                  </a:cubicBezTo>
                  <a:cubicBezTo>
                    <a:pt x="71" y="29"/>
                    <a:pt x="68" y="26"/>
                    <a:pt x="68" y="26"/>
                  </a:cubicBezTo>
                  <a:cubicBezTo>
                    <a:pt x="68" y="26"/>
                    <a:pt x="49" y="24"/>
                    <a:pt x="48" y="24"/>
                  </a:cubicBezTo>
                  <a:cubicBezTo>
                    <a:pt x="48" y="24"/>
                    <a:pt x="43" y="29"/>
                    <a:pt x="42" y="30"/>
                  </a:cubicBezTo>
                  <a:cubicBezTo>
                    <a:pt x="41" y="30"/>
                    <a:pt x="36" y="26"/>
                    <a:pt x="34" y="24"/>
                  </a:cubicBezTo>
                  <a:cubicBezTo>
                    <a:pt x="31" y="21"/>
                    <a:pt x="22" y="19"/>
                    <a:pt x="22" y="19"/>
                  </a:cubicBezTo>
                  <a:cubicBezTo>
                    <a:pt x="16" y="24"/>
                    <a:pt x="16" y="24"/>
                    <a:pt x="16" y="24"/>
                  </a:cubicBezTo>
                  <a:cubicBezTo>
                    <a:pt x="9" y="21"/>
                    <a:pt x="9" y="21"/>
                    <a:pt x="9" y="21"/>
                  </a:cubicBezTo>
                  <a:cubicBezTo>
                    <a:pt x="8" y="24"/>
                    <a:pt x="5" y="27"/>
                    <a:pt x="6" y="30"/>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4" name="Freeform 332">
              <a:extLst>
                <a:ext uri="{FF2B5EF4-FFF2-40B4-BE49-F238E27FC236}">
                  <a16:creationId xmlns:a16="http://schemas.microsoft.com/office/drawing/2014/main" id="{C95596B9-C077-4EBF-9F5D-51B64426E6B6}"/>
                </a:ext>
              </a:extLst>
            </p:cNvPr>
            <p:cNvSpPr>
              <a:spLocks noChangeAspect="1"/>
            </p:cNvSpPr>
            <p:nvPr/>
          </p:nvSpPr>
          <p:spPr bwMode="auto">
            <a:xfrm>
              <a:off x="12628" y="3223"/>
              <a:ext cx="1081" cy="664"/>
            </a:xfrm>
            <a:custGeom>
              <a:avLst/>
              <a:gdLst/>
              <a:ahLst/>
              <a:cxnLst>
                <a:cxn ang="0">
                  <a:pos x="529" y="184"/>
                </a:cxn>
                <a:cxn ang="0">
                  <a:pos x="534" y="174"/>
                </a:cxn>
                <a:cxn ang="0">
                  <a:pos x="511" y="172"/>
                </a:cxn>
                <a:cxn ang="0">
                  <a:pos x="501" y="160"/>
                </a:cxn>
                <a:cxn ang="0">
                  <a:pos x="471" y="173"/>
                </a:cxn>
                <a:cxn ang="0">
                  <a:pos x="453" y="173"/>
                </a:cxn>
                <a:cxn ang="0">
                  <a:pos x="440" y="184"/>
                </a:cxn>
                <a:cxn ang="0">
                  <a:pos x="424" y="190"/>
                </a:cxn>
                <a:cxn ang="0">
                  <a:pos x="400" y="178"/>
                </a:cxn>
                <a:cxn ang="0">
                  <a:pos x="388" y="161"/>
                </a:cxn>
                <a:cxn ang="0">
                  <a:pos x="392" y="141"/>
                </a:cxn>
                <a:cxn ang="0">
                  <a:pos x="391" y="132"/>
                </a:cxn>
                <a:cxn ang="0">
                  <a:pos x="395" y="113"/>
                </a:cxn>
                <a:cxn ang="0">
                  <a:pos x="367" y="102"/>
                </a:cxn>
                <a:cxn ang="0">
                  <a:pos x="358" y="79"/>
                </a:cxn>
                <a:cxn ang="0">
                  <a:pos x="361" y="55"/>
                </a:cxn>
                <a:cxn ang="0">
                  <a:pos x="353" y="27"/>
                </a:cxn>
                <a:cxn ang="0">
                  <a:pos x="336" y="14"/>
                </a:cxn>
                <a:cxn ang="0">
                  <a:pos x="321" y="12"/>
                </a:cxn>
                <a:cxn ang="0">
                  <a:pos x="307" y="18"/>
                </a:cxn>
                <a:cxn ang="0">
                  <a:pos x="293" y="17"/>
                </a:cxn>
                <a:cxn ang="0">
                  <a:pos x="270" y="25"/>
                </a:cxn>
                <a:cxn ang="0">
                  <a:pos x="256" y="26"/>
                </a:cxn>
                <a:cxn ang="0">
                  <a:pos x="249" y="29"/>
                </a:cxn>
                <a:cxn ang="0">
                  <a:pos x="236" y="33"/>
                </a:cxn>
                <a:cxn ang="0">
                  <a:pos x="221" y="14"/>
                </a:cxn>
                <a:cxn ang="0">
                  <a:pos x="203" y="8"/>
                </a:cxn>
                <a:cxn ang="0">
                  <a:pos x="175" y="12"/>
                </a:cxn>
                <a:cxn ang="0">
                  <a:pos x="164" y="8"/>
                </a:cxn>
                <a:cxn ang="0">
                  <a:pos x="148" y="10"/>
                </a:cxn>
                <a:cxn ang="0">
                  <a:pos x="124" y="19"/>
                </a:cxn>
                <a:cxn ang="0">
                  <a:pos x="108" y="34"/>
                </a:cxn>
                <a:cxn ang="0">
                  <a:pos x="93" y="67"/>
                </a:cxn>
                <a:cxn ang="0">
                  <a:pos x="68" y="103"/>
                </a:cxn>
                <a:cxn ang="0">
                  <a:pos x="63" y="114"/>
                </a:cxn>
                <a:cxn ang="0">
                  <a:pos x="47" y="139"/>
                </a:cxn>
                <a:cxn ang="0">
                  <a:pos x="0" y="170"/>
                </a:cxn>
                <a:cxn ang="0">
                  <a:pos x="20" y="175"/>
                </a:cxn>
                <a:cxn ang="0">
                  <a:pos x="53" y="178"/>
                </a:cxn>
                <a:cxn ang="0">
                  <a:pos x="84" y="177"/>
                </a:cxn>
                <a:cxn ang="0">
                  <a:pos x="140" y="194"/>
                </a:cxn>
                <a:cxn ang="0">
                  <a:pos x="192" y="194"/>
                </a:cxn>
                <a:cxn ang="0">
                  <a:pos x="211" y="249"/>
                </a:cxn>
                <a:cxn ang="0">
                  <a:pos x="226" y="297"/>
                </a:cxn>
                <a:cxn ang="0">
                  <a:pos x="271" y="321"/>
                </a:cxn>
                <a:cxn ang="0">
                  <a:pos x="308" y="332"/>
                </a:cxn>
                <a:cxn ang="0">
                  <a:pos x="327" y="305"/>
                </a:cxn>
                <a:cxn ang="0">
                  <a:pos x="375" y="269"/>
                </a:cxn>
                <a:cxn ang="0">
                  <a:pos x="401" y="254"/>
                </a:cxn>
                <a:cxn ang="0">
                  <a:pos x="426" y="241"/>
                </a:cxn>
                <a:cxn ang="0">
                  <a:pos x="466" y="253"/>
                </a:cxn>
                <a:cxn ang="0">
                  <a:pos x="463" y="230"/>
                </a:cxn>
                <a:cxn ang="0">
                  <a:pos x="496" y="212"/>
                </a:cxn>
                <a:cxn ang="0">
                  <a:pos x="498" y="195"/>
                </a:cxn>
              </a:cxnLst>
              <a:rect l="0" t="0" r="r" b="b"/>
              <a:pathLst>
                <a:path w="539" h="332">
                  <a:moveTo>
                    <a:pt x="512" y="186"/>
                  </a:moveTo>
                  <a:cubicBezTo>
                    <a:pt x="521" y="184"/>
                    <a:pt x="526" y="184"/>
                    <a:pt x="529" y="184"/>
                  </a:cubicBezTo>
                  <a:cubicBezTo>
                    <a:pt x="532" y="184"/>
                    <a:pt x="539" y="178"/>
                    <a:pt x="539" y="178"/>
                  </a:cubicBezTo>
                  <a:cubicBezTo>
                    <a:pt x="534" y="174"/>
                    <a:pt x="534" y="174"/>
                    <a:pt x="534" y="174"/>
                  </a:cubicBezTo>
                  <a:cubicBezTo>
                    <a:pt x="527" y="169"/>
                    <a:pt x="527" y="169"/>
                    <a:pt x="527" y="169"/>
                  </a:cubicBezTo>
                  <a:cubicBezTo>
                    <a:pt x="527" y="169"/>
                    <a:pt x="519" y="172"/>
                    <a:pt x="511" y="172"/>
                  </a:cubicBezTo>
                  <a:cubicBezTo>
                    <a:pt x="503" y="172"/>
                    <a:pt x="508" y="171"/>
                    <a:pt x="506" y="164"/>
                  </a:cubicBezTo>
                  <a:cubicBezTo>
                    <a:pt x="504" y="157"/>
                    <a:pt x="501" y="160"/>
                    <a:pt x="501" y="160"/>
                  </a:cubicBezTo>
                  <a:cubicBezTo>
                    <a:pt x="484" y="162"/>
                    <a:pt x="484" y="162"/>
                    <a:pt x="484" y="162"/>
                  </a:cubicBezTo>
                  <a:cubicBezTo>
                    <a:pt x="484" y="162"/>
                    <a:pt x="477" y="170"/>
                    <a:pt x="471" y="173"/>
                  </a:cubicBezTo>
                  <a:cubicBezTo>
                    <a:pt x="464" y="175"/>
                    <a:pt x="455" y="169"/>
                    <a:pt x="455" y="169"/>
                  </a:cubicBezTo>
                  <a:cubicBezTo>
                    <a:pt x="453" y="173"/>
                    <a:pt x="453" y="173"/>
                    <a:pt x="453" y="173"/>
                  </a:cubicBezTo>
                  <a:cubicBezTo>
                    <a:pt x="446" y="170"/>
                    <a:pt x="446" y="170"/>
                    <a:pt x="446" y="170"/>
                  </a:cubicBezTo>
                  <a:cubicBezTo>
                    <a:pt x="440" y="184"/>
                    <a:pt x="440" y="184"/>
                    <a:pt x="440" y="184"/>
                  </a:cubicBezTo>
                  <a:cubicBezTo>
                    <a:pt x="429" y="184"/>
                    <a:pt x="429" y="184"/>
                    <a:pt x="429" y="184"/>
                  </a:cubicBezTo>
                  <a:cubicBezTo>
                    <a:pt x="424" y="190"/>
                    <a:pt x="424" y="190"/>
                    <a:pt x="424" y="190"/>
                  </a:cubicBezTo>
                  <a:cubicBezTo>
                    <a:pt x="410" y="189"/>
                    <a:pt x="410" y="189"/>
                    <a:pt x="410" y="189"/>
                  </a:cubicBezTo>
                  <a:cubicBezTo>
                    <a:pt x="400" y="178"/>
                    <a:pt x="400" y="178"/>
                    <a:pt x="400" y="178"/>
                  </a:cubicBezTo>
                  <a:cubicBezTo>
                    <a:pt x="400" y="166"/>
                    <a:pt x="400" y="166"/>
                    <a:pt x="400" y="166"/>
                  </a:cubicBezTo>
                  <a:cubicBezTo>
                    <a:pt x="400" y="166"/>
                    <a:pt x="393" y="162"/>
                    <a:pt x="388" y="161"/>
                  </a:cubicBezTo>
                  <a:cubicBezTo>
                    <a:pt x="382" y="159"/>
                    <a:pt x="380" y="152"/>
                    <a:pt x="384" y="152"/>
                  </a:cubicBezTo>
                  <a:cubicBezTo>
                    <a:pt x="388" y="152"/>
                    <a:pt x="392" y="141"/>
                    <a:pt x="392" y="141"/>
                  </a:cubicBezTo>
                  <a:cubicBezTo>
                    <a:pt x="383" y="136"/>
                    <a:pt x="383" y="136"/>
                    <a:pt x="383" y="136"/>
                  </a:cubicBezTo>
                  <a:cubicBezTo>
                    <a:pt x="391" y="132"/>
                    <a:pt x="391" y="132"/>
                    <a:pt x="391" y="132"/>
                  </a:cubicBezTo>
                  <a:cubicBezTo>
                    <a:pt x="386" y="127"/>
                    <a:pt x="386" y="127"/>
                    <a:pt x="386" y="127"/>
                  </a:cubicBezTo>
                  <a:cubicBezTo>
                    <a:pt x="386" y="127"/>
                    <a:pt x="393" y="115"/>
                    <a:pt x="395" y="113"/>
                  </a:cubicBezTo>
                  <a:cubicBezTo>
                    <a:pt x="397" y="111"/>
                    <a:pt x="397" y="99"/>
                    <a:pt x="384" y="97"/>
                  </a:cubicBezTo>
                  <a:cubicBezTo>
                    <a:pt x="371" y="94"/>
                    <a:pt x="367" y="102"/>
                    <a:pt x="367" y="102"/>
                  </a:cubicBezTo>
                  <a:cubicBezTo>
                    <a:pt x="367" y="102"/>
                    <a:pt x="367" y="94"/>
                    <a:pt x="365" y="90"/>
                  </a:cubicBezTo>
                  <a:cubicBezTo>
                    <a:pt x="363" y="86"/>
                    <a:pt x="358" y="86"/>
                    <a:pt x="358" y="79"/>
                  </a:cubicBezTo>
                  <a:cubicBezTo>
                    <a:pt x="357" y="72"/>
                    <a:pt x="353" y="73"/>
                    <a:pt x="352" y="66"/>
                  </a:cubicBezTo>
                  <a:cubicBezTo>
                    <a:pt x="351" y="58"/>
                    <a:pt x="360" y="56"/>
                    <a:pt x="361" y="55"/>
                  </a:cubicBezTo>
                  <a:cubicBezTo>
                    <a:pt x="362" y="53"/>
                    <a:pt x="347" y="39"/>
                    <a:pt x="347" y="39"/>
                  </a:cubicBezTo>
                  <a:cubicBezTo>
                    <a:pt x="353" y="27"/>
                    <a:pt x="353" y="27"/>
                    <a:pt x="353" y="27"/>
                  </a:cubicBezTo>
                  <a:cubicBezTo>
                    <a:pt x="353" y="27"/>
                    <a:pt x="346" y="21"/>
                    <a:pt x="343" y="20"/>
                  </a:cubicBezTo>
                  <a:cubicBezTo>
                    <a:pt x="339" y="18"/>
                    <a:pt x="336" y="14"/>
                    <a:pt x="336" y="14"/>
                  </a:cubicBezTo>
                  <a:cubicBezTo>
                    <a:pt x="330" y="18"/>
                    <a:pt x="330" y="18"/>
                    <a:pt x="330" y="18"/>
                  </a:cubicBezTo>
                  <a:cubicBezTo>
                    <a:pt x="330" y="18"/>
                    <a:pt x="328" y="13"/>
                    <a:pt x="321" y="12"/>
                  </a:cubicBezTo>
                  <a:cubicBezTo>
                    <a:pt x="315" y="12"/>
                    <a:pt x="314" y="20"/>
                    <a:pt x="314" y="20"/>
                  </a:cubicBezTo>
                  <a:cubicBezTo>
                    <a:pt x="307" y="18"/>
                    <a:pt x="307" y="18"/>
                    <a:pt x="307" y="18"/>
                  </a:cubicBezTo>
                  <a:cubicBezTo>
                    <a:pt x="307" y="18"/>
                    <a:pt x="307" y="22"/>
                    <a:pt x="304" y="22"/>
                  </a:cubicBezTo>
                  <a:cubicBezTo>
                    <a:pt x="300" y="23"/>
                    <a:pt x="293" y="17"/>
                    <a:pt x="293" y="17"/>
                  </a:cubicBezTo>
                  <a:cubicBezTo>
                    <a:pt x="293" y="22"/>
                    <a:pt x="293" y="22"/>
                    <a:pt x="293" y="22"/>
                  </a:cubicBezTo>
                  <a:cubicBezTo>
                    <a:pt x="293" y="22"/>
                    <a:pt x="273" y="21"/>
                    <a:pt x="270" y="25"/>
                  </a:cubicBezTo>
                  <a:cubicBezTo>
                    <a:pt x="267" y="28"/>
                    <a:pt x="261" y="20"/>
                    <a:pt x="261" y="20"/>
                  </a:cubicBezTo>
                  <a:cubicBezTo>
                    <a:pt x="256" y="26"/>
                    <a:pt x="256" y="26"/>
                    <a:pt x="256" y="26"/>
                  </a:cubicBezTo>
                  <a:cubicBezTo>
                    <a:pt x="256" y="26"/>
                    <a:pt x="256" y="42"/>
                    <a:pt x="251" y="42"/>
                  </a:cubicBezTo>
                  <a:cubicBezTo>
                    <a:pt x="247" y="42"/>
                    <a:pt x="249" y="34"/>
                    <a:pt x="249" y="29"/>
                  </a:cubicBezTo>
                  <a:cubicBezTo>
                    <a:pt x="249" y="24"/>
                    <a:pt x="244" y="23"/>
                    <a:pt x="244" y="23"/>
                  </a:cubicBezTo>
                  <a:cubicBezTo>
                    <a:pt x="244" y="23"/>
                    <a:pt x="242" y="33"/>
                    <a:pt x="236" y="33"/>
                  </a:cubicBezTo>
                  <a:cubicBezTo>
                    <a:pt x="229" y="33"/>
                    <a:pt x="226" y="23"/>
                    <a:pt x="226" y="23"/>
                  </a:cubicBezTo>
                  <a:cubicBezTo>
                    <a:pt x="226" y="23"/>
                    <a:pt x="222" y="14"/>
                    <a:pt x="221" y="14"/>
                  </a:cubicBezTo>
                  <a:cubicBezTo>
                    <a:pt x="220" y="14"/>
                    <a:pt x="217" y="9"/>
                    <a:pt x="217" y="9"/>
                  </a:cubicBezTo>
                  <a:cubicBezTo>
                    <a:pt x="203" y="8"/>
                    <a:pt x="203" y="8"/>
                    <a:pt x="203" y="8"/>
                  </a:cubicBezTo>
                  <a:cubicBezTo>
                    <a:pt x="196" y="12"/>
                    <a:pt x="196" y="12"/>
                    <a:pt x="196" y="12"/>
                  </a:cubicBezTo>
                  <a:cubicBezTo>
                    <a:pt x="196" y="12"/>
                    <a:pt x="176" y="12"/>
                    <a:pt x="175" y="12"/>
                  </a:cubicBezTo>
                  <a:cubicBezTo>
                    <a:pt x="174" y="12"/>
                    <a:pt x="173" y="5"/>
                    <a:pt x="173" y="5"/>
                  </a:cubicBezTo>
                  <a:cubicBezTo>
                    <a:pt x="164" y="8"/>
                    <a:pt x="164" y="8"/>
                    <a:pt x="164" y="8"/>
                  </a:cubicBezTo>
                  <a:cubicBezTo>
                    <a:pt x="164" y="8"/>
                    <a:pt x="159" y="1"/>
                    <a:pt x="158" y="0"/>
                  </a:cubicBezTo>
                  <a:cubicBezTo>
                    <a:pt x="157" y="0"/>
                    <a:pt x="148" y="10"/>
                    <a:pt x="148" y="10"/>
                  </a:cubicBezTo>
                  <a:cubicBezTo>
                    <a:pt x="139" y="8"/>
                    <a:pt x="139" y="8"/>
                    <a:pt x="139" y="8"/>
                  </a:cubicBezTo>
                  <a:cubicBezTo>
                    <a:pt x="139" y="8"/>
                    <a:pt x="130" y="15"/>
                    <a:pt x="124" y="19"/>
                  </a:cubicBezTo>
                  <a:cubicBezTo>
                    <a:pt x="123" y="33"/>
                    <a:pt x="123" y="33"/>
                    <a:pt x="123" y="33"/>
                  </a:cubicBezTo>
                  <a:cubicBezTo>
                    <a:pt x="108" y="34"/>
                    <a:pt x="108" y="34"/>
                    <a:pt x="108" y="34"/>
                  </a:cubicBezTo>
                  <a:cubicBezTo>
                    <a:pt x="86" y="56"/>
                    <a:pt x="86" y="56"/>
                    <a:pt x="86" y="56"/>
                  </a:cubicBezTo>
                  <a:cubicBezTo>
                    <a:pt x="93" y="67"/>
                    <a:pt x="93" y="67"/>
                    <a:pt x="93" y="67"/>
                  </a:cubicBezTo>
                  <a:cubicBezTo>
                    <a:pt x="93" y="67"/>
                    <a:pt x="75" y="81"/>
                    <a:pt x="74" y="82"/>
                  </a:cubicBezTo>
                  <a:cubicBezTo>
                    <a:pt x="73" y="83"/>
                    <a:pt x="68" y="103"/>
                    <a:pt x="68" y="103"/>
                  </a:cubicBezTo>
                  <a:cubicBezTo>
                    <a:pt x="58" y="105"/>
                    <a:pt x="58" y="105"/>
                    <a:pt x="58" y="105"/>
                  </a:cubicBezTo>
                  <a:cubicBezTo>
                    <a:pt x="63" y="114"/>
                    <a:pt x="63" y="114"/>
                    <a:pt x="63" y="114"/>
                  </a:cubicBezTo>
                  <a:cubicBezTo>
                    <a:pt x="63" y="114"/>
                    <a:pt x="48" y="126"/>
                    <a:pt x="47" y="127"/>
                  </a:cubicBezTo>
                  <a:cubicBezTo>
                    <a:pt x="46" y="129"/>
                    <a:pt x="47" y="134"/>
                    <a:pt x="47" y="139"/>
                  </a:cubicBezTo>
                  <a:cubicBezTo>
                    <a:pt x="47" y="144"/>
                    <a:pt x="0" y="170"/>
                    <a:pt x="0" y="170"/>
                  </a:cubicBezTo>
                  <a:cubicBezTo>
                    <a:pt x="0" y="170"/>
                    <a:pt x="0" y="170"/>
                    <a:pt x="0" y="170"/>
                  </a:cubicBezTo>
                  <a:cubicBezTo>
                    <a:pt x="14" y="168"/>
                    <a:pt x="14" y="168"/>
                    <a:pt x="14" y="168"/>
                  </a:cubicBezTo>
                  <a:cubicBezTo>
                    <a:pt x="14" y="168"/>
                    <a:pt x="19" y="175"/>
                    <a:pt x="20" y="175"/>
                  </a:cubicBezTo>
                  <a:cubicBezTo>
                    <a:pt x="21" y="175"/>
                    <a:pt x="31" y="170"/>
                    <a:pt x="31" y="170"/>
                  </a:cubicBezTo>
                  <a:cubicBezTo>
                    <a:pt x="31" y="170"/>
                    <a:pt x="53" y="179"/>
                    <a:pt x="53" y="178"/>
                  </a:cubicBezTo>
                  <a:cubicBezTo>
                    <a:pt x="54" y="177"/>
                    <a:pt x="59" y="165"/>
                    <a:pt x="59" y="165"/>
                  </a:cubicBezTo>
                  <a:cubicBezTo>
                    <a:pt x="84" y="177"/>
                    <a:pt x="84" y="177"/>
                    <a:pt x="84" y="177"/>
                  </a:cubicBezTo>
                  <a:cubicBezTo>
                    <a:pt x="84" y="177"/>
                    <a:pt x="101" y="173"/>
                    <a:pt x="102" y="173"/>
                  </a:cubicBezTo>
                  <a:cubicBezTo>
                    <a:pt x="102" y="174"/>
                    <a:pt x="140" y="194"/>
                    <a:pt x="140" y="194"/>
                  </a:cubicBezTo>
                  <a:cubicBezTo>
                    <a:pt x="152" y="191"/>
                    <a:pt x="152" y="191"/>
                    <a:pt x="152" y="191"/>
                  </a:cubicBezTo>
                  <a:cubicBezTo>
                    <a:pt x="192" y="194"/>
                    <a:pt x="192" y="194"/>
                    <a:pt x="192" y="194"/>
                  </a:cubicBezTo>
                  <a:cubicBezTo>
                    <a:pt x="192" y="194"/>
                    <a:pt x="199" y="198"/>
                    <a:pt x="206" y="210"/>
                  </a:cubicBezTo>
                  <a:cubicBezTo>
                    <a:pt x="214" y="222"/>
                    <a:pt x="211" y="249"/>
                    <a:pt x="211" y="249"/>
                  </a:cubicBezTo>
                  <a:cubicBezTo>
                    <a:pt x="233" y="275"/>
                    <a:pt x="233" y="275"/>
                    <a:pt x="233" y="275"/>
                  </a:cubicBezTo>
                  <a:cubicBezTo>
                    <a:pt x="226" y="297"/>
                    <a:pt x="226" y="297"/>
                    <a:pt x="226" y="297"/>
                  </a:cubicBezTo>
                  <a:cubicBezTo>
                    <a:pt x="274" y="299"/>
                    <a:pt x="274" y="299"/>
                    <a:pt x="274" y="299"/>
                  </a:cubicBezTo>
                  <a:cubicBezTo>
                    <a:pt x="271" y="321"/>
                    <a:pt x="271" y="321"/>
                    <a:pt x="271" y="321"/>
                  </a:cubicBezTo>
                  <a:cubicBezTo>
                    <a:pt x="292" y="317"/>
                    <a:pt x="292" y="317"/>
                    <a:pt x="292" y="317"/>
                  </a:cubicBezTo>
                  <a:cubicBezTo>
                    <a:pt x="308" y="332"/>
                    <a:pt x="308" y="332"/>
                    <a:pt x="308" y="332"/>
                  </a:cubicBezTo>
                  <a:cubicBezTo>
                    <a:pt x="312" y="328"/>
                    <a:pt x="312" y="328"/>
                    <a:pt x="312" y="328"/>
                  </a:cubicBezTo>
                  <a:cubicBezTo>
                    <a:pt x="312" y="328"/>
                    <a:pt x="320" y="310"/>
                    <a:pt x="327" y="305"/>
                  </a:cubicBezTo>
                  <a:cubicBezTo>
                    <a:pt x="335" y="301"/>
                    <a:pt x="346" y="294"/>
                    <a:pt x="360" y="285"/>
                  </a:cubicBezTo>
                  <a:cubicBezTo>
                    <a:pt x="375" y="276"/>
                    <a:pt x="368" y="274"/>
                    <a:pt x="375" y="269"/>
                  </a:cubicBezTo>
                  <a:cubicBezTo>
                    <a:pt x="382" y="264"/>
                    <a:pt x="380" y="265"/>
                    <a:pt x="387" y="264"/>
                  </a:cubicBezTo>
                  <a:cubicBezTo>
                    <a:pt x="394" y="262"/>
                    <a:pt x="401" y="254"/>
                    <a:pt x="401" y="254"/>
                  </a:cubicBezTo>
                  <a:cubicBezTo>
                    <a:pt x="412" y="256"/>
                    <a:pt x="412" y="256"/>
                    <a:pt x="412" y="256"/>
                  </a:cubicBezTo>
                  <a:cubicBezTo>
                    <a:pt x="426" y="241"/>
                    <a:pt x="426" y="241"/>
                    <a:pt x="426" y="241"/>
                  </a:cubicBezTo>
                  <a:cubicBezTo>
                    <a:pt x="451" y="242"/>
                    <a:pt x="451" y="242"/>
                    <a:pt x="451" y="242"/>
                  </a:cubicBezTo>
                  <a:cubicBezTo>
                    <a:pt x="466" y="253"/>
                    <a:pt x="466" y="253"/>
                    <a:pt x="466" y="253"/>
                  </a:cubicBezTo>
                  <a:cubicBezTo>
                    <a:pt x="477" y="245"/>
                    <a:pt x="477" y="245"/>
                    <a:pt x="477" y="245"/>
                  </a:cubicBezTo>
                  <a:cubicBezTo>
                    <a:pt x="463" y="230"/>
                    <a:pt x="463" y="230"/>
                    <a:pt x="463" y="230"/>
                  </a:cubicBezTo>
                  <a:cubicBezTo>
                    <a:pt x="473" y="229"/>
                    <a:pt x="473" y="229"/>
                    <a:pt x="473" y="229"/>
                  </a:cubicBezTo>
                  <a:cubicBezTo>
                    <a:pt x="496" y="212"/>
                    <a:pt x="496" y="212"/>
                    <a:pt x="496" y="212"/>
                  </a:cubicBezTo>
                  <a:cubicBezTo>
                    <a:pt x="498" y="213"/>
                    <a:pt x="498" y="213"/>
                    <a:pt x="498" y="213"/>
                  </a:cubicBezTo>
                  <a:cubicBezTo>
                    <a:pt x="498" y="207"/>
                    <a:pt x="498" y="196"/>
                    <a:pt x="498" y="195"/>
                  </a:cubicBezTo>
                  <a:cubicBezTo>
                    <a:pt x="498" y="194"/>
                    <a:pt x="504" y="189"/>
                    <a:pt x="512" y="186"/>
                  </a:cubicBez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5" name="Freeform 333">
              <a:extLst>
                <a:ext uri="{FF2B5EF4-FFF2-40B4-BE49-F238E27FC236}">
                  <a16:creationId xmlns:a16="http://schemas.microsoft.com/office/drawing/2014/main" id="{95937585-7E84-487C-8025-97EDEF51CDF1}"/>
                </a:ext>
              </a:extLst>
            </p:cNvPr>
            <p:cNvSpPr>
              <a:spLocks noChangeAspect="1"/>
            </p:cNvSpPr>
            <p:nvPr/>
          </p:nvSpPr>
          <p:spPr bwMode="auto">
            <a:xfrm>
              <a:off x="13627" y="3344"/>
              <a:ext cx="467" cy="309"/>
            </a:xfrm>
            <a:custGeom>
              <a:avLst/>
              <a:gdLst/>
              <a:ahLst/>
              <a:cxnLst>
                <a:cxn ang="0">
                  <a:pos x="189" y="26"/>
                </a:cxn>
                <a:cxn ang="0">
                  <a:pos x="187" y="5"/>
                </a:cxn>
                <a:cxn ang="0">
                  <a:pos x="182" y="0"/>
                </a:cxn>
                <a:cxn ang="0">
                  <a:pos x="174" y="10"/>
                </a:cxn>
                <a:cxn ang="0">
                  <a:pos x="164" y="10"/>
                </a:cxn>
                <a:cxn ang="0">
                  <a:pos x="165" y="20"/>
                </a:cxn>
                <a:cxn ang="0">
                  <a:pos x="158" y="30"/>
                </a:cxn>
                <a:cxn ang="0">
                  <a:pos x="158" y="44"/>
                </a:cxn>
                <a:cxn ang="0">
                  <a:pos x="150" y="50"/>
                </a:cxn>
                <a:cxn ang="0">
                  <a:pos x="152" y="56"/>
                </a:cxn>
                <a:cxn ang="0">
                  <a:pos x="144" y="60"/>
                </a:cxn>
                <a:cxn ang="0">
                  <a:pos x="107" y="81"/>
                </a:cxn>
                <a:cxn ang="0">
                  <a:pos x="64" y="77"/>
                </a:cxn>
                <a:cxn ang="0">
                  <a:pos x="37" y="91"/>
                </a:cxn>
                <a:cxn ang="0">
                  <a:pos x="20" y="86"/>
                </a:cxn>
                <a:cxn ang="0">
                  <a:pos x="1" y="101"/>
                </a:cxn>
                <a:cxn ang="0">
                  <a:pos x="3" y="100"/>
                </a:cxn>
                <a:cxn ang="0">
                  <a:pos x="8" y="104"/>
                </a:cxn>
                <a:cxn ang="0">
                  <a:pos x="13" y="112"/>
                </a:cxn>
                <a:cxn ang="0">
                  <a:pos x="29" y="109"/>
                </a:cxn>
                <a:cxn ang="0">
                  <a:pos x="36" y="114"/>
                </a:cxn>
                <a:cxn ang="0">
                  <a:pos x="41" y="118"/>
                </a:cxn>
                <a:cxn ang="0">
                  <a:pos x="31" y="124"/>
                </a:cxn>
                <a:cxn ang="0">
                  <a:pos x="14" y="126"/>
                </a:cxn>
                <a:cxn ang="0">
                  <a:pos x="0" y="135"/>
                </a:cxn>
                <a:cxn ang="0">
                  <a:pos x="0" y="153"/>
                </a:cxn>
                <a:cxn ang="0">
                  <a:pos x="6" y="155"/>
                </a:cxn>
                <a:cxn ang="0">
                  <a:pos x="8" y="137"/>
                </a:cxn>
                <a:cxn ang="0">
                  <a:pos x="24" y="138"/>
                </a:cxn>
                <a:cxn ang="0">
                  <a:pos x="32" y="130"/>
                </a:cxn>
                <a:cxn ang="0">
                  <a:pos x="44" y="139"/>
                </a:cxn>
                <a:cxn ang="0">
                  <a:pos x="61" y="132"/>
                </a:cxn>
                <a:cxn ang="0">
                  <a:pos x="70" y="137"/>
                </a:cxn>
                <a:cxn ang="0">
                  <a:pos x="97" y="137"/>
                </a:cxn>
                <a:cxn ang="0">
                  <a:pos x="95" y="126"/>
                </a:cxn>
                <a:cxn ang="0">
                  <a:pos x="104" y="119"/>
                </a:cxn>
                <a:cxn ang="0">
                  <a:pos x="106" y="132"/>
                </a:cxn>
                <a:cxn ang="0">
                  <a:pos x="144" y="129"/>
                </a:cxn>
                <a:cxn ang="0">
                  <a:pos x="165" y="133"/>
                </a:cxn>
                <a:cxn ang="0">
                  <a:pos x="178" y="122"/>
                </a:cxn>
                <a:cxn ang="0">
                  <a:pos x="172" y="109"/>
                </a:cxn>
                <a:cxn ang="0">
                  <a:pos x="192" y="89"/>
                </a:cxn>
                <a:cxn ang="0">
                  <a:pos x="217" y="83"/>
                </a:cxn>
                <a:cxn ang="0">
                  <a:pos x="234" y="72"/>
                </a:cxn>
                <a:cxn ang="0">
                  <a:pos x="228" y="44"/>
                </a:cxn>
                <a:cxn ang="0">
                  <a:pos x="234" y="29"/>
                </a:cxn>
                <a:cxn ang="0">
                  <a:pos x="207" y="29"/>
                </a:cxn>
                <a:cxn ang="0">
                  <a:pos x="189" y="26"/>
                </a:cxn>
              </a:cxnLst>
              <a:rect l="0" t="0" r="r" b="b"/>
              <a:pathLst>
                <a:path w="234" h="155">
                  <a:moveTo>
                    <a:pt x="189" y="26"/>
                  </a:moveTo>
                  <a:cubicBezTo>
                    <a:pt x="189" y="26"/>
                    <a:pt x="187" y="9"/>
                    <a:pt x="187" y="5"/>
                  </a:cubicBezTo>
                  <a:cubicBezTo>
                    <a:pt x="187" y="0"/>
                    <a:pt x="182" y="0"/>
                    <a:pt x="182" y="0"/>
                  </a:cubicBezTo>
                  <a:cubicBezTo>
                    <a:pt x="174" y="10"/>
                    <a:pt x="174" y="10"/>
                    <a:pt x="174" y="10"/>
                  </a:cubicBezTo>
                  <a:cubicBezTo>
                    <a:pt x="164" y="10"/>
                    <a:pt x="164" y="10"/>
                    <a:pt x="164" y="10"/>
                  </a:cubicBezTo>
                  <a:cubicBezTo>
                    <a:pt x="165" y="20"/>
                    <a:pt x="165" y="20"/>
                    <a:pt x="165" y="20"/>
                  </a:cubicBezTo>
                  <a:cubicBezTo>
                    <a:pt x="165" y="20"/>
                    <a:pt x="158" y="28"/>
                    <a:pt x="158" y="30"/>
                  </a:cubicBezTo>
                  <a:cubicBezTo>
                    <a:pt x="158" y="31"/>
                    <a:pt x="158" y="44"/>
                    <a:pt x="158" y="44"/>
                  </a:cubicBezTo>
                  <a:cubicBezTo>
                    <a:pt x="150" y="50"/>
                    <a:pt x="150" y="50"/>
                    <a:pt x="150" y="50"/>
                  </a:cubicBezTo>
                  <a:cubicBezTo>
                    <a:pt x="152" y="56"/>
                    <a:pt x="152" y="56"/>
                    <a:pt x="152" y="56"/>
                  </a:cubicBezTo>
                  <a:cubicBezTo>
                    <a:pt x="152" y="56"/>
                    <a:pt x="152" y="59"/>
                    <a:pt x="144" y="60"/>
                  </a:cubicBezTo>
                  <a:cubicBezTo>
                    <a:pt x="136" y="61"/>
                    <a:pt x="107" y="81"/>
                    <a:pt x="107" y="81"/>
                  </a:cubicBezTo>
                  <a:cubicBezTo>
                    <a:pt x="107" y="81"/>
                    <a:pt x="65" y="77"/>
                    <a:pt x="64" y="77"/>
                  </a:cubicBezTo>
                  <a:cubicBezTo>
                    <a:pt x="62" y="77"/>
                    <a:pt x="38" y="90"/>
                    <a:pt x="37" y="91"/>
                  </a:cubicBezTo>
                  <a:cubicBezTo>
                    <a:pt x="36" y="91"/>
                    <a:pt x="20" y="86"/>
                    <a:pt x="20" y="86"/>
                  </a:cubicBezTo>
                  <a:cubicBezTo>
                    <a:pt x="1" y="101"/>
                    <a:pt x="1" y="101"/>
                    <a:pt x="1" y="101"/>
                  </a:cubicBezTo>
                  <a:cubicBezTo>
                    <a:pt x="3" y="100"/>
                    <a:pt x="3" y="100"/>
                    <a:pt x="3" y="100"/>
                  </a:cubicBezTo>
                  <a:cubicBezTo>
                    <a:pt x="3" y="100"/>
                    <a:pt x="6" y="97"/>
                    <a:pt x="8" y="104"/>
                  </a:cubicBezTo>
                  <a:cubicBezTo>
                    <a:pt x="10" y="111"/>
                    <a:pt x="5" y="112"/>
                    <a:pt x="13" y="112"/>
                  </a:cubicBezTo>
                  <a:cubicBezTo>
                    <a:pt x="21" y="112"/>
                    <a:pt x="29" y="109"/>
                    <a:pt x="29" y="109"/>
                  </a:cubicBezTo>
                  <a:cubicBezTo>
                    <a:pt x="36" y="114"/>
                    <a:pt x="36" y="114"/>
                    <a:pt x="36" y="114"/>
                  </a:cubicBezTo>
                  <a:cubicBezTo>
                    <a:pt x="41" y="118"/>
                    <a:pt x="41" y="118"/>
                    <a:pt x="41" y="118"/>
                  </a:cubicBezTo>
                  <a:cubicBezTo>
                    <a:pt x="41" y="118"/>
                    <a:pt x="34" y="124"/>
                    <a:pt x="31" y="124"/>
                  </a:cubicBezTo>
                  <a:cubicBezTo>
                    <a:pt x="28" y="124"/>
                    <a:pt x="23" y="124"/>
                    <a:pt x="14" y="126"/>
                  </a:cubicBezTo>
                  <a:cubicBezTo>
                    <a:pt x="6" y="129"/>
                    <a:pt x="0" y="134"/>
                    <a:pt x="0" y="135"/>
                  </a:cubicBezTo>
                  <a:cubicBezTo>
                    <a:pt x="0" y="136"/>
                    <a:pt x="0" y="147"/>
                    <a:pt x="0" y="153"/>
                  </a:cubicBezTo>
                  <a:cubicBezTo>
                    <a:pt x="6" y="155"/>
                    <a:pt x="6" y="155"/>
                    <a:pt x="6" y="155"/>
                  </a:cubicBezTo>
                  <a:cubicBezTo>
                    <a:pt x="8" y="137"/>
                    <a:pt x="8" y="137"/>
                    <a:pt x="8" y="137"/>
                  </a:cubicBezTo>
                  <a:cubicBezTo>
                    <a:pt x="24" y="138"/>
                    <a:pt x="24" y="138"/>
                    <a:pt x="24" y="138"/>
                  </a:cubicBezTo>
                  <a:cubicBezTo>
                    <a:pt x="32" y="130"/>
                    <a:pt x="32" y="130"/>
                    <a:pt x="32" y="130"/>
                  </a:cubicBezTo>
                  <a:cubicBezTo>
                    <a:pt x="32" y="130"/>
                    <a:pt x="44" y="139"/>
                    <a:pt x="44" y="139"/>
                  </a:cubicBezTo>
                  <a:cubicBezTo>
                    <a:pt x="45" y="140"/>
                    <a:pt x="50" y="132"/>
                    <a:pt x="61" y="132"/>
                  </a:cubicBezTo>
                  <a:cubicBezTo>
                    <a:pt x="72" y="132"/>
                    <a:pt x="70" y="137"/>
                    <a:pt x="70" y="137"/>
                  </a:cubicBezTo>
                  <a:cubicBezTo>
                    <a:pt x="97" y="137"/>
                    <a:pt x="97" y="137"/>
                    <a:pt x="97" y="137"/>
                  </a:cubicBezTo>
                  <a:cubicBezTo>
                    <a:pt x="95" y="126"/>
                    <a:pt x="95" y="126"/>
                    <a:pt x="95" y="126"/>
                  </a:cubicBezTo>
                  <a:cubicBezTo>
                    <a:pt x="104" y="119"/>
                    <a:pt x="104" y="119"/>
                    <a:pt x="104" y="119"/>
                  </a:cubicBezTo>
                  <a:cubicBezTo>
                    <a:pt x="106" y="132"/>
                    <a:pt x="106" y="132"/>
                    <a:pt x="106" y="132"/>
                  </a:cubicBezTo>
                  <a:cubicBezTo>
                    <a:pt x="106" y="132"/>
                    <a:pt x="131" y="130"/>
                    <a:pt x="144" y="129"/>
                  </a:cubicBezTo>
                  <a:cubicBezTo>
                    <a:pt x="157" y="129"/>
                    <a:pt x="165" y="133"/>
                    <a:pt x="165" y="133"/>
                  </a:cubicBezTo>
                  <a:cubicBezTo>
                    <a:pt x="178" y="122"/>
                    <a:pt x="178" y="122"/>
                    <a:pt x="178" y="122"/>
                  </a:cubicBezTo>
                  <a:cubicBezTo>
                    <a:pt x="172" y="109"/>
                    <a:pt x="172" y="109"/>
                    <a:pt x="172" y="109"/>
                  </a:cubicBezTo>
                  <a:cubicBezTo>
                    <a:pt x="172" y="109"/>
                    <a:pt x="190" y="89"/>
                    <a:pt x="192" y="89"/>
                  </a:cubicBezTo>
                  <a:cubicBezTo>
                    <a:pt x="194" y="89"/>
                    <a:pt x="207" y="87"/>
                    <a:pt x="217" y="83"/>
                  </a:cubicBezTo>
                  <a:cubicBezTo>
                    <a:pt x="228" y="79"/>
                    <a:pt x="234" y="72"/>
                    <a:pt x="234" y="72"/>
                  </a:cubicBezTo>
                  <a:cubicBezTo>
                    <a:pt x="228" y="44"/>
                    <a:pt x="228" y="44"/>
                    <a:pt x="228" y="44"/>
                  </a:cubicBezTo>
                  <a:cubicBezTo>
                    <a:pt x="234" y="29"/>
                    <a:pt x="234" y="29"/>
                    <a:pt x="234" y="29"/>
                  </a:cubicBezTo>
                  <a:cubicBezTo>
                    <a:pt x="207" y="29"/>
                    <a:pt x="207" y="29"/>
                    <a:pt x="207" y="29"/>
                  </a:cubicBezTo>
                  <a:lnTo>
                    <a:pt x="189" y="26"/>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6" name="Freeform 334">
              <a:extLst>
                <a:ext uri="{FF2B5EF4-FFF2-40B4-BE49-F238E27FC236}">
                  <a16:creationId xmlns:a16="http://schemas.microsoft.com/office/drawing/2014/main" id="{7F3758FC-9D90-4CF5-A1BA-30AA18D5E59A}"/>
                </a:ext>
              </a:extLst>
            </p:cNvPr>
            <p:cNvSpPr>
              <a:spLocks noChangeAspect="1"/>
            </p:cNvSpPr>
            <p:nvPr/>
          </p:nvSpPr>
          <p:spPr bwMode="auto">
            <a:xfrm>
              <a:off x="12877" y="2540"/>
              <a:ext cx="1350" cy="1063"/>
            </a:xfrm>
            <a:custGeom>
              <a:avLst/>
              <a:gdLst/>
              <a:ahLst/>
              <a:cxnLst>
                <a:cxn ang="0">
                  <a:pos x="561" y="367"/>
                </a:cxn>
                <a:cxn ang="0">
                  <a:pos x="593" y="349"/>
                </a:cxn>
                <a:cxn ang="0">
                  <a:pos x="611" y="304"/>
                </a:cxn>
                <a:cxn ang="0">
                  <a:pos x="605" y="273"/>
                </a:cxn>
                <a:cxn ang="0">
                  <a:pos x="607" y="241"/>
                </a:cxn>
                <a:cxn ang="0">
                  <a:pos x="629" y="236"/>
                </a:cxn>
                <a:cxn ang="0">
                  <a:pos x="657" y="224"/>
                </a:cxn>
                <a:cxn ang="0">
                  <a:pos x="653" y="170"/>
                </a:cxn>
                <a:cxn ang="0">
                  <a:pos x="657" y="149"/>
                </a:cxn>
                <a:cxn ang="0">
                  <a:pos x="603" y="98"/>
                </a:cxn>
                <a:cxn ang="0">
                  <a:pos x="552" y="59"/>
                </a:cxn>
                <a:cxn ang="0">
                  <a:pos x="476" y="34"/>
                </a:cxn>
                <a:cxn ang="0">
                  <a:pos x="434" y="12"/>
                </a:cxn>
                <a:cxn ang="0">
                  <a:pos x="326" y="52"/>
                </a:cxn>
                <a:cxn ang="0">
                  <a:pos x="309" y="55"/>
                </a:cxn>
                <a:cxn ang="0">
                  <a:pos x="289" y="49"/>
                </a:cxn>
                <a:cxn ang="0">
                  <a:pos x="249" y="54"/>
                </a:cxn>
                <a:cxn ang="0">
                  <a:pos x="258" y="108"/>
                </a:cxn>
                <a:cxn ang="0">
                  <a:pos x="227" y="130"/>
                </a:cxn>
                <a:cxn ang="0">
                  <a:pos x="233" y="175"/>
                </a:cxn>
                <a:cxn ang="0">
                  <a:pos x="217" y="226"/>
                </a:cxn>
                <a:cxn ang="0">
                  <a:pos x="166" y="252"/>
                </a:cxn>
                <a:cxn ang="0">
                  <a:pos x="138" y="258"/>
                </a:cxn>
                <a:cxn ang="0">
                  <a:pos x="91" y="263"/>
                </a:cxn>
                <a:cxn ang="0">
                  <a:pos x="30" y="306"/>
                </a:cxn>
                <a:cxn ang="0">
                  <a:pos x="1" y="336"/>
                </a:cxn>
                <a:cxn ang="0">
                  <a:pos x="24" y="351"/>
                </a:cxn>
                <a:cxn ang="0">
                  <a:pos x="49" y="346"/>
                </a:cxn>
                <a:cxn ang="0">
                  <a:pos x="79" y="349"/>
                </a:cxn>
                <a:cxn ang="0">
                  <a:pos x="102" y="364"/>
                </a:cxn>
                <a:cxn ang="0">
                  <a:pos x="125" y="370"/>
                </a:cxn>
                <a:cxn ang="0">
                  <a:pos x="137" y="361"/>
                </a:cxn>
                <a:cxn ang="0">
                  <a:pos x="169" y="358"/>
                </a:cxn>
                <a:cxn ang="0">
                  <a:pos x="190" y="361"/>
                </a:cxn>
                <a:cxn ang="0">
                  <a:pos x="212" y="355"/>
                </a:cxn>
                <a:cxn ang="0">
                  <a:pos x="223" y="380"/>
                </a:cxn>
                <a:cxn ang="0">
                  <a:pos x="234" y="420"/>
                </a:cxn>
                <a:cxn ang="0">
                  <a:pos x="260" y="438"/>
                </a:cxn>
                <a:cxn ang="0">
                  <a:pos x="267" y="473"/>
                </a:cxn>
                <a:cxn ang="0">
                  <a:pos x="260" y="493"/>
                </a:cxn>
                <a:cxn ang="0">
                  <a:pos x="276" y="519"/>
                </a:cxn>
                <a:cxn ang="0">
                  <a:pos x="305" y="525"/>
                </a:cxn>
                <a:cxn ang="0">
                  <a:pos x="329" y="514"/>
                </a:cxn>
                <a:cxn ang="0">
                  <a:pos x="360" y="503"/>
                </a:cxn>
                <a:cxn ang="0">
                  <a:pos x="411" y="492"/>
                </a:cxn>
                <a:cxn ang="0">
                  <a:pos x="518" y="461"/>
                </a:cxn>
                <a:cxn ang="0">
                  <a:pos x="532" y="445"/>
                </a:cxn>
                <a:cxn ang="0">
                  <a:pos x="538" y="411"/>
                </a:cxn>
                <a:cxn ang="0">
                  <a:pos x="555" y="393"/>
                </a:cxn>
              </a:cxnLst>
              <a:rect l="0" t="0" r="r" b="b"/>
              <a:pathLst>
                <a:path w="675" h="531">
                  <a:moveTo>
                    <a:pt x="560" y="385"/>
                  </a:moveTo>
                  <a:cubicBezTo>
                    <a:pt x="553" y="377"/>
                    <a:pt x="553" y="377"/>
                    <a:pt x="553" y="377"/>
                  </a:cubicBezTo>
                  <a:cubicBezTo>
                    <a:pt x="561" y="367"/>
                    <a:pt x="561" y="367"/>
                    <a:pt x="561" y="367"/>
                  </a:cubicBezTo>
                  <a:cubicBezTo>
                    <a:pt x="586" y="366"/>
                    <a:pt x="586" y="366"/>
                    <a:pt x="586" y="366"/>
                  </a:cubicBezTo>
                  <a:cubicBezTo>
                    <a:pt x="587" y="353"/>
                    <a:pt x="587" y="353"/>
                    <a:pt x="587" y="353"/>
                  </a:cubicBezTo>
                  <a:cubicBezTo>
                    <a:pt x="593" y="349"/>
                    <a:pt x="593" y="349"/>
                    <a:pt x="593" y="349"/>
                  </a:cubicBezTo>
                  <a:cubicBezTo>
                    <a:pt x="597" y="334"/>
                    <a:pt x="597" y="334"/>
                    <a:pt x="597" y="334"/>
                  </a:cubicBezTo>
                  <a:cubicBezTo>
                    <a:pt x="597" y="334"/>
                    <a:pt x="612" y="328"/>
                    <a:pt x="612" y="322"/>
                  </a:cubicBezTo>
                  <a:cubicBezTo>
                    <a:pt x="612" y="316"/>
                    <a:pt x="620" y="309"/>
                    <a:pt x="611" y="304"/>
                  </a:cubicBezTo>
                  <a:cubicBezTo>
                    <a:pt x="602" y="299"/>
                    <a:pt x="591" y="285"/>
                    <a:pt x="591" y="285"/>
                  </a:cubicBezTo>
                  <a:cubicBezTo>
                    <a:pt x="612" y="283"/>
                    <a:pt x="612" y="283"/>
                    <a:pt x="612" y="283"/>
                  </a:cubicBezTo>
                  <a:cubicBezTo>
                    <a:pt x="612" y="283"/>
                    <a:pt x="605" y="275"/>
                    <a:pt x="605" y="273"/>
                  </a:cubicBezTo>
                  <a:cubicBezTo>
                    <a:pt x="605" y="272"/>
                    <a:pt x="608" y="265"/>
                    <a:pt x="608" y="265"/>
                  </a:cubicBezTo>
                  <a:cubicBezTo>
                    <a:pt x="598" y="258"/>
                    <a:pt x="598" y="258"/>
                    <a:pt x="598" y="258"/>
                  </a:cubicBezTo>
                  <a:cubicBezTo>
                    <a:pt x="598" y="258"/>
                    <a:pt x="599" y="241"/>
                    <a:pt x="607" y="241"/>
                  </a:cubicBezTo>
                  <a:cubicBezTo>
                    <a:pt x="615" y="241"/>
                    <a:pt x="617" y="241"/>
                    <a:pt x="617" y="241"/>
                  </a:cubicBezTo>
                  <a:cubicBezTo>
                    <a:pt x="617" y="241"/>
                    <a:pt x="616" y="236"/>
                    <a:pt x="617" y="236"/>
                  </a:cubicBezTo>
                  <a:cubicBezTo>
                    <a:pt x="619" y="236"/>
                    <a:pt x="629" y="236"/>
                    <a:pt x="629" y="236"/>
                  </a:cubicBezTo>
                  <a:cubicBezTo>
                    <a:pt x="629" y="230"/>
                    <a:pt x="629" y="230"/>
                    <a:pt x="629" y="230"/>
                  </a:cubicBezTo>
                  <a:cubicBezTo>
                    <a:pt x="654" y="229"/>
                    <a:pt x="654" y="229"/>
                    <a:pt x="654" y="229"/>
                  </a:cubicBezTo>
                  <a:cubicBezTo>
                    <a:pt x="657" y="224"/>
                    <a:pt x="657" y="224"/>
                    <a:pt x="657" y="224"/>
                  </a:cubicBezTo>
                  <a:cubicBezTo>
                    <a:pt x="629" y="197"/>
                    <a:pt x="629" y="197"/>
                    <a:pt x="629" y="197"/>
                  </a:cubicBezTo>
                  <a:cubicBezTo>
                    <a:pt x="635" y="171"/>
                    <a:pt x="635" y="171"/>
                    <a:pt x="635" y="171"/>
                  </a:cubicBezTo>
                  <a:cubicBezTo>
                    <a:pt x="653" y="170"/>
                    <a:pt x="653" y="170"/>
                    <a:pt x="653" y="170"/>
                  </a:cubicBezTo>
                  <a:cubicBezTo>
                    <a:pt x="645" y="160"/>
                    <a:pt x="645" y="160"/>
                    <a:pt x="645" y="160"/>
                  </a:cubicBezTo>
                  <a:cubicBezTo>
                    <a:pt x="650" y="149"/>
                    <a:pt x="650" y="149"/>
                    <a:pt x="650" y="149"/>
                  </a:cubicBezTo>
                  <a:cubicBezTo>
                    <a:pt x="657" y="149"/>
                    <a:pt x="657" y="149"/>
                    <a:pt x="657" y="149"/>
                  </a:cubicBezTo>
                  <a:cubicBezTo>
                    <a:pt x="657" y="149"/>
                    <a:pt x="670" y="132"/>
                    <a:pt x="672" y="123"/>
                  </a:cubicBezTo>
                  <a:cubicBezTo>
                    <a:pt x="675" y="114"/>
                    <a:pt x="622" y="94"/>
                    <a:pt x="614" y="92"/>
                  </a:cubicBezTo>
                  <a:cubicBezTo>
                    <a:pt x="606" y="89"/>
                    <a:pt x="603" y="98"/>
                    <a:pt x="603" y="98"/>
                  </a:cubicBezTo>
                  <a:cubicBezTo>
                    <a:pt x="586" y="98"/>
                    <a:pt x="586" y="98"/>
                    <a:pt x="586" y="98"/>
                  </a:cubicBezTo>
                  <a:cubicBezTo>
                    <a:pt x="586" y="85"/>
                    <a:pt x="586" y="85"/>
                    <a:pt x="586" y="85"/>
                  </a:cubicBezTo>
                  <a:cubicBezTo>
                    <a:pt x="552" y="59"/>
                    <a:pt x="552" y="59"/>
                    <a:pt x="552" y="59"/>
                  </a:cubicBezTo>
                  <a:cubicBezTo>
                    <a:pt x="552" y="59"/>
                    <a:pt x="548" y="65"/>
                    <a:pt x="547" y="66"/>
                  </a:cubicBezTo>
                  <a:cubicBezTo>
                    <a:pt x="546" y="68"/>
                    <a:pt x="521" y="62"/>
                    <a:pt x="521" y="62"/>
                  </a:cubicBezTo>
                  <a:cubicBezTo>
                    <a:pt x="521" y="62"/>
                    <a:pt x="487" y="36"/>
                    <a:pt x="476" y="34"/>
                  </a:cubicBezTo>
                  <a:cubicBezTo>
                    <a:pt x="465" y="32"/>
                    <a:pt x="457" y="41"/>
                    <a:pt x="457" y="41"/>
                  </a:cubicBezTo>
                  <a:cubicBezTo>
                    <a:pt x="429" y="28"/>
                    <a:pt x="429" y="28"/>
                    <a:pt x="429" y="28"/>
                  </a:cubicBezTo>
                  <a:cubicBezTo>
                    <a:pt x="429" y="28"/>
                    <a:pt x="434" y="25"/>
                    <a:pt x="434" y="12"/>
                  </a:cubicBezTo>
                  <a:cubicBezTo>
                    <a:pt x="433" y="0"/>
                    <a:pt x="393" y="13"/>
                    <a:pt x="393" y="13"/>
                  </a:cubicBezTo>
                  <a:cubicBezTo>
                    <a:pt x="393" y="13"/>
                    <a:pt x="369" y="28"/>
                    <a:pt x="364" y="34"/>
                  </a:cubicBezTo>
                  <a:cubicBezTo>
                    <a:pt x="358" y="40"/>
                    <a:pt x="332" y="51"/>
                    <a:pt x="326" y="52"/>
                  </a:cubicBezTo>
                  <a:cubicBezTo>
                    <a:pt x="320" y="52"/>
                    <a:pt x="300" y="71"/>
                    <a:pt x="300" y="71"/>
                  </a:cubicBezTo>
                  <a:cubicBezTo>
                    <a:pt x="300" y="71"/>
                    <a:pt x="297" y="64"/>
                    <a:pt x="297" y="63"/>
                  </a:cubicBezTo>
                  <a:cubicBezTo>
                    <a:pt x="297" y="62"/>
                    <a:pt x="309" y="55"/>
                    <a:pt x="309" y="55"/>
                  </a:cubicBezTo>
                  <a:cubicBezTo>
                    <a:pt x="301" y="49"/>
                    <a:pt x="301" y="49"/>
                    <a:pt x="301" y="49"/>
                  </a:cubicBezTo>
                  <a:cubicBezTo>
                    <a:pt x="301" y="46"/>
                    <a:pt x="301" y="46"/>
                    <a:pt x="301" y="46"/>
                  </a:cubicBezTo>
                  <a:cubicBezTo>
                    <a:pt x="289" y="49"/>
                    <a:pt x="289" y="49"/>
                    <a:pt x="289" y="49"/>
                  </a:cubicBezTo>
                  <a:cubicBezTo>
                    <a:pt x="289" y="49"/>
                    <a:pt x="287" y="44"/>
                    <a:pt x="274" y="38"/>
                  </a:cubicBezTo>
                  <a:cubicBezTo>
                    <a:pt x="261" y="32"/>
                    <a:pt x="272" y="59"/>
                    <a:pt x="272" y="60"/>
                  </a:cubicBezTo>
                  <a:cubicBezTo>
                    <a:pt x="272" y="62"/>
                    <a:pt x="252" y="52"/>
                    <a:pt x="249" y="54"/>
                  </a:cubicBezTo>
                  <a:cubicBezTo>
                    <a:pt x="245" y="57"/>
                    <a:pt x="254" y="78"/>
                    <a:pt x="254" y="78"/>
                  </a:cubicBezTo>
                  <a:cubicBezTo>
                    <a:pt x="244" y="84"/>
                    <a:pt x="244" y="84"/>
                    <a:pt x="244" y="84"/>
                  </a:cubicBezTo>
                  <a:cubicBezTo>
                    <a:pt x="258" y="108"/>
                    <a:pt x="258" y="108"/>
                    <a:pt x="258" y="108"/>
                  </a:cubicBezTo>
                  <a:cubicBezTo>
                    <a:pt x="237" y="109"/>
                    <a:pt x="237" y="109"/>
                    <a:pt x="237" y="109"/>
                  </a:cubicBezTo>
                  <a:cubicBezTo>
                    <a:pt x="225" y="116"/>
                    <a:pt x="225" y="116"/>
                    <a:pt x="225" y="116"/>
                  </a:cubicBezTo>
                  <a:cubicBezTo>
                    <a:pt x="225" y="116"/>
                    <a:pt x="227" y="130"/>
                    <a:pt x="227" y="130"/>
                  </a:cubicBezTo>
                  <a:cubicBezTo>
                    <a:pt x="227" y="131"/>
                    <a:pt x="221" y="134"/>
                    <a:pt x="218" y="139"/>
                  </a:cubicBezTo>
                  <a:cubicBezTo>
                    <a:pt x="214" y="145"/>
                    <a:pt x="229" y="157"/>
                    <a:pt x="231" y="158"/>
                  </a:cubicBezTo>
                  <a:cubicBezTo>
                    <a:pt x="232" y="159"/>
                    <a:pt x="235" y="170"/>
                    <a:pt x="233" y="175"/>
                  </a:cubicBezTo>
                  <a:cubicBezTo>
                    <a:pt x="231" y="179"/>
                    <a:pt x="213" y="199"/>
                    <a:pt x="212" y="201"/>
                  </a:cubicBezTo>
                  <a:cubicBezTo>
                    <a:pt x="211" y="203"/>
                    <a:pt x="220" y="206"/>
                    <a:pt x="228" y="211"/>
                  </a:cubicBezTo>
                  <a:cubicBezTo>
                    <a:pt x="236" y="216"/>
                    <a:pt x="217" y="226"/>
                    <a:pt x="217" y="226"/>
                  </a:cubicBezTo>
                  <a:cubicBezTo>
                    <a:pt x="227" y="236"/>
                    <a:pt x="227" y="236"/>
                    <a:pt x="227" y="236"/>
                  </a:cubicBezTo>
                  <a:cubicBezTo>
                    <a:pt x="227" y="236"/>
                    <a:pt x="189" y="263"/>
                    <a:pt x="188" y="264"/>
                  </a:cubicBezTo>
                  <a:cubicBezTo>
                    <a:pt x="188" y="265"/>
                    <a:pt x="166" y="252"/>
                    <a:pt x="166" y="252"/>
                  </a:cubicBezTo>
                  <a:cubicBezTo>
                    <a:pt x="154" y="258"/>
                    <a:pt x="154" y="258"/>
                    <a:pt x="154" y="258"/>
                  </a:cubicBezTo>
                  <a:cubicBezTo>
                    <a:pt x="146" y="252"/>
                    <a:pt x="146" y="252"/>
                    <a:pt x="146" y="252"/>
                  </a:cubicBezTo>
                  <a:cubicBezTo>
                    <a:pt x="138" y="258"/>
                    <a:pt x="138" y="258"/>
                    <a:pt x="138" y="258"/>
                  </a:cubicBezTo>
                  <a:cubicBezTo>
                    <a:pt x="119" y="255"/>
                    <a:pt x="119" y="255"/>
                    <a:pt x="119" y="255"/>
                  </a:cubicBezTo>
                  <a:cubicBezTo>
                    <a:pt x="98" y="274"/>
                    <a:pt x="98" y="274"/>
                    <a:pt x="98" y="274"/>
                  </a:cubicBezTo>
                  <a:cubicBezTo>
                    <a:pt x="91" y="263"/>
                    <a:pt x="91" y="263"/>
                    <a:pt x="91" y="263"/>
                  </a:cubicBezTo>
                  <a:cubicBezTo>
                    <a:pt x="91" y="263"/>
                    <a:pt x="78" y="271"/>
                    <a:pt x="76" y="273"/>
                  </a:cubicBezTo>
                  <a:cubicBezTo>
                    <a:pt x="74" y="274"/>
                    <a:pt x="68" y="274"/>
                    <a:pt x="44" y="277"/>
                  </a:cubicBezTo>
                  <a:cubicBezTo>
                    <a:pt x="19" y="281"/>
                    <a:pt x="30" y="306"/>
                    <a:pt x="30" y="306"/>
                  </a:cubicBezTo>
                  <a:cubicBezTo>
                    <a:pt x="30" y="306"/>
                    <a:pt x="20" y="306"/>
                    <a:pt x="17" y="306"/>
                  </a:cubicBezTo>
                  <a:cubicBezTo>
                    <a:pt x="14" y="306"/>
                    <a:pt x="9" y="330"/>
                    <a:pt x="9" y="331"/>
                  </a:cubicBezTo>
                  <a:cubicBezTo>
                    <a:pt x="9" y="332"/>
                    <a:pt x="1" y="336"/>
                    <a:pt x="1" y="336"/>
                  </a:cubicBezTo>
                  <a:cubicBezTo>
                    <a:pt x="0" y="360"/>
                    <a:pt x="0" y="360"/>
                    <a:pt x="0" y="360"/>
                  </a:cubicBezTo>
                  <a:cubicBezTo>
                    <a:pt x="6" y="356"/>
                    <a:pt x="15" y="349"/>
                    <a:pt x="15" y="349"/>
                  </a:cubicBezTo>
                  <a:cubicBezTo>
                    <a:pt x="24" y="351"/>
                    <a:pt x="24" y="351"/>
                    <a:pt x="24" y="351"/>
                  </a:cubicBezTo>
                  <a:cubicBezTo>
                    <a:pt x="24" y="351"/>
                    <a:pt x="33" y="341"/>
                    <a:pt x="34" y="341"/>
                  </a:cubicBezTo>
                  <a:cubicBezTo>
                    <a:pt x="35" y="342"/>
                    <a:pt x="40" y="349"/>
                    <a:pt x="40" y="349"/>
                  </a:cubicBezTo>
                  <a:cubicBezTo>
                    <a:pt x="49" y="346"/>
                    <a:pt x="49" y="346"/>
                    <a:pt x="49" y="346"/>
                  </a:cubicBezTo>
                  <a:cubicBezTo>
                    <a:pt x="49" y="346"/>
                    <a:pt x="50" y="353"/>
                    <a:pt x="51" y="353"/>
                  </a:cubicBezTo>
                  <a:cubicBezTo>
                    <a:pt x="52" y="353"/>
                    <a:pt x="72" y="353"/>
                    <a:pt x="72" y="353"/>
                  </a:cubicBezTo>
                  <a:cubicBezTo>
                    <a:pt x="79" y="349"/>
                    <a:pt x="79" y="349"/>
                    <a:pt x="79" y="349"/>
                  </a:cubicBezTo>
                  <a:cubicBezTo>
                    <a:pt x="93" y="350"/>
                    <a:pt x="93" y="350"/>
                    <a:pt x="93" y="350"/>
                  </a:cubicBezTo>
                  <a:cubicBezTo>
                    <a:pt x="93" y="350"/>
                    <a:pt x="96" y="355"/>
                    <a:pt x="97" y="355"/>
                  </a:cubicBezTo>
                  <a:cubicBezTo>
                    <a:pt x="98" y="355"/>
                    <a:pt x="102" y="364"/>
                    <a:pt x="102" y="364"/>
                  </a:cubicBezTo>
                  <a:cubicBezTo>
                    <a:pt x="102" y="364"/>
                    <a:pt x="105" y="374"/>
                    <a:pt x="112" y="374"/>
                  </a:cubicBezTo>
                  <a:cubicBezTo>
                    <a:pt x="118" y="374"/>
                    <a:pt x="120" y="364"/>
                    <a:pt x="120" y="364"/>
                  </a:cubicBezTo>
                  <a:cubicBezTo>
                    <a:pt x="120" y="364"/>
                    <a:pt x="125" y="365"/>
                    <a:pt x="125" y="370"/>
                  </a:cubicBezTo>
                  <a:cubicBezTo>
                    <a:pt x="125" y="375"/>
                    <a:pt x="123" y="383"/>
                    <a:pt x="127" y="383"/>
                  </a:cubicBezTo>
                  <a:cubicBezTo>
                    <a:pt x="132" y="383"/>
                    <a:pt x="132" y="367"/>
                    <a:pt x="132" y="367"/>
                  </a:cubicBezTo>
                  <a:cubicBezTo>
                    <a:pt x="137" y="361"/>
                    <a:pt x="137" y="361"/>
                    <a:pt x="137" y="361"/>
                  </a:cubicBezTo>
                  <a:cubicBezTo>
                    <a:pt x="137" y="361"/>
                    <a:pt x="143" y="369"/>
                    <a:pt x="146" y="366"/>
                  </a:cubicBezTo>
                  <a:cubicBezTo>
                    <a:pt x="149" y="362"/>
                    <a:pt x="169" y="363"/>
                    <a:pt x="169" y="363"/>
                  </a:cubicBezTo>
                  <a:cubicBezTo>
                    <a:pt x="169" y="358"/>
                    <a:pt x="169" y="358"/>
                    <a:pt x="169" y="358"/>
                  </a:cubicBezTo>
                  <a:cubicBezTo>
                    <a:pt x="169" y="358"/>
                    <a:pt x="176" y="364"/>
                    <a:pt x="180" y="363"/>
                  </a:cubicBezTo>
                  <a:cubicBezTo>
                    <a:pt x="183" y="363"/>
                    <a:pt x="183" y="359"/>
                    <a:pt x="183" y="359"/>
                  </a:cubicBezTo>
                  <a:cubicBezTo>
                    <a:pt x="190" y="361"/>
                    <a:pt x="190" y="361"/>
                    <a:pt x="190" y="361"/>
                  </a:cubicBezTo>
                  <a:cubicBezTo>
                    <a:pt x="190" y="361"/>
                    <a:pt x="191" y="353"/>
                    <a:pt x="197" y="353"/>
                  </a:cubicBezTo>
                  <a:cubicBezTo>
                    <a:pt x="204" y="354"/>
                    <a:pt x="206" y="359"/>
                    <a:pt x="206" y="359"/>
                  </a:cubicBezTo>
                  <a:cubicBezTo>
                    <a:pt x="212" y="355"/>
                    <a:pt x="212" y="355"/>
                    <a:pt x="212" y="355"/>
                  </a:cubicBezTo>
                  <a:cubicBezTo>
                    <a:pt x="212" y="355"/>
                    <a:pt x="215" y="359"/>
                    <a:pt x="219" y="361"/>
                  </a:cubicBezTo>
                  <a:cubicBezTo>
                    <a:pt x="222" y="362"/>
                    <a:pt x="229" y="368"/>
                    <a:pt x="229" y="368"/>
                  </a:cubicBezTo>
                  <a:cubicBezTo>
                    <a:pt x="223" y="380"/>
                    <a:pt x="223" y="380"/>
                    <a:pt x="223" y="380"/>
                  </a:cubicBezTo>
                  <a:cubicBezTo>
                    <a:pt x="223" y="380"/>
                    <a:pt x="238" y="394"/>
                    <a:pt x="237" y="396"/>
                  </a:cubicBezTo>
                  <a:cubicBezTo>
                    <a:pt x="236" y="397"/>
                    <a:pt x="227" y="399"/>
                    <a:pt x="228" y="407"/>
                  </a:cubicBezTo>
                  <a:cubicBezTo>
                    <a:pt x="229" y="414"/>
                    <a:pt x="233" y="413"/>
                    <a:pt x="234" y="420"/>
                  </a:cubicBezTo>
                  <a:cubicBezTo>
                    <a:pt x="234" y="427"/>
                    <a:pt x="239" y="427"/>
                    <a:pt x="241" y="431"/>
                  </a:cubicBezTo>
                  <a:cubicBezTo>
                    <a:pt x="243" y="435"/>
                    <a:pt x="243" y="443"/>
                    <a:pt x="243" y="443"/>
                  </a:cubicBezTo>
                  <a:cubicBezTo>
                    <a:pt x="243" y="443"/>
                    <a:pt x="247" y="435"/>
                    <a:pt x="260" y="438"/>
                  </a:cubicBezTo>
                  <a:cubicBezTo>
                    <a:pt x="273" y="440"/>
                    <a:pt x="273" y="452"/>
                    <a:pt x="271" y="454"/>
                  </a:cubicBezTo>
                  <a:cubicBezTo>
                    <a:pt x="269" y="456"/>
                    <a:pt x="262" y="468"/>
                    <a:pt x="262" y="468"/>
                  </a:cubicBezTo>
                  <a:cubicBezTo>
                    <a:pt x="267" y="473"/>
                    <a:pt x="267" y="473"/>
                    <a:pt x="267" y="473"/>
                  </a:cubicBezTo>
                  <a:cubicBezTo>
                    <a:pt x="259" y="477"/>
                    <a:pt x="259" y="477"/>
                    <a:pt x="259" y="477"/>
                  </a:cubicBezTo>
                  <a:cubicBezTo>
                    <a:pt x="268" y="482"/>
                    <a:pt x="268" y="482"/>
                    <a:pt x="268" y="482"/>
                  </a:cubicBezTo>
                  <a:cubicBezTo>
                    <a:pt x="268" y="482"/>
                    <a:pt x="264" y="493"/>
                    <a:pt x="260" y="493"/>
                  </a:cubicBezTo>
                  <a:cubicBezTo>
                    <a:pt x="256" y="493"/>
                    <a:pt x="258" y="500"/>
                    <a:pt x="264" y="502"/>
                  </a:cubicBezTo>
                  <a:cubicBezTo>
                    <a:pt x="269" y="503"/>
                    <a:pt x="276" y="507"/>
                    <a:pt x="276" y="507"/>
                  </a:cubicBezTo>
                  <a:cubicBezTo>
                    <a:pt x="276" y="519"/>
                    <a:pt x="276" y="519"/>
                    <a:pt x="276" y="519"/>
                  </a:cubicBezTo>
                  <a:cubicBezTo>
                    <a:pt x="286" y="530"/>
                    <a:pt x="286" y="530"/>
                    <a:pt x="286" y="530"/>
                  </a:cubicBezTo>
                  <a:cubicBezTo>
                    <a:pt x="300" y="531"/>
                    <a:pt x="300" y="531"/>
                    <a:pt x="300" y="531"/>
                  </a:cubicBezTo>
                  <a:cubicBezTo>
                    <a:pt x="305" y="525"/>
                    <a:pt x="305" y="525"/>
                    <a:pt x="305" y="525"/>
                  </a:cubicBezTo>
                  <a:cubicBezTo>
                    <a:pt x="316" y="525"/>
                    <a:pt x="316" y="525"/>
                    <a:pt x="316" y="525"/>
                  </a:cubicBezTo>
                  <a:cubicBezTo>
                    <a:pt x="322" y="511"/>
                    <a:pt x="322" y="511"/>
                    <a:pt x="322" y="511"/>
                  </a:cubicBezTo>
                  <a:cubicBezTo>
                    <a:pt x="329" y="514"/>
                    <a:pt x="329" y="514"/>
                    <a:pt x="329" y="514"/>
                  </a:cubicBezTo>
                  <a:cubicBezTo>
                    <a:pt x="331" y="510"/>
                    <a:pt x="331" y="510"/>
                    <a:pt x="331" y="510"/>
                  </a:cubicBezTo>
                  <a:cubicBezTo>
                    <a:pt x="331" y="510"/>
                    <a:pt x="340" y="516"/>
                    <a:pt x="347" y="514"/>
                  </a:cubicBezTo>
                  <a:cubicBezTo>
                    <a:pt x="353" y="511"/>
                    <a:pt x="360" y="503"/>
                    <a:pt x="360" y="503"/>
                  </a:cubicBezTo>
                  <a:cubicBezTo>
                    <a:pt x="375" y="502"/>
                    <a:pt x="375" y="502"/>
                    <a:pt x="375" y="502"/>
                  </a:cubicBezTo>
                  <a:cubicBezTo>
                    <a:pt x="394" y="487"/>
                    <a:pt x="394" y="487"/>
                    <a:pt x="394" y="487"/>
                  </a:cubicBezTo>
                  <a:cubicBezTo>
                    <a:pt x="394" y="487"/>
                    <a:pt x="410" y="492"/>
                    <a:pt x="411" y="492"/>
                  </a:cubicBezTo>
                  <a:cubicBezTo>
                    <a:pt x="412" y="491"/>
                    <a:pt x="436" y="478"/>
                    <a:pt x="438" y="478"/>
                  </a:cubicBezTo>
                  <a:cubicBezTo>
                    <a:pt x="439" y="478"/>
                    <a:pt x="481" y="482"/>
                    <a:pt x="481" y="482"/>
                  </a:cubicBezTo>
                  <a:cubicBezTo>
                    <a:pt x="481" y="482"/>
                    <a:pt x="510" y="462"/>
                    <a:pt x="518" y="461"/>
                  </a:cubicBezTo>
                  <a:cubicBezTo>
                    <a:pt x="526" y="460"/>
                    <a:pt x="526" y="457"/>
                    <a:pt x="526" y="457"/>
                  </a:cubicBezTo>
                  <a:cubicBezTo>
                    <a:pt x="524" y="451"/>
                    <a:pt x="524" y="451"/>
                    <a:pt x="524" y="451"/>
                  </a:cubicBezTo>
                  <a:cubicBezTo>
                    <a:pt x="532" y="445"/>
                    <a:pt x="532" y="445"/>
                    <a:pt x="532" y="445"/>
                  </a:cubicBezTo>
                  <a:cubicBezTo>
                    <a:pt x="532" y="445"/>
                    <a:pt x="532" y="432"/>
                    <a:pt x="532" y="431"/>
                  </a:cubicBezTo>
                  <a:cubicBezTo>
                    <a:pt x="532" y="429"/>
                    <a:pt x="539" y="421"/>
                    <a:pt x="539" y="421"/>
                  </a:cubicBezTo>
                  <a:cubicBezTo>
                    <a:pt x="538" y="411"/>
                    <a:pt x="538" y="411"/>
                    <a:pt x="538" y="411"/>
                  </a:cubicBezTo>
                  <a:cubicBezTo>
                    <a:pt x="548" y="411"/>
                    <a:pt x="548" y="411"/>
                    <a:pt x="548" y="411"/>
                  </a:cubicBezTo>
                  <a:cubicBezTo>
                    <a:pt x="556" y="401"/>
                    <a:pt x="556" y="401"/>
                    <a:pt x="556" y="401"/>
                  </a:cubicBezTo>
                  <a:cubicBezTo>
                    <a:pt x="556" y="397"/>
                    <a:pt x="555" y="393"/>
                    <a:pt x="555" y="393"/>
                  </a:cubicBezTo>
                  <a:lnTo>
                    <a:pt x="560" y="38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7" name="Freeform 335">
              <a:extLst>
                <a:ext uri="{FF2B5EF4-FFF2-40B4-BE49-F238E27FC236}">
                  <a16:creationId xmlns:a16="http://schemas.microsoft.com/office/drawing/2014/main" id="{748DEECE-F5D2-4385-97A3-18A8ECCB0AD8}"/>
                </a:ext>
              </a:extLst>
            </p:cNvPr>
            <p:cNvSpPr>
              <a:spLocks noChangeAspect="1"/>
            </p:cNvSpPr>
            <p:nvPr/>
          </p:nvSpPr>
          <p:spPr bwMode="auto">
            <a:xfrm>
              <a:off x="13984" y="3001"/>
              <a:ext cx="257" cy="401"/>
            </a:xfrm>
            <a:custGeom>
              <a:avLst/>
              <a:gdLst/>
              <a:ahLst/>
              <a:cxnLst>
                <a:cxn ang="0">
                  <a:pos x="8" y="177"/>
                </a:cxn>
                <a:cxn ang="0">
                  <a:pos x="10" y="198"/>
                </a:cxn>
                <a:cxn ang="0">
                  <a:pos x="28" y="201"/>
                </a:cxn>
                <a:cxn ang="0">
                  <a:pos x="55" y="201"/>
                </a:cxn>
                <a:cxn ang="0">
                  <a:pos x="65" y="177"/>
                </a:cxn>
                <a:cxn ang="0">
                  <a:pos x="77" y="178"/>
                </a:cxn>
                <a:cxn ang="0">
                  <a:pos x="78" y="165"/>
                </a:cxn>
                <a:cxn ang="0">
                  <a:pos x="87" y="165"/>
                </a:cxn>
                <a:cxn ang="0">
                  <a:pos x="102" y="140"/>
                </a:cxn>
                <a:cxn ang="0">
                  <a:pos x="102" y="124"/>
                </a:cxn>
                <a:cxn ang="0">
                  <a:pos x="115" y="107"/>
                </a:cxn>
                <a:cxn ang="0">
                  <a:pos x="123" y="109"/>
                </a:cxn>
                <a:cxn ang="0">
                  <a:pos x="129" y="92"/>
                </a:cxn>
                <a:cxn ang="0">
                  <a:pos x="129" y="22"/>
                </a:cxn>
                <a:cxn ang="0">
                  <a:pos x="99" y="4"/>
                </a:cxn>
                <a:cxn ang="0">
                  <a:pos x="101" y="0"/>
                </a:cxn>
                <a:cxn ang="0">
                  <a:pos x="76" y="1"/>
                </a:cxn>
                <a:cxn ang="0">
                  <a:pos x="76" y="7"/>
                </a:cxn>
                <a:cxn ang="0">
                  <a:pos x="64" y="7"/>
                </a:cxn>
                <a:cxn ang="0">
                  <a:pos x="64" y="12"/>
                </a:cxn>
                <a:cxn ang="0">
                  <a:pos x="54" y="12"/>
                </a:cxn>
                <a:cxn ang="0">
                  <a:pos x="45" y="29"/>
                </a:cxn>
                <a:cxn ang="0">
                  <a:pos x="55" y="36"/>
                </a:cxn>
                <a:cxn ang="0">
                  <a:pos x="52" y="44"/>
                </a:cxn>
                <a:cxn ang="0">
                  <a:pos x="59" y="54"/>
                </a:cxn>
                <a:cxn ang="0">
                  <a:pos x="38" y="56"/>
                </a:cxn>
                <a:cxn ang="0">
                  <a:pos x="58" y="75"/>
                </a:cxn>
                <a:cxn ang="0">
                  <a:pos x="59" y="93"/>
                </a:cxn>
                <a:cxn ang="0">
                  <a:pos x="44" y="105"/>
                </a:cxn>
                <a:cxn ang="0">
                  <a:pos x="40" y="120"/>
                </a:cxn>
                <a:cxn ang="0">
                  <a:pos x="34" y="124"/>
                </a:cxn>
                <a:cxn ang="0">
                  <a:pos x="33" y="137"/>
                </a:cxn>
                <a:cxn ang="0">
                  <a:pos x="8" y="138"/>
                </a:cxn>
                <a:cxn ang="0">
                  <a:pos x="0" y="148"/>
                </a:cxn>
                <a:cxn ang="0">
                  <a:pos x="7" y="156"/>
                </a:cxn>
                <a:cxn ang="0">
                  <a:pos x="2" y="164"/>
                </a:cxn>
                <a:cxn ang="0">
                  <a:pos x="3" y="172"/>
                </a:cxn>
                <a:cxn ang="0">
                  <a:pos x="3" y="172"/>
                </a:cxn>
                <a:cxn ang="0">
                  <a:pos x="8" y="177"/>
                </a:cxn>
              </a:cxnLst>
              <a:rect l="0" t="0" r="r" b="b"/>
              <a:pathLst>
                <a:path w="129" h="201">
                  <a:moveTo>
                    <a:pt x="8" y="177"/>
                  </a:moveTo>
                  <a:cubicBezTo>
                    <a:pt x="8" y="181"/>
                    <a:pt x="10" y="198"/>
                    <a:pt x="10" y="198"/>
                  </a:cubicBezTo>
                  <a:cubicBezTo>
                    <a:pt x="28" y="201"/>
                    <a:pt x="28" y="201"/>
                    <a:pt x="28" y="201"/>
                  </a:cubicBezTo>
                  <a:cubicBezTo>
                    <a:pt x="55" y="201"/>
                    <a:pt x="55" y="201"/>
                    <a:pt x="55" y="201"/>
                  </a:cubicBezTo>
                  <a:cubicBezTo>
                    <a:pt x="65" y="177"/>
                    <a:pt x="65" y="177"/>
                    <a:pt x="65" y="177"/>
                  </a:cubicBezTo>
                  <a:cubicBezTo>
                    <a:pt x="77" y="178"/>
                    <a:pt x="77" y="178"/>
                    <a:pt x="77" y="178"/>
                  </a:cubicBezTo>
                  <a:cubicBezTo>
                    <a:pt x="78" y="165"/>
                    <a:pt x="78" y="165"/>
                    <a:pt x="78" y="165"/>
                  </a:cubicBezTo>
                  <a:cubicBezTo>
                    <a:pt x="87" y="165"/>
                    <a:pt x="87" y="165"/>
                    <a:pt x="87" y="165"/>
                  </a:cubicBezTo>
                  <a:cubicBezTo>
                    <a:pt x="102" y="140"/>
                    <a:pt x="102" y="140"/>
                    <a:pt x="102" y="140"/>
                  </a:cubicBezTo>
                  <a:cubicBezTo>
                    <a:pt x="102" y="140"/>
                    <a:pt x="102" y="126"/>
                    <a:pt x="102" y="124"/>
                  </a:cubicBezTo>
                  <a:cubicBezTo>
                    <a:pt x="102" y="121"/>
                    <a:pt x="107" y="114"/>
                    <a:pt x="115" y="107"/>
                  </a:cubicBezTo>
                  <a:cubicBezTo>
                    <a:pt x="123" y="101"/>
                    <a:pt x="123" y="109"/>
                    <a:pt x="123" y="109"/>
                  </a:cubicBezTo>
                  <a:cubicBezTo>
                    <a:pt x="129" y="92"/>
                    <a:pt x="129" y="92"/>
                    <a:pt x="129" y="92"/>
                  </a:cubicBezTo>
                  <a:cubicBezTo>
                    <a:pt x="129" y="22"/>
                    <a:pt x="129" y="22"/>
                    <a:pt x="129" y="22"/>
                  </a:cubicBezTo>
                  <a:cubicBezTo>
                    <a:pt x="99" y="4"/>
                    <a:pt x="99" y="4"/>
                    <a:pt x="99" y="4"/>
                  </a:cubicBezTo>
                  <a:cubicBezTo>
                    <a:pt x="101" y="0"/>
                    <a:pt x="101" y="0"/>
                    <a:pt x="101" y="0"/>
                  </a:cubicBezTo>
                  <a:cubicBezTo>
                    <a:pt x="76" y="1"/>
                    <a:pt x="76" y="1"/>
                    <a:pt x="76" y="1"/>
                  </a:cubicBezTo>
                  <a:cubicBezTo>
                    <a:pt x="76" y="7"/>
                    <a:pt x="76" y="7"/>
                    <a:pt x="76" y="7"/>
                  </a:cubicBezTo>
                  <a:cubicBezTo>
                    <a:pt x="76" y="7"/>
                    <a:pt x="66" y="7"/>
                    <a:pt x="64" y="7"/>
                  </a:cubicBezTo>
                  <a:cubicBezTo>
                    <a:pt x="63" y="7"/>
                    <a:pt x="64" y="12"/>
                    <a:pt x="64" y="12"/>
                  </a:cubicBezTo>
                  <a:cubicBezTo>
                    <a:pt x="64" y="12"/>
                    <a:pt x="62" y="12"/>
                    <a:pt x="54" y="12"/>
                  </a:cubicBezTo>
                  <a:cubicBezTo>
                    <a:pt x="46" y="12"/>
                    <a:pt x="45" y="29"/>
                    <a:pt x="45" y="29"/>
                  </a:cubicBezTo>
                  <a:cubicBezTo>
                    <a:pt x="55" y="36"/>
                    <a:pt x="55" y="36"/>
                    <a:pt x="55" y="36"/>
                  </a:cubicBezTo>
                  <a:cubicBezTo>
                    <a:pt x="55" y="36"/>
                    <a:pt x="52" y="43"/>
                    <a:pt x="52" y="44"/>
                  </a:cubicBezTo>
                  <a:cubicBezTo>
                    <a:pt x="52" y="46"/>
                    <a:pt x="59" y="54"/>
                    <a:pt x="59" y="54"/>
                  </a:cubicBezTo>
                  <a:cubicBezTo>
                    <a:pt x="38" y="56"/>
                    <a:pt x="38" y="56"/>
                    <a:pt x="38" y="56"/>
                  </a:cubicBezTo>
                  <a:cubicBezTo>
                    <a:pt x="38" y="56"/>
                    <a:pt x="49" y="70"/>
                    <a:pt x="58" y="75"/>
                  </a:cubicBezTo>
                  <a:cubicBezTo>
                    <a:pt x="67" y="80"/>
                    <a:pt x="59" y="87"/>
                    <a:pt x="59" y="93"/>
                  </a:cubicBezTo>
                  <a:cubicBezTo>
                    <a:pt x="59" y="99"/>
                    <a:pt x="44" y="105"/>
                    <a:pt x="44" y="105"/>
                  </a:cubicBezTo>
                  <a:cubicBezTo>
                    <a:pt x="40" y="120"/>
                    <a:pt x="40" y="120"/>
                    <a:pt x="40" y="120"/>
                  </a:cubicBezTo>
                  <a:cubicBezTo>
                    <a:pt x="34" y="124"/>
                    <a:pt x="34" y="124"/>
                    <a:pt x="34" y="124"/>
                  </a:cubicBezTo>
                  <a:cubicBezTo>
                    <a:pt x="33" y="137"/>
                    <a:pt x="33" y="137"/>
                    <a:pt x="33" y="137"/>
                  </a:cubicBezTo>
                  <a:cubicBezTo>
                    <a:pt x="8" y="138"/>
                    <a:pt x="8" y="138"/>
                    <a:pt x="8" y="138"/>
                  </a:cubicBezTo>
                  <a:cubicBezTo>
                    <a:pt x="0" y="148"/>
                    <a:pt x="0" y="148"/>
                    <a:pt x="0" y="148"/>
                  </a:cubicBezTo>
                  <a:cubicBezTo>
                    <a:pt x="7" y="156"/>
                    <a:pt x="7" y="156"/>
                    <a:pt x="7" y="156"/>
                  </a:cubicBezTo>
                  <a:cubicBezTo>
                    <a:pt x="2" y="164"/>
                    <a:pt x="2" y="164"/>
                    <a:pt x="2" y="164"/>
                  </a:cubicBezTo>
                  <a:cubicBezTo>
                    <a:pt x="2" y="164"/>
                    <a:pt x="3" y="168"/>
                    <a:pt x="3" y="172"/>
                  </a:cubicBezTo>
                  <a:cubicBezTo>
                    <a:pt x="3" y="172"/>
                    <a:pt x="3" y="172"/>
                    <a:pt x="3" y="172"/>
                  </a:cubicBezTo>
                  <a:cubicBezTo>
                    <a:pt x="3" y="172"/>
                    <a:pt x="8" y="172"/>
                    <a:pt x="8" y="177"/>
                  </a:cubicBez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8" name="Freeform 337">
              <a:extLst>
                <a:ext uri="{FF2B5EF4-FFF2-40B4-BE49-F238E27FC236}">
                  <a16:creationId xmlns:a16="http://schemas.microsoft.com/office/drawing/2014/main" id="{09A1796B-D576-4F35-A688-706D4F8B9AC0}"/>
                </a:ext>
              </a:extLst>
            </p:cNvPr>
            <p:cNvSpPr>
              <a:spLocks noChangeAspect="1"/>
            </p:cNvSpPr>
            <p:nvPr/>
          </p:nvSpPr>
          <p:spPr bwMode="auto">
            <a:xfrm>
              <a:off x="13479" y="1161"/>
              <a:ext cx="687" cy="1000"/>
            </a:xfrm>
            <a:custGeom>
              <a:avLst/>
              <a:gdLst/>
              <a:ahLst/>
              <a:cxnLst>
                <a:cxn ang="0">
                  <a:pos x="46" y="488"/>
                </a:cxn>
                <a:cxn ang="0">
                  <a:pos x="88" y="478"/>
                </a:cxn>
                <a:cxn ang="0">
                  <a:pos x="102" y="474"/>
                </a:cxn>
                <a:cxn ang="0">
                  <a:pos x="124" y="465"/>
                </a:cxn>
                <a:cxn ang="0">
                  <a:pos x="142" y="435"/>
                </a:cxn>
                <a:cxn ang="0">
                  <a:pos x="154" y="395"/>
                </a:cxn>
                <a:cxn ang="0">
                  <a:pos x="183" y="404"/>
                </a:cxn>
                <a:cxn ang="0">
                  <a:pos x="231" y="396"/>
                </a:cxn>
                <a:cxn ang="0">
                  <a:pos x="283" y="384"/>
                </a:cxn>
                <a:cxn ang="0">
                  <a:pos x="321" y="318"/>
                </a:cxn>
                <a:cxn ang="0">
                  <a:pos x="322" y="288"/>
                </a:cxn>
                <a:cxn ang="0">
                  <a:pos x="336" y="268"/>
                </a:cxn>
                <a:cxn ang="0">
                  <a:pos x="336" y="254"/>
                </a:cxn>
                <a:cxn ang="0">
                  <a:pos x="333" y="242"/>
                </a:cxn>
                <a:cxn ang="0">
                  <a:pos x="310" y="203"/>
                </a:cxn>
                <a:cxn ang="0">
                  <a:pos x="289" y="135"/>
                </a:cxn>
                <a:cxn ang="0">
                  <a:pos x="288" y="113"/>
                </a:cxn>
                <a:cxn ang="0">
                  <a:pos x="295" y="79"/>
                </a:cxn>
                <a:cxn ang="0">
                  <a:pos x="285" y="67"/>
                </a:cxn>
                <a:cxn ang="0">
                  <a:pos x="284" y="57"/>
                </a:cxn>
                <a:cxn ang="0">
                  <a:pos x="280" y="43"/>
                </a:cxn>
                <a:cxn ang="0">
                  <a:pos x="289" y="23"/>
                </a:cxn>
                <a:cxn ang="0">
                  <a:pos x="265" y="12"/>
                </a:cxn>
                <a:cxn ang="0">
                  <a:pos x="252" y="0"/>
                </a:cxn>
                <a:cxn ang="0">
                  <a:pos x="250" y="30"/>
                </a:cxn>
                <a:cxn ang="0">
                  <a:pos x="235" y="45"/>
                </a:cxn>
                <a:cxn ang="0">
                  <a:pos x="202" y="74"/>
                </a:cxn>
                <a:cxn ang="0">
                  <a:pos x="194" y="107"/>
                </a:cxn>
                <a:cxn ang="0">
                  <a:pos x="191" y="142"/>
                </a:cxn>
                <a:cxn ang="0">
                  <a:pos x="186" y="164"/>
                </a:cxn>
                <a:cxn ang="0">
                  <a:pos x="177" y="179"/>
                </a:cxn>
                <a:cxn ang="0">
                  <a:pos x="176" y="196"/>
                </a:cxn>
                <a:cxn ang="0">
                  <a:pos x="194" y="217"/>
                </a:cxn>
                <a:cxn ang="0">
                  <a:pos x="166" y="246"/>
                </a:cxn>
                <a:cxn ang="0">
                  <a:pos x="146" y="243"/>
                </a:cxn>
                <a:cxn ang="0">
                  <a:pos x="110" y="262"/>
                </a:cxn>
                <a:cxn ang="0">
                  <a:pos x="81" y="284"/>
                </a:cxn>
                <a:cxn ang="0">
                  <a:pos x="65" y="291"/>
                </a:cxn>
                <a:cxn ang="0">
                  <a:pos x="35" y="304"/>
                </a:cxn>
                <a:cxn ang="0">
                  <a:pos x="16" y="343"/>
                </a:cxn>
                <a:cxn ang="0">
                  <a:pos x="3" y="373"/>
                </a:cxn>
                <a:cxn ang="0">
                  <a:pos x="9" y="403"/>
                </a:cxn>
                <a:cxn ang="0">
                  <a:pos x="11" y="411"/>
                </a:cxn>
                <a:cxn ang="0">
                  <a:pos x="0" y="454"/>
                </a:cxn>
                <a:cxn ang="0">
                  <a:pos x="8" y="459"/>
                </a:cxn>
                <a:cxn ang="0">
                  <a:pos x="23" y="453"/>
                </a:cxn>
                <a:cxn ang="0">
                  <a:pos x="37" y="464"/>
                </a:cxn>
              </a:cxnLst>
              <a:rect l="0" t="0" r="r" b="b"/>
              <a:pathLst>
                <a:path w="343" h="499">
                  <a:moveTo>
                    <a:pt x="37" y="464"/>
                  </a:moveTo>
                  <a:cubicBezTo>
                    <a:pt x="37" y="471"/>
                    <a:pt x="36" y="487"/>
                    <a:pt x="46" y="488"/>
                  </a:cubicBezTo>
                  <a:cubicBezTo>
                    <a:pt x="56" y="489"/>
                    <a:pt x="56" y="499"/>
                    <a:pt x="69" y="496"/>
                  </a:cubicBezTo>
                  <a:cubicBezTo>
                    <a:pt x="82" y="493"/>
                    <a:pt x="88" y="478"/>
                    <a:pt x="88" y="478"/>
                  </a:cubicBezTo>
                  <a:cubicBezTo>
                    <a:pt x="100" y="481"/>
                    <a:pt x="100" y="481"/>
                    <a:pt x="100" y="481"/>
                  </a:cubicBezTo>
                  <a:cubicBezTo>
                    <a:pt x="102" y="474"/>
                    <a:pt x="102" y="474"/>
                    <a:pt x="102" y="474"/>
                  </a:cubicBezTo>
                  <a:cubicBezTo>
                    <a:pt x="102" y="474"/>
                    <a:pt x="114" y="481"/>
                    <a:pt x="115" y="479"/>
                  </a:cubicBezTo>
                  <a:cubicBezTo>
                    <a:pt x="115" y="478"/>
                    <a:pt x="124" y="465"/>
                    <a:pt x="124" y="465"/>
                  </a:cubicBezTo>
                  <a:cubicBezTo>
                    <a:pt x="124" y="465"/>
                    <a:pt x="135" y="465"/>
                    <a:pt x="135" y="463"/>
                  </a:cubicBezTo>
                  <a:cubicBezTo>
                    <a:pt x="135" y="461"/>
                    <a:pt x="144" y="443"/>
                    <a:pt x="142" y="435"/>
                  </a:cubicBezTo>
                  <a:cubicBezTo>
                    <a:pt x="140" y="427"/>
                    <a:pt x="129" y="422"/>
                    <a:pt x="133" y="416"/>
                  </a:cubicBezTo>
                  <a:cubicBezTo>
                    <a:pt x="137" y="410"/>
                    <a:pt x="154" y="395"/>
                    <a:pt x="154" y="395"/>
                  </a:cubicBezTo>
                  <a:cubicBezTo>
                    <a:pt x="173" y="407"/>
                    <a:pt x="173" y="407"/>
                    <a:pt x="173" y="407"/>
                  </a:cubicBezTo>
                  <a:cubicBezTo>
                    <a:pt x="183" y="404"/>
                    <a:pt x="183" y="404"/>
                    <a:pt x="183" y="404"/>
                  </a:cubicBezTo>
                  <a:cubicBezTo>
                    <a:pt x="183" y="404"/>
                    <a:pt x="185" y="415"/>
                    <a:pt x="194" y="414"/>
                  </a:cubicBezTo>
                  <a:cubicBezTo>
                    <a:pt x="203" y="413"/>
                    <a:pt x="231" y="396"/>
                    <a:pt x="231" y="396"/>
                  </a:cubicBezTo>
                  <a:cubicBezTo>
                    <a:pt x="256" y="394"/>
                    <a:pt x="256" y="394"/>
                    <a:pt x="256" y="394"/>
                  </a:cubicBezTo>
                  <a:cubicBezTo>
                    <a:pt x="256" y="394"/>
                    <a:pt x="276" y="389"/>
                    <a:pt x="283" y="384"/>
                  </a:cubicBezTo>
                  <a:cubicBezTo>
                    <a:pt x="291" y="379"/>
                    <a:pt x="313" y="365"/>
                    <a:pt x="313" y="365"/>
                  </a:cubicBezTo>
                  <a:cubicBezTo>
                    <a:pt x="313" y="365"/>
                    <a:pt x="321" y="328"/>
                    <a:pt x="321" y="318"/>
                  </a:cubicBezTo>
                  <a:cubicBezTo>
                    <a:pt x="321" y="308"/>
                    <a:pt x="327" y="302"/>
                    <a:pt x="326" y="298"/>
                  </a:cubicBezTo>
                  <a:cubicBezTo>
                    <a:pt x="324" y="294"/>
                    <a:pt x="322" y="289"/>
                    <a:pt x="322" y="288"/>
                  </a:cubicBezTo>
                  <a:cubicBezTo>
                    <a:pt x="322" y="288"/>
                    <a:pt x="335" y="281"/>
                    <a:pt x="335" y="281"/>
                  </a:cubicBezTo>
                  <a:cubicBezTo>
                    <a:pt x="335" y="281"/>
                    <a:pt x="329" y="272"/>
                    <a:pt x="336" y="268"/>
                  </a:cubicBezTo>
                  <a:cubicBezTo>
                    <a:pt x="342" y="264"/>
                    <a:pt x="339" y="258"/>
                    <a:pt x="339" y="258"/>
                  </a:cubicBezTo>
                  <a:cubicBezTo>
                    <a:pt x="336" y="254"/>
                    <a:pt x="336" y="254"/>
                    <a:pt x="336" y="254"/>
                  </a:cubicBezTo>
                  <a:cubicBezTo>
                    <a:pt x="336" y="254"/>
                    <a:pt x="343" y="251"/>
                    <a:pt x="340" y="249"/>
                  </a:cubicBezTo>
                  <a:cubicBezTo>
                    <a:pt x="337" y="246"/>
                    <a:pt x="333" y="242"/>
                    <a:pt x="333" y="242"/>
                  </a:cubicBezTo>
                  <a:cubicBezTo>
                    <a:pt x="322" y="243"/>
                    <a:pt x="322" y="243"/>
                    <a:pt x="322" y="243"/>
                  </a:cubicBezTo>
                  <a:cubicBezTo>
                    <a:pt x="310" y="203"/>
                    <a:pt x="310" y="203"/>
                    <a:pt x="310" y="203"/>
                  </a:cubicBezTo>
                  <a:cubicBezTo>
                    <a:pt x="309" y="151"/>
                    <a:pt x="309" y="151"/>
                    <a:pt x="309" y="151"/>
                  </a:cubicBezTo>
                  <a:cubicBezTo>
                    <a:pt x="289" y="135"/>
                    <a:pt x="289" y="135"/>
                    <a:pt x="289" y="135"/>
                  </a:cubicBezTo>
                  <a:cubicBezTo>
                    <a:pt x="293" y="123"/>
                    <a:pt x="293" y="123"/>
                    <a:pt x="293" y="123"/>
                  </a:cubicBezTo>
                  <a:cubicBezTo>
                    <a:pt x="293" y="123"/>
                    <a:pt x="288" y="114"/>
                    <a:pt x="288" y="113"/>
                  </a:cubicBezTo>
                  <a:cubicBezTo>
                    <a:pt x="288" y="112"/>
                    <a:pt x="297" y="98"/>
                    <a:pt x="297" y="98"/>
                  </a:cubicBezTo>
                  <a:cubicBezTo>
                    <a:pt x="295" y="79"/>
                    <a:pt x="295" y="79"/>
                    <a:pt x="295" y="79"/>
                  </a:cubicBezTo>
                  <a:cubicBezTo>
                    <a:pt x="288" y="78"/>
                    <a:pt x="288" y="78"/>
                    <a:pt x="288" y="78"/>
                  </a:cubicBezTo>
                  <a:cubicBezTo>
                    <a:pt x="285" y="67"/>
                    <a:pt x="285" y="67"/>
                    <a:pt x="285" y="67"/>
                  </a:cubicBezTo>
                  <a:cubicBezTo>
                    <a:pt x="290" y="61"/>
                    <a:pt x="290" y="61"/>
                    <a:pt x="290" y="61"/>
                  </a:cubicBezTo>
                  <a:cubicBezTo>
                    <a:pt x="284" y="57"/>
                    <a:pt x="284" y="57"/>
                    <a:pt x="284" y="57"/>
                  </a:cubicBezTo>
                  <a:cubicBezTo>
                    <a:pt x="284" y="44"/>
                    <a:pt x="284" y="44"/>
                    <a:pt x="284" y="44"/>
                  </a:cubicBezTo>
                  <a:cubicBezTo>
                    <a:pt x="280" y="43"/>
                    <a:pt x="280" y="43"/>
                    <a:pt x="280" y="43"/>
                  </a:cubicBezTo>
                  <a:cubicBezTo>
                    <a:pt x="281" y="29"/>
                    <a:pt x="281" y="29"/>
                    <a:pt x="281" y="29"/>
                  </a:cubicBezTo>
                  <a:cubicBezTo>
                    <a:pt x="289" y="23"/>
                    <a:pt x="289" y="23"/>
                    <a:pt x="289" y="23"/>
                  </a:cubicBezTo>
                  <a:cubicBezTo>
                    <a:pt x="287" y="12"/>
                    <a:pt x="287" y="12"/>
                    <a:pt x="287" y="12"/>
                  </a:cubicBezTo>
                  <a:cubicBezTo>
                    <a:pt x="275" y="12"/>
                    <a:pt x="265" y="12"/>
                    <a:pt x="265" y="12"/>
                  </a:cubicBezTo>
                  <a:cubicBezTo>
                    <a:pt x="255" y="2"/>
                    <a:pt x="255" y="2"/>
                    <a:pt x="255" y="2"/>
                  </a:cubicBezTo>
                  <a:cubicBezTo>
                    <a:pt x="252" y="0"/>
                    <a:pt x="252" y="0"/>
                    <a:pt x="252" y="0"/>
                  </a:cubicBezTo>
                  <a:cubicBezTo>
                    <a:pt x="256" y="17"/>
                    <a:pt x="256" y="17"/>
                    <a:pt x="256" y="17"/>
                  </a:cubicBezTo>
                  <a:cubicBezTo>
                    <a:pt x="250" y="30"/>
                    <a:pt x="250" y="30"/>
                    <a:pt x="250" y="30"/>
                  </a:cubicBezTo>
                  <a:cubicBezTo>
                    <a:pt x="239" y="31"/>
                    <a:pt x="239" y="31"/>
                    <a:pt x="239" y="31"/>
                  </a:cubicBezTo>
                  <a:cubicBezTo>
                    <a:pt x="239" y="31"/>
                    <a:pt x="238" y="39"/>
                    <a:pt x="235" y="45"/>
                  </a:cubicBezTo>
                  <a:cubicBezTo>
                    <a:pt x="232" y="50"/>
                    <a:pt x="215" y="47"/>
                    <a:pt x="211" y="49"/>
                  </a:cubicBezTo>
                  <a:cubicBezTo>
                    <a:pt x="206" y="51"/>
                    <a:pt x="203" y="72"/>
                    <a:pt x="202" y="74"/>
                  </a:cubicBezTo>
                  <a:cubicBezTo>
                    <a:pt x="202" y="76"/>
                    <a:pt x="184" y="90"/>
                    <a:pt x="185" y="94"/>
                  </a:cubicBezTo>
                  <a:cubicBezTo>
                    <a:pt x="185" y="98"/>
                    <a:pt x="194" y="107"/>
                    <a:pt x="194" y="107"/>
                  </a:cubicBezTo>
                  <a:cubicBezTo>
                    <a:pt x="194" y="107"/>
                    <a:pt x="187" y="116"/>
                    <a:pt x="187" y="123"/>
                  </a:cubicBezTo>
                  <a:cubicBezTo>
                    <a:pt x="186" y="131"/>
                    <a:pt x="191" y="142"/>
                    <a:pt x="191" y="142"/>
                  </a:cubicBezTo>
                  <a:cubicBezTo>
                    <a:pt x="194" y="160"/>
                    <a:pt x="194" y="160"/>
                    <a:pt x="194" y="160"/>
                  </a:cubicBezTo>
                  <a:cubicBezTo>
                    <a:pt x="186" y="164"/>
                    <a:pt x="186" y="164"/>
                    <a:pt x="186" y="164"/>
                  </a:cubicBezTo>
                  <a:cubicBezTo>
                    <a:pt x="186" y="171"/>
                    <a:pt x="186" y="171"/>
                    <a:pt x="186" y="171"/>
                  </a:cubicBezTo>
                  <a:cubicBezTo>
                    <a:pt x="186" y="171"/>
                    <a:pt x="181" y="175"/>
                    <a:pt x="177" y="179"/>
                  </a:cubicBezTo>
                  <a:cubicBezTo>
                    <a:pt x="173" y="183"/>
                    <a:pt x="182" y="191"/>
                    <a:pt x="182" y="191"/>
                  </a:cubicBezTo>
                  <a:cubicBezTo>
                    <a:pt x="176" y="196"/>
                    <a:pt x="176" y="196"/>
                    <a:pt x="176" y="196"/>
                  </a:cubicBezTo>
                  <a:cubicBezTo>
                    <a:pt x="181" y="206"/>
                    <a:pt x="181" y="206"/>
                    <a:pt x="181" y="206"/>
                  </a:cubicBezTo>
                  <a:cubicBezTo>
                    <a:pt x="194" y="217"/>
                    <a:pt x="194" y="217"/>
                    <a:pt x="194" y="217"/>
                  </a:cubicBezTo>
                  <a:cubicBezTo>
                    <a:pt x="194" y="217"/>
                    <a:pt x="186" y="241"/>
                    <a:pt x="185" y="244"/>
                  </a:cubicBezTo>
                  <a:cubicBezTo>
                    <a:pt x="184" y="248"/>
                    <a:pt x="170" y="246"/>
                    <a:pt x="166" y="246"/>
                  </a:cubicBezTo>
                  <a:cubicBezTo>
                    <a:pt x="162" y="246"/>
                    <a:pt x="154" y="250"/>
                    <a:pt x="154" y="250"/>
                  </a:cubicBezTo>
                  <a:cubicBezTo>
                    <a:pt x="154" y="250"/>
                    <a:pt x="149" y="246"/>
                    <a:pt x="146" y="243"/>
                  </a:cubicBezTo>
                  <a:cubicBezTo>
                    <a:pt x="143" y="241"/>
                    <a:pt x="123" y="244"/>
                    <a:pt x="123" y="244"/>
                  </a:cubicBezTo>
                  <a:cubicBezTo>
                    <a:pt x="123" y="244"/>
                    <a:pt x="118" y="251"/>
                    <a:pt x="110" y="262"/>
                  </a:cubicBezTo>
                  <a:cubicBezTo>
                    <a:pt x="102" y="274"/>
                    <a:pt x="89" y="271"/>
                    <a:pt x="88" y="273"/>
                  </a:cubicBezTo>
                  <a:cubicBezTo>
                    <a:pt x="87" y="275"/>
                    <a:pt x="81" y="284"/>
                    <a:pt x="81" y="284"/>
                  </a:cubicBezTo>
                  <a:cubicBezTo>
                    <a:pt x="70" y="284"/>
                    <a:pt x="70" y="284"/>
                    <a:pt x="70" y="284"/>
                  </a:cubicBezTo>
                  <a:cubicBezTo>
                    <a:pt x="65" y="291"/>
                    <a:pt x="65" y="291"/>
                    <a:pt x="65" y="291"/>
                  </a:cubicBezTo>
                  <a:cubicBezTo>
                    <a:pt x="52" y="291"/>
                    <a:pt x="52" y="291"/>
                    <a:pt x="52" y="291"/>
                  </a:cubicBezTo>
                  <a:cubicBezTo>
                    <a:pt x="52" y="291"/>
                    <a:pt x="45" y="295"/>
                    <a:pt x="35" y="304"/>
                  </a:cubicBezTo>
                  <a:cubicBezTo>
                    <a:pt x="25" y="312"/>
                    <a:pt x="30" y="328"/>
                    <a:pt x="30" y="328"/>
                  </a:cubicBezTo>
                  <a:cubicBezTo>
                    <a:pt x="30" y="328"/>
                    <a:pt x="19" y="341"/>
                    <a:pt x="16" y="343"/>
                  </a:cubicBezTo>
                  <a:cubicBezTo>
                    <a:pt x="14" y="346"/>
                    <a:pt x="12" y="364"/>
                    <a:pt x="12" y="364"/>
                  </a:cubicBezTo>
                  <a:cubicBezTo>
                    <a:pt x="12" y="364"/>
                    <a:pt x="4" y="369"/>
                    <a:pt x="3" y="373"/>
                  </a:cubicBezTo>
                  <a:cubicBezTo>
                    <a:pt x="2" y="378"/>
                    <a:pt x="8" y="390"/>
                    <a:pt x="8" y="390"/>
                  </a:cubicBezTo>
                  <a:cubicBezTo>
                    <a:pt x="8" y="390"/>
                    <a:pt x="9" y="402"/>
                    <a:pt x="9" y="403"/>
                  </a:cubicBezTo>
                  <a:cubicBezTo>
                    <a:pt x="10" y="404"/>
                    <a:pt x="18" y="408"/>
                    <a:pt x="18" y="408"/>
                  </a:cubicBezTo>
                  <a:cubicBezTo>
                    <a:pt x="11" y="411"/>
                    <a:pt x="11" y="411"/>
                    <a:pt x="11" y="411"/>
                  </a:cubicBezTo>
                  <a:cubicBezTo>
                    <a:pt x="11" y="440"/>
                    <a:pt x="11" y="440"/>
                    <a:pt x="11" y="440"/>
                  </a:cubicBezTo>
                  <a:cubicBezTo>
                    <a:pt x="0" y="454"/>
                    <a:pt x="0" y="454"/>
                    <a:pt x="0" y="454"/>
                  </a:cubicBezTo>
                  <a:cubicBezTo>
                    <a:pt x="1" y="454"/>
                    <a:pt x="2" y="454"/>
                    <a:pt x="2" y="454"/>
                  </a:cubicBezTo>
                  <a:cubicBezTo>
                    <a:pt x="8" y="459"/>
                    <a:pt x="8" y="459"/>
                    <a:pt x="8" y="459"/>
                  </a:cubicBezTo>
                  <a:cubicBezTo>
                    <a:pt x="22" y="449"/>
                    <a:pt x="22" y="449"/>
                    <a:pt x="22" y="449"/>
                  </a:cubicBezTo>
                  <a:cubicBezTo>
                    <a:pt x="23" y="453"/>
                    <a:pt x="23" y="453"/>
                    <a:pt x="23" y="453"/>
                  </a:cubicBezTo>
                  <a:cubicBezTo>
                    <a:pt x="29" y="450"/>
                    <a:pt x="29" y="450"/>
                    <a:pt x="29" y="450"/>
                  </a:cubicBezTo>
                  <a:cubicBezTo>
                    <a:pt x="29" y="450"/>
                    <a:pt x="37" y="458"/>
                    <a:pt x="37" y="464"/>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19" name="Freeform 338">
              <a:extLst>
                <a:ext uri="{FF2B5EF4-FFF2-40B4-BE49-F238E27FC236}">
                  <a16:creationId xmlns:a16="http://schemas.microsoft.com/office/drawing/2014/main" id="{7A42E312-3653-4BA4-8B0B-804E34B04B1B}"/>
                </a:ext>
              </a:extLst>
            </p:cNvPr>
            <p:cNvSpPr>
              <a:spLocks noChangeAspect="1"/>
            </p:cNvSpPr>
            <p:nvPr/>
          </p:nvSpPr>
          <p:spPr bwMode="auto">
            <a:xfrm>
              <a:off x="14040" y="1167"/>
              <a:ext cx="500" cy="617"/>
            </a:xfrm>
            <a:custGeom>
              <a:avLst/>
              <a:gdLst/>
              <a:ahLst/>
              <a:cxnLst>
                <a:cxn ang="0">
                  <a:pos x="76" y="284"/>
                </a:cxn>
                <a:cxn ang="0">
                  <a:pos x="98" y="274"/>
                </a:cxn>
                <a:cxn ang="0">
                  <a:pos x="113" y="285"/>
                </a:cxn>
                <a:cxn ang="0">
                  <a:pos x="125" y="289"/>
                </a:cxn>
                <a:cxn ang="0">
                  <a:pos x="129" y="299"/>
                </a:cxn>
                <a:cxn ang="0">
                  <a:pos x="132" y="296"/>
                </a:cxn>
                <a:cxn ang="0">
                  <a:pos x="148" y="308"/>
                </a:cxn>
                <a:cxn ang="0">
                  <a:pos x="154" y="296"/>
                </a:cxn>
                <a:cxn ang="0">
                  <a:pos x="161" y="294"/>
                </a:cxn>
                <a:cxn ang="0">
                  <a:pos x="167" y="284"/>
                </a:cxn>
                <a:cxn ang="0">
                  <a:pos x="172" y="275"/>
                </a:cxn>
                <a:cxn ang="0">
                  <a:pos x="164" y="262"/>
                </a:cxn>
                <a:cxn ang="0">
                  <a:pos x="157" y="254"/>
                </a:cxn>
                <a:cxn ang="0">
                  <a:pos x="167" y="246"/>
                </a:cxn>
                <a:cxn ang="0">
                  <a:pos x="167" y="230"/>
                </a:cxn>
                <a:cxn ang="0">
                  <a:pos x="175" y="220"/>
                </a:cxn>
                <a:cxn ang="0">
                  <a:pos x="179" y="200"/>
                </a:cxn>
                <a:cxn ang="0">
                  <a:pos x="194" y="195"/>
                </a:cxn>
                <a:cxn ang="0">
                  <a:pos x="201" y="183"/>
                </a:cxn>
                <a:cxn ang="0">
                  <a:pos x="205" y="172"/>
                </a:cxn>
                <a:cxn ang="0">
                  <a:pos x="214" y="166"/>
                </a:cxn>
                <a:cxn ang="0">
                  <a:pos x="214" y="155"/>
                </a:cxn>
                <a:cxn ang="0">
                  <a:pos x="220" y="151"/>
                </a:cxn>
                <a:cxn ang="0">
                  <a:pos x="224" y="134"/>
                </a:cxn>
                <a:cxn ang="0">
                  <a:pos x="250" y="127"/>
                </a:cxn>
                <a:cxn ang="0">
                  <a:pos x="250" y="126"/>
                </a:cxn>
                <a:cxn ang="0">
                  <a:pos x="240" y="113"/>
                </a:cxn>
                <a:cxn ang="0">
                  <a:pos x="229" y="115"/>
                </a:cxn>
                <a:cxn ang="0">
                  <a:pos x="183" y="67"/>
                </a:cxn>
                <a:cxn ang="0">
                  <a:pos x="179" y="57"/>
                </a:cxn>
                <a:cxn ang="0">
                  <a:pos x="160" y="55"/>
                </a:cxn>
                <a:cxn ang="0">
                  <a:pos x="158" y="47"/>
                </a:cxn>
                <a:cxn ang="0">
                  <a:pos x="148" y="41"/>
                </a:cxn>
                <a:cxn ang="0">
                  <a:pos x="128" y="30"/>
                </a:cxn>
                <a:cxn ang="0">
                  <a:pos x="102" y="16"/>
                </a:cxn>
                <a:cxn ang="0">
                  <a:pos x="90" y="5"/>
                </a:cxn>
                <a:cxn ang="0">
                  <a:pos x="56" y="2"/>
                </a:cxn>
                <a:cxn ang="0">
                  <a:pos x="33" y="9"/>
                </a:cxn>
                <a:cxn ang="0">
                  <a:pos x="7" y="9"/>
                </a:cxn>
                <a:cxn ang="0">
                  <a:pos x="9" y="20"/>
                </a:cxn>
                <a:cxn ang="0">
                  <a:pos x="1" y="26"/>
                </a:cxn>
                <a:cxn ang="0">
                  <a:pos x="0" y="40"/>
                </a:cxn>
                <a:cxn ang="0">
                  <a:pos x="4" y="41"/>
                </a:cxn>
                <a:cxn ang="0">
                  <a:pos x="4" y="54"/>
                </a:cxn>
                <a:cxn ang="0">
                  <a:pos x="10" y="58"/>
                </a:cxn>
                <a:cxn ang="0">
                  <a:pos x="5" y="64"/>
                </a:cxn>
                <a:cxn ang="0">
                  <a:pos x="8" y="75"/>
                </a:cxn>
                <a:cxn ang="0">
                  <a:pos x="15" y="76"/>
                </a:cxn>
                <a:cxn ang="0">
                  <a:pos x="17" y="95"/>
                </a:cxn>
                <a:cxn ang="0">
                  <a:pos x="8" y="110"/>
                </a:cxn>
                <a:cxn ang="0">
                  <a:pos x="13" y="120"/>
                </a:cxn>
                <a:cxn ang="0">
                  <a:pos x="9" y="132"/>
                </a:cxn>
                <a:cxn ang="0">
                  <a:pos x="29" y="148"/>
                </a:cxn>
                <a:cxn ang="0">
                  <a:pos x="30" y="200"/>
                </a:cxn>
                <a:cxn ang="0">
                  <a:pos x="42" y="240"/>
                </a:cxn>
                <a:cxn ang="0">
                  <a:pos x="53" y="239"/>
                </a:cxn>
                <a:cxn ang="0">
                  <a:pos x="60" y="246"/>
                </a:cxn>
                <a:cxn ang="0">
                  <a:pos x="56" y="251"/>
                </a:cxn>
                <a:cxn ang="0">
                  <a:pos x="59" y="255"/>
                </a:cxn>
                <a:cxn ang="0">
                  <a:pos x="56" y="265"/>
                </a:cxn>
                <a:cxn ang="0">
                  <a:pos x="54" y="277"/>
                </a:cxn>
                <a:cxn ang="0">
                  <a:pos x="70" y="281"/>
                </a:cxn>
                <a:cxn ang="0">
                  <a:pos x="76" y="284"/>
                </a:cxn>
              </a:cxnLst>
              <a:rect l="0" t="0" r="r" b="b"/>
              <a:pathLst>
                <a:path w="250" h="308">
                  <a:moveTo>
                    <a:pt x="76" y="284"/>
                  </a:moveTo>
                  <a:cubicBezTo>
                    <a:pt x="76" y="284"/>
                    <a:pt x="86" y="274"/>
                    <a:pt x="98" y="274"/>
                  </a:cubicBezTo>
                  <a:cubicBezTo>
                    <a:pt x="109" y="275"/>
                    <a:pt x="113" y="285"/>
                    <a:pt x="113" y="285"/>
                  </a:cubicBezTo>
                  <a:cubicBezTo>
                    <a:pt x="113" y="285"/>
                    <a:pt x="123" y="281"/>
                    <a:pt x="125" y="289"/>
                  </a:cubicBezTo>
                  <a:cubicBezTo>
                    <a:pt x="127" y="297"/>
                    <a:pt x="129" y="299"/>
                    <a:pt x="129" y="299"/>
                  </a:cubicBezTo>
                  <a:cubicBezTo>
                    <a:pt x="132" y="296"/>
                    <a:pt x="132" y="296"/>
                    <a:pt x="132" y="296"/>
                  </a:cubicBezTo>
                  <a:cubicBezTo>
                    <a:pt x="148" y="308"/>
                    <a:pt x="148" y="308"/>
                    <a:pt x="148" y="308"/>
                  </a:cubicBezTo>
                  <a:cubicBezTo>
                    <a:pt x="148" y="308"/>
                    <a:pt x="148" y="297"/>
                    <a:pt x="154" y="296"/>
                  </a:cubicBezTo>
                  <a:cubicBezTo>
                    <a:pt x="159" y="295"/>
                    <a:pt x="161" y="294"/>
                    <a:pt x="161" y="294"/>
                  </a:cubicBezTo>
                  <a:cubicBezTo>
                    <a:pt x="161" y="294"/>
                    <a:pt x="165" y="287"/>
                    <a:pt x="167" y="284"/>
                  </a:cubicBezTo>
                  <a:cubicBezTo>
                    <a:pt x="169" y="282"/>
                    <a:pt x="175" y="281"/>
                    <a:pt x="172" y="275"/>
                  </a:cubicBezTo>
                  <a:cubicBezTo>
                    <a:pt x="170" y="269"/>
                    <a:pt x="165" y="263"/>
                    <a:pt x="164" y="262"/>
                  </a:cubicBezTo>
                  <a:cubicBezTo>
                    <a:pt x="164" y="261"/>
                    <a:pt x="157" y="255"/>
                    <a:pt x="157" y="254"/>
                  </a:cubicBezTo>
                  <a:cubicBezTo>
                    <a:pt x="157" y="254"/>
                    <a:pt x="167" y="247"/>
                    <a:pt x="167" y="246"/>
                  </a:cubicBezTo>
                  <a:cubicBezTo>
                    <a:pt x="167" y="245"/>
                    <a:pt x="167" y="230"/>
                    <a:pt x="167" y="230"/>
                  </a:cubicBezTo>
                  <a:cubicBezTo>
                    <a:pt x="167" y="230"/>
                    <a:pt x="175" y="223"/>
                    <a:pt x="175" y="220"/>
                  </a:cubicBezTo>
                  <a:cubicBezTo>
                    <a:pt x="174" y="217"/>
                    <a:pt x="173" y="201"/>
                    <a:pt x="179" y="200"/>
                  </a:cubicBezTo>
                  <a:cubicBezTo>
                    <a:pt x="185" y="199"/>
                    <a:pt x="192" y="197"/>
                    <a:pt x="194" y="195"/>
                  </a:cubicBezTo>
                  <a:cubicBezTo>
                    <a:pt x="196" y="193"/>
                    <a:pt x="201" y="188"/>
                    <a:pt x="201" y="183"/>
                  </a:cubicBezTo>
                  <a:cubicBezTo>
                    <a:pt x="201" y="178"/>
                    <a:pt x="200" y="176"/>
                    <a:pt x="205" y="172"/>
                  </a:cubicBezTo>
                  <a:cubicBezTo>
                    <a:pt x="211" y="168"/>
                    <a:pt x="214" y="166"/>
                    <a:pt x="214" y="166"/>
                  </a:cubicBezTo>
                  <a:cubicBezTo>
                    <a:pt x="214" y="165"/>
                    <a:pt x="214" y="155"/>
                    <a:pt x="214" y="155"/>
                  </a:cubicBezTo>
                  <a:cubicBezTo>
                    <a:pt x="220" y="151"/>
                    <a:pt x="220" y="151"/>
                    <a:pt x="220" y="151"/>
                  </a:cubicBezTo>
                  <a:cubicBezTo>
                    <a:pt x="220" y="151"/>
                    <a:pt x="217" y="136"/>
                    <a:pt x="224" y="134"/>
                  </a:cubicBezTo>
                  <a:cubicBezTo>
                    <a:pt x="232" y="132"/>
                    <a:pt x="250" y="127"/>
                    <a:pt x="250" y="127"/>
                  </a:cubicBezTo>
                  <a:cubicBezTo>
                    <a:pt x="250" y="127"/>
                    <a:pt x="250" y="127"/>
                    <a:pt x="250" y="126"/>
                  </a:cubicBezTo>
                  <a:cubicBezTo>
                    <a:pt x="240" y="113"/>
                    <a:pt x="240" y="113"/>
                    <a:pt x="240" y="113"/>
                  </a:cubicBezTo>
                  <a:cubicBezTo>
                    <a:pt x="229" y="115"/>
                    <a:pt x="229" y="115"/>
                    <a:pt x="229" y="115"/>
                  </a:cubicBezTo>
                  <a:cubicBezTo>
                    <a:pt x="229" y="115"/>
                    <a:pt x="192" y="72"/>
                    <a:pt x="183" y="67"/>
                  </a:cubicBezTo>
                  <a:cubicBezTo>
                    <a:pt x="174" y="62"/>
                    <a:pt x="179" y="57"/>
                    <a:pt x="179" y="57"/>
                  </a:cubicBezTo>
                  <a:cubicBezTo>
                    <a:pt x="160" y="55"/>
                    <a:pt x="160" y="55"/>
                    <a:pt x="160" y="55"/>
                  </a:cubicBezTo>
                  <a:cubicBezTo>
                    <a:pt x="158" y="47"/>
                    <a:pt x="158" y="47"/>
                    <a:pt x="158" y="47"/>
                  </a:cubicBezTo>
                  <a:cubicBezTo>
                    <a:pt x="148" y="41"/>
                    <a:pt x="148" y="41"/>
                    <a:pt x="148" y="41"/>
                  </a:cubicBezTo>
                  <a:cubicBezTo>
                    <a:pt x="148" y="41"/>
                    <a:pt x="139" y="40"/>
                    <a:pt x="128" y="30"/>
                  </a:cubicBezTo>
                  <a:cubicBezTo>
                    <a:pt x="117" y="20"/>
                    <a:pt x="109" y="17"/>
                    <a:pt x="102" y="16"/>
                  </a:cubicBezTo>
                  <a:cubicBezTo>
                    <a:pt x="95" y="15"/>
                    <a:pt x="90" y="5"/>
                    <a:pt x="90" y="5"/>
                  </a:cubicBezTo>
                  <a:cubicBezTo>
                    <a:pt x="90" y="5"/>
                    <a:pt x="58" y="0"/>
                    <a:pt x="56" y="2"/>
                  </a:cubicBezTo>
                  <a:cubicBezTo>
                    <a:pt x="54" y="4"/>
                    <a:pt x="34" y="9"/>
                    <a:pt x="33" y="9"/>
                  </a:cubicBezTo>
                  <a:cubicBezTo>
                    <a:pt x="33" y="10"/>
                    <a:pt x="19" y="10"/>
                    <a:pt x="7" y="9"/>
                  </a:cubicBezTo>
                  <a:cubicBezTo>
                    <a:pt x="9" y="20"/>
                    <a:pt x="9" y="20"/>
                    <a:pt x="9" y="20"/>
                  </a:cubicBezTo>
                  <a:cubicBezTo>
                    <a:pt x="1" y="26"/>
                    <a:pt x="1" y="26"/>
                    <a:pt x="1" y="26"/>
                  </a:cubicBezTo>
                  <a:cubicBezTo>
                    <a:pt x="0" y="40"/>
                    <a:pt x="0" y="40"/>
                    <a:pt x="0" y="40"/>
                  </a:cubicBezTo>
                  <a:cubicBezTo>
                    <a:pt x="4" y="41"/>
                    <a:pt x="4" y="41"/>
                    <a:pt x="4" y="41"/>
                  </a:cubicBezTo>
                  <a:cubicBezTo>
                    <a:pt x="4" y="54"/>
                    <a:pt x="4" y="54"/>
                    <a:pt x="4" y="54"/>
                  </a:cubicBezTo>
                  <a:cubicBezTo>
                    <a:pt x="10" y="58"/>
                    <a:pt x="10" y="58"/>
                    <a:pt x="10" y="58"/>
                  </a:cubicBezTo>
                  <a:cubicBezTo>
                    <a:pt x="5" y="64"/>
                    <a:pt x="5" y="64"/>
                    <a:pt x="5" y="64"/>
                  </a:cubicBezTo>
                  <a:cubicBezTo>
                    <a:pt x="8" y="75"/>
                    <a:pt x="8" y="75"/>
                    <a:pt x="8" y="75"/>
                  </a:cubicBezTo>
                  <a:cubicBezTo>
                    <a:pt x="15" y="76"/>
                    <a:pt x="15" y="76"/>
                    <a:pt x="15" y="76"/>
                  </a:cubicBezTo>
                  <a:cubicBezTo>
                    <a:pt x="17" y="95"/>
                    <a:pt x="17" y="95"/>
                    <a:pt x="17" y="95"/>
                  </a:cubicBezTo>
                  <a:cubicBezTo>
                    <a:pt x="17" y="95"/>
                    <a:pt x="8" y="109"/>
                    <a:pt x="8" y="110"/>
                  </a:cubicBezTo>
                  <a:cubicBezTo>
                    <a:pt x="8" y="111"/>
                    <a:pt x="13" y="120"/>
                    <a:pt x="13" y="120"/>
                  </a:cubicBezTo>
                  <a:cubicBezTo>
                    <a:pt x="9" y="132"/>
                    <a:pt x="9" y="132"/>
                    <a:pt x="9" y="132"/>
                  </a:cubicBezTo>
                  <a:cubicBezTo>
                    <a:pt x="29" y="148"/>
                    <a:pt x="29" y="148"/>
                    <a:pt x="29" y="148"/>
                  </a:cubicBezTo>
                  <a:cubicBezTo>
                    <a:pt x="30" y="200"/>
                    <a:pt x="30" y="200"/>
                    <a:pt x="30" y="200"/>
                  </a:cubicBezTo>
                  <a:cubicBezTo>
                    <a:pt x="42" y="240"/>
                    <a:pt x="42" y="240"/>
                    <a:pt x="42" y="240"/>
                  </a:cubicBezTo>
                  <a:cubicBezTo>
                    <a:pt x="53" y="239"/>
                    <a:pt x="53" y="239"/>
                    <a:pt x="53" y="239"/>
                  </a:cubicBezTo>
                  <a:cubicBezTo>
                    <a:pt x="53" y="239"/>
                    <a:pt x="57" y="243"/>
                    <a:pt x="60" y="246"/>
                  </a:cubicBezTo>
                  <a:cubicBezTo>
                    <a:pt x="63" y="248"/>
                    <a:pt x="56" y="251"/>
                    <a:pt x="56" y="251"/>
                  </a:cubicBezTo>
                  <a:cubicBezTo>
                    <a:pt x="59" y="255"/>
                    <a:pt x="59" y="255"/>
                    <a:pt x="59" y="255"/>
                  </a:cubicBezTo>
                  <a:cubicBezTo>
                    <a:pt x="59" y="255"/>
                    <a:pt x="62" y="261"/>
                    <a:pt x="56" y="265"/>
                  </a:cubicBezTo>
                  <a:cubicBezTo>
                    <a:pt x="51" y="268"/>
                    <a:pt x="53" y="275"/>
                    <a:pt x="54" y="277"/>
                  </a:cubicBezTo>
                  <a:cubicBezTo>
                    <a:pt x="70" y="281"/>
                    <a:pt x="70" y="281"/>
                    <a:pt x="70" y="281"/>
                  </a:cubicBezTo>
                  <a:lnTo>
                    <a:pt x="76" y="284"/>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0" name="Freeform 339">
              <a:extLst>
                <a:ext uri="{FF2B5EF4-FFF2-40B4-BE49-F238E27FC236}">
                  <a16:creationId xmlns:a16="http://schemas.microsoft.com/office/drawing/2014/main" id="{FB730E9E-0991-4DED-8E09-C832F7AD6F26}"/>
                </a:ext>
              </a:extLst>
            </p:cNvPr>
            <p:cNvSpPr>
              <a:spLocks noChangeAspect="1"/>
            </p:cNvSpPr>
            <p:nvPr/>
          </p:nvSpPr>
          <p:spPr bwMode="auto">
            <a:xfrm>
              <a:off x="14386" y="1419"/>
              <a:ext cx="433" cy="261"/>
            </a:xfrm>
            <a:custGeom>
              <a:avLst/>
              <a:gdLst/>
              <a:ahLst/>
              <a:cxnLst>
                <a:cxn ang="0">
                  <a:pos x="16" y="104"/>
                </a:cxn>
                <a:cxn ang="0">
                  <a:pos x="19" y="98"/>
                </a:cxn>
                <a:cxn ang="0">
                  <a:pos x="25" y="103"/>
                </a:cxn>
                <a:cxn ang="0">
                  <a:pos x="32" y="96"/>
                </a:cxn>
                <a:cxn ang="0">
                  <a:pos x="41" y="94"/>
                </a:cxn>
                <a:cxn ang="0">
                  <a:pos x="48" y="82"/>
                </a:cxn>
                <a:cxn ang="0">
                  <a:pos x="63" y="80"/>
                </a:cxn>
                <a:cxn ang="0">
                  <a:pos x="78" y="70"/>
                </a:cxn>
                <a:cxn ang="0">
                  <a:pos x="83" y="79"/>
                </a:cxn>
                <a:cxn ang="0">
                  <a:pos x="77" y="82"/>
                </a:cxn>
                <a:cxn ang="0">
                  <a:pos x="69" y="92"/>
                </a:cxn>
                <a:cxn ang="0">
                  <a:pos x="71" y="98"/>
                </a:cxn>
                <a:cxn ang="0">
                  <a:pos x="64" y="104"/>
                </a:cxn>
                <a:cxn ang="0">
                  <a:pos x="63" y="112"/>
                </a:cxn>
                <a:cxn ang="0">
                  <a:pos x="81" y="119"/>
                </a:cxn>
                <a:cxn ang="0">
                  <a:pos x="103" y="115"/>
                </a:cxn>
                <a:cxn ang="0">
                  <a:pos x="108" y="130"/>
                </a:cxn>
                <a:cxn ang="0">
                  <a:pos x="123" y="119"/>
                </a:cxn>
                <a:cxn ang="0">
                  <a:pos x="121" y="112"/>
                </a:cxn>
                <a:cxn ang="0">
                  <a:pos x="125" y="108"/>
                </a:cxn>
                <a:cxn ang="0">
                  <a:pos x="120" y="99"/>
                </a:cxn>
                <a:cxn ang="0">
                  <a:pos x="131" y="90"/>
                </a:cxn>
                <a:cxn ang="0">
                  <a:pos x="153" y="97"/>
                </a:cxn>
                <a:cxn ang="0">
                  <a:pos x="188" y="97"/>
                </a:cxn>
                <a:cxn ang="0">
                  <a:pos x="193" y="102"/>
                </a:cxn>
                <a:cxn ang="0">
                  <a:pos x="216" y="102"/>
                </a:cxn>
                <a:cxn ang="0">
                  <a:pos x="215" y="98"/>
                </a:cxn>
                <a:cxn ang="0">
                  <a:pos x="209" y="87"/>
                </a:cxn>
                <a:cxn ang="0">
                  <a:pos x="208" y="69"/>
                </a:cxn>
                <a:cxn ang="0">
                  <a:pos x="201" y="46"/>
                </a:cxn>
                <a:cxn ang="0">
                  <a:pos x="181" y="19"/>
                </a:cxn>
                <a:cxn ang="0">
                  <a:pos x="160" y="12"/>
                </a:cxn>
                <a:cxn ang="0">
                  <a:pos x="138" y="18"/>
                </a:cxn>
                <a:cxn ang="0">
                  <a:pos x="128" y="12"/>
                </a:cxn>
                <a:cxn ang="0">
                  <a:pos x="115" y="19"/>
                </a:cxn>
                <a:cxn ang="0">
                  <a:pos x="101" y="7"/>
                </a:cxn>
                <a:cxn ang="0">
                  <a:pos x="82" y="7"/>
                </a:cxn>
                <a:cxn ang="0">
                  <a:pos x="77" y="0"/>
                </a:cxn>
                <a:cxn ang="0">
                  <a:pos x="77" y="1"/>
                </a:cxn>
                <a:cxn ang="0">
                  <a:pos x="51" y="8"/>
                </a:cxn>
                <a:cxn ang="0">
                  <a:pos x="47" y="25"/>
                </a:cxn>
                <a:cxn ang="0">
                  <a:pos x="41" y="29"/>
                </a:cxn>
                <a:cxn ang="0">
                  <a:pos x="41" y="40"/>
                </a:cxn>
                <a:cxn ang="0">
                  <a:pos x="32" y="46"/>
                </a:cxn>
                <a:cxn ang="0">
                  <a:pos x="28" y="57"/>
                </a:cxn>
                <a:cxn ang="0">
                  <a:pos x="21" y="69"/>
                </a:cxn>
                <a:cxn ang="0">
                  <a:pos x="6" y="74"/>
                </a:cxn>
                <a:cxn ang="0">
                  <a:pos x="2" y="94"/>
                </a:cxn>
                <a:cxn ang="0">
                  <a:pos x="2" y="94"/>
                </a:cxn>
                <a:cxn ang="0">
                  <a:pos x="10" y="97"/>
                </a:cxn>
                <a:cxn ang="0">
                  <a:pos x="16" y="104"/>
                </a:cxn>
              </a:cxnLst>
              <a:rect l="0" t="0" r="r" b="b"/>
              <a:pathLst>
                <a:path w="216" h="131">
                  <a:moveTo>
                    <a:pt x="16" y="104"/>
                  </a:moveTo>
                  <a:cubicBezTo>
                    <a:pt x="19" y="98"/>
                    <a:pt x="19" y="98"/>
                    <a:pt x="19" y="98"/>
                  </a:cubicBezTo>
                  <a:cubicBezTo>
                    <a:pt x="25" y="103"/>
                    <a:pt x="25" y="103"/>
                    <a:pt x="25" y="103"/>
                  </a:cubicBezTo>
                  <a:cubicBezTo>
                    <a:pt x="25" y="103"/>
                    <a:pt x="33" y="96"/>
                    <a:pt x="32" y="96"/>
                  </a:cubicBezTo>
                  <a:cubicBezTo>
                    <a:pt x="31" y="95"/>
                    <a:pt x="35" y="94"/>
                    <a:pt x="41" y="94"/>
                  </a:cubicBezTo>
                  <a:cubicBezTo>
                    <a:pt x="46" y="94"/>
                    <a:pt x="47" y="86"/>
                    <a:pt x="48" y="82"/>
                  </a:cubicBezTo>
                  <a:cubicBezTo>
                    <a:pt x="50" y="79"/>
                    <a:pt x="58" y="81"/>
                    <a:pt x="63" y="80"/>
                  </a:cubicBezTo>
                  <a:cubicBezTo>
                    <a:pt x="68" y="80"/>
                    <a:pt x="78" y="70"/>
                    <a:pt x="78" y="70"/>
                  </a:cubicBezTo>
                  <a:cubicBezTo>
                    <a:pt x="78" y="70"/>
                    <a:pt x="83" y="78"/>
                    <a:pt x="83" y="79"/>
                  </a:cubicBezTo>
                  <a:cubicBezTo>
                    <a:pt x="83" y="79"/>
                    <a:pt x="77" y="82"/>
                    <a:pt x="77" y="82"/>
                  </a:cubicBezTo>
                  <a:cubicBezTo>
                    <a:pt x="69" y="92"/>
                    <a:pt x="69" y="92"/>
                    <a:pt x="69" y="92"/>
                  </a:cubicBezTo>
                  <a:cubicBezTo>
                    <a:pt x="71" y="98"/>
                    <a:pt x="71" y="98"/>
                    <a:pt x="71" y="98"/>
                  </a:cubicBezTo>
                  <a:cubicBezTo>
                    <a:pt x="71" y="98"/>
                    <a:pt x="65" y="103"/>
                    <a:pt x="64" y="104"/>
                  </a:cubicBezTo>
                  <a:cubicBezTo>
                    <a:pt x="64" y="105"/>
                    <a:pt x="63" y="112"/>
                    <a:pt x="63" y="112"/>
                  </a:cubicBezTo>
                  <a:cubicBezTo>
                    <a:pt x="63" y="112"/>
                    <a:pt x="79" y="119"/>
                    <a:pt x="81" y="119"/>
                  </a:cubicBezTo>
                  <a:cubicBezTo>
                    <a:pt x="83" y="120"/>
                    <a:pt x="95" y="114"/>
                    <a:pt x="103" y="115"/>
                  </a:cubicBezTo>
                  <a:cubicBezTo>
                    <a:pt x="112" y="115"/>
                    <a:pt x="108" y="129"/>
                    <a:pt x="108" y="130"/>
                  </a:cubicBezTo>
                  <a:cubicBezTo>
                    <a:pt x="108" y="131"/>
                    <a:pt x="123" y="119"/>
                    <a:pt x="123" y="119"/>
                  </a:cubicBezTo>
                  <a:cubicBezTo>
                    <a:pt x="121" y="112"/>
                    <a:pt x="121" y="112"/>
                    <a:pt x="121" y="112"/>
                  </a:cubicBezTo>
                  <a:cubicBezTo>
                    <a:pt x="125" y="108"/>
                    <a:pt x="125" y="108"/>
                    <a:pt x="125" y="108"/>
                  </a:cubicBezTo>
                  <a:cubicBezTo>
                    <a:pt x="120" y="99"/>
                    <a:pt x="120" y="99"/>
                    <a:pt x="120" y="99"/>
                  </a:cubicBezTo>
                  <a:cubicBezTo>
                    <a:pt x="120" y="99"/>
                    <a:pt x="125" y="90"/>
                    <a:pt x="131" y="90"/>
                  </a:cubicBezTo>
                  <a:cubicBezTo>
                    <a:pt x="138" y="89"/>
                    <a:pt x="153" y="97"/>
                    <a:pt x="153" y="97"/>
                  </a:cubicBezTo>
                  <a:cubicBezTo>
                    <a:pt x="153" y="97"/>
                    <a:pt x="188" y="97"/>
                    <a:pt x="188" y="97"/>
                  </a:cubicBezTo>
                  <a:cubicBezTo>
                    <a:pt x="189" y="97"/>
                    <a:pt x="193" y="102"/>
                    <a:pt x="193" y="102"/>
                  </a:cubicBezTo>
                  <a:cubicBezTo>
                    <a:pt x="216" y="102"/>
                    <a:pt x="216" y="102"/>
                    <a:pt x="216" y="102"/>
                  </a:cubicBezTo>
                  <a:cubicBezTo>
                    <a:pt x="216" y="100"/>
                    <a:pt x="215" y="98"/>
                    <a:pt x="215" y="98"/>
                  </a:cubicBezTo>
                  <a:cubicBezTo>
                    <a:pt x="209" y="87"/>
                    <a:pt x="209" y="87"/>
                    <a:pt x="209" y="87"/>
                  </a:cubicBezTo>
                  <a:cubicBezTo>
                    <a:pt x="208" y="69"/>
                    <a:pt x="208" y="69"/>
                    <a:pt x="208" y="69"/>
                  </a:cubicBezTo>
                  <a:cubicBezTo>
                    <a:pt x="208" y="69"/>
                    <a:pt x="201" y="55"/>
                    <a:pt x="201" y="46"/>
                  </a:cubicBezTo>
                  <a:cubicBezTo>
                    <a:pt x="201" y="36"/>
                    <a:pt x="190" y="26"/>
                    <a:pt x="181" y="19"/>
                  </a:cubicBezTo>
                  <a:cubicBezTo>
                    <a:pt x="173" y="11"/>
                    <a:pt x="160" y="12"/>
                    <a:pt x="160" y="12"/>
                  </a:cubicBezTo>
                  <a:cubicBezTo>
                    <a:pt x="160" y="12"/>
                    <a:pt x="143" y="17"/>
                    <a:pt x="138" y="18"/>
                  </a:cubicBezTo>
                  <a:cubicBezTo>
                    <a:pt x="134" y="19"/>
                    <a:pt x="128" y="12"/>
                    <a:pt x="128" y="12"/>
                  </a:cubicBezTo>
                  <a:cubicBezTo>
                    <a:pt x="115" y="19"/>
                    <a:pt x="115" y="19"/>
                    <a:pt x="115" y="19"/>
                  </a:cubicBezTo>
                  <a:cubicBezTo>
                    <a:pt x="101" y="7"/>
                    <a:pt x="101" y="7"/>
                    <a:pt x="101" y="7"/>
                  </a:cubicBezTo>
                  <a:cubicBezTo>
                    <a:pt x="82" y="7"/>
                    <a:pt x="82" y="7"/>
                    <a:pt x="82" y="7"/>
                  </a:cubicBezTo>
                  <a:cubicBezTo>
                    <a:pt x="77" y="0"/>
                    <a:pt x="77" y="0"/>
                    <a:pt x="77" y="0"/>
                  </a:cubicBezTo>
                  <a:cubicBezTo>
                    <a:pt x="77" y="1"/>
                    <a:pt x="77" y="1"/>
                    <a:pt x="77" y="1"/>
                  </a:cubicBezTo>
                  <a:cubicBezTo>
                    <a:pt x="77" y="1"/>
                    <a:pt x="59" y="6"/>
                    <a:pt x="51" y="8"/>
                  </a:cubicBezTo>
                  <a:cubicBezTo>
                    <a:pt x="44" y="10"/>
                    <a:pt x="47" y="25"/>
                    <a:pt x="47" y="25"/>
                  </a:cubicBezTo>
                  <a:cubicBezTo>
                    <a:pt x="41" y="29"/>
                    <a:pt x="41" y="29"/>
                    <a:pt x="41" y="29"/>
                  </a:cubicBezTo>
                  <a:cubicBezTo>
                    <a:pt x="41" y="29"/>
                    <a:pt x="41" y="39"/>
                    <a:pt x="41" y="40"/>
                  </a:cubicBezTo>
                  <a:cubicBezTo>
                    <a:pt x="41" y="40"/>
                    <a:pt x="38" y="42"/>
                    <a:pt x="32" y="46"/>
                  </a:cubicBezTo>
                  <a:cubicBezTo>
                    <a:pt x="27" y="50"/>
                    <a:pt x="28" y="52"/>
                    <a:pt x="28" y="57"/>
                  </a:cubicBezTo>
                  <a:cubicBezTo>
                    <a:pt x="28" y="62"/>
                    <a:pt x="23" y="67"/>
                    <a:pt x="21" y="69"/>
                  </a:cubicBezTo>
                  <a:cubicBezTo>
                    <a:pt x="19" y="71"/>
                    <a:pt x="12" y="73"/>
                    <a:pt x="6" y="74"/>
                  </a:cubicBezTo>
                  <a:cubicBezTo>
                    <a:pt x="0" y="75"/>
                    <a:pt x="1" y="91"/>
                    <a:pt x="2" y="94"/>
                  </a:cubicBezTo>
                  <a:cubicBezTo>
                    <a:pt x="2" y="94"/>
                    <a:pt x="2" y="94"/>
                    <a:pt x="2" y="94"/>
                  </a:cubicBezTo>
                  <a:cubicBezTo>
                    <a:pt x="10" y="97"/>
                    <a:pt x="10" y="97"/>
                    <a:pt x="10" y="97"/>
                  </a:cubicBezTo>
                  <a:lnTo>
                    <a:pt x="16" y="104"/>
                  </a:lnTo>
                  <a:close/>
                </a:path>
              </a:pathLst>
            </a:custGeom>
            <a:solidFill>
              <a:srgbClr val="00B05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1" name="Freeform 340">
              <a:extLst>
                <a:ext uri="{FF2B5EF4-FFF2-40B4-BE49-F238E27FC236}">
                  <a16:creationId xmlns:a16="http://schemas.microsoft.com/office/drawing/2014/main" id="{EE246FA0-AB91-483D-9A56-3DAF25780F5C}"/>
                </a:ext>
              </a:extLst>
            </p:cNvPr>
            <p:cNvSpPr>
              <a:spLocks noChangeAspect="1"/>
            </p:cNvSpPr>
            <p:nvPr/>
          </p:nvSpPr>
          <p:spPr bwMode="auto">
            <a:xfrm>
              <a:off x="14352" y="1559"/>
              <a:ext cx="479" cy="283"/>
            </a:xfrm>
            <a:custGeom>
              <a:avLst/>
              <a:gdLst/>
              <a:ahLst/>
              <a:cxnLst>
                <a:cxn ang="0">
                  <a:pos x="34" y="111"/>
                </a:cxn>
                <a:cxn ang="0">
                  <a:pos x="48" y="109"/>
                </a:cxn>
                <a:cxn ang="0">
                  <a:pos x="71" y="92"/>
                </a:cxn>
                <a:cxn ang="0">
                  <a:pos x="93" y="75"/>
                </a:cxn>
                <a:cxn ang="0">
                  <a:pos x="97" y="97"/>
                </a:cxn>
                <a:cxn ang="0">
                  <a:pos x="93" y="110"/>
                </a:cxn>
                <a:cxn ang="0">
                  <a:pos x="100" y="120"/>
                </a:cxn>
                <a:cxn ang="0">
                  <a:pos x="112" y="140"/>
                </a:cxn>
                <a:cxn ang="0">
                  <a:pos x="131" y="130"/>
                </a:cxn>
                <a:cxn ang="0">
                  <a:pos x="142" y="115"/>
                </a:cxn>
                <a:cxn ang="0">
                  <a:pos x="176" y="107"/>
                </a:cxn>
                <a:cxn ang="0">
                  <a:pos x="202" y="98"/>
                </a:cxn>
                <a:cxn ang="0">
                  <a:pos x="219" y="84"/>
                </a:cxn>
                <a:cxn ang="0">
                  <a:pos x="237" y="62"/>
                </a:cxn>
                <a:cxn ang="0">
                  <a:pos x="209" y="32"/>
                </a:cxn>
                <a:cxn ang="0">
                  <a:pos x="169" y="27"/>
                </a:cxn>
                <a:cxn ang="0">
                  <a:pos x="136" y="29"/>
                </a:cxn>
                <a:cxn ang="0">
                  <a:pos x="137" y="42"/>
                </a:cxn>
                <a:cxn ang="0">
                  <a:pos x="124" y="60"/>
                </a:cxn>
                <a:cxn ang="0">
                  <a:pos x="97" y="49"/>
                </a:cxn>
                <a:cxn ang="0">
                  <a:pos x="80" y="34"/>
                </a:cxn>
                <a:cxn ang="0">
                  <a:pos x="85" y="22"/>
                </a:cxn>
                <a:cxn ang="0">
                  <a:pos x="99" y="9"/>
                </a:cxn>
                <a:cxn ang="0">
                  <a:pos x="79" y="10"/>
                </a:cxn>
                <a:cxn ang="0">
                  <a:pos x="57" y="24"/>
                </a:cxn>
                <a:cxn ang="0">
                  <a:pos x="41" y="33"/>
                </a:cxn>
                <a:cxn ang="0">
                  <a:pos x="32" y="34"/>
                </a:cxn>
                <a:cxn ang="0">
                  <a:pos x="18" y="24"/>
                </a:cxn>
                <a:cxn ang="0">
                  <a:pos x="10" y="50"/>
                </a:cxn>
                <a:cxn ang="0">
                  <a:pos x="7" y="66"/>
                </a:cxn>
                <a:cxn ang="0">
                  <a:pos x="10" y="88"/>
                </a:cxn>
                <a:cxn ang="0">
                  <a:pos x="16" y="108"/>
                </a:cxn>
              </a:cxnLst>
              <a:rect l="0" t="0" r="r" b="b"/>
              <a:pathLst>
                <a:path w="239" h="141">
                  <a:moveTo>
                    <a:pt x="27" y="100"/>
                  </a:moveTo>
                  <a:cubicBezTo>
                    <a:pt x="27" y="100"/>
                    <a:pt x="33" y="111"/>
                    <a:pt x="34" y="111"/>
                  </a:cubicBezTo>
                  <a:cubicBezTo>
                    <a:pt x="35" y="110"/>
                    <a:pt x="43" y="104"/>
                    <a:pt x="43" y="104"/>
                  </a:cubicBezTo>
                  <a:cubicBezTo>
                    <a:pt x="43" y="104"/>
                    <a:pt x="47" y="110"/>
                    <a:pt x="48" y="109"/>
                  </a:cubicBezTo>
                  <a:cubicBezTo>
                    <a:pt x="48" y="108"/>
                    <a:pt x="58" y="101"/>
                    <a:pt x="62" y="99"/>
                  </a:cubicBezTo>
                  <a:cubicBezTo>
                    <a:pt x="66" y="96"/>
                    <a:pt x="68" y="92"/>
                    <a:pt x="71" y="92"/>
                  </a:cubicBezTo>
                  <a:cubicBezTo>
                    <a:pt x="74" y="92"/>
                    <a:pt x="78" y="91"/>
                    <a:pt x="78" y="90"/>
                  </a:cubicBezTo>
                  <a:cubicBezTo>
                    <a:pt x="78" y="89"/>
                    <a:pt x="93" y="75"/>
                    <a:pt x="93" y="75"/>
                  </a:cubicBezTo>
                  <a:cubicBezTo>
                    <a:pt x="93" y="75"/>
                    <a:pt x="113" y="85"/>
                    <a:pt x="110" y="89"/>
                  </a:cubicBezTo>
                  <a:cubicBezTo>
                    <a:pt x="108" y="93"/>
                    <a:pt x="97" y="97"/>
                    <a:pt x="97" y="97"/>
                  </a:cubicBezTo>
                  <a:cubicBezTo>
                    <a:pt x="100" y="106"/>
                    <a:pt x="100" y="106"/>
                    <a:pt x="100" y="106"/>
                  </a:cubicBezTo>
                  <a:cubicBezTo>
                    <a:pt x="93" y="110"/>
                    <a:pt x="93" y="110"/>
                    <a:pt x="93" y="110"/>
                  </a:cubicBezTo>
                  <a:cubicBezTo>
                    <a:pt x="90" y="120"/>
                    <a:pt x="90" y="120"/>
                    <a:pt x="90" y="120"/>
                  </a:cubicBezTo>
                  <a:cubicBezTo>
                    <a:pt x="100" y="120"/>
                    <a:pt x="100" y="120"/>
                    <a:pt x="100" y="120"/>
                  </a:cubicBezTo>
                  <a:cubicBezTo>
                    <a:pt x="99" y="133"/>
                    <a:pt x="99" y="133"/>
                    <a:pt x="99" y="133"/>
                  </a:cubicBezTo>
                  <a:cubicBezTo>
                    <a:pt x="99" y="133"/>
                    <a:pt x="112" y="141"/>
                    <a:pt x="112" y="140"/>
                  </a:cubicBezTo>
                  <a:cubicBezTo>
                    <a:pt x="112" y="139"/>
                    <a:pt x="123" y="130"/>
                    <a:pt x="123" y="130"/>
                  </a:cubicBezTo>
                  <a:cubicBezTo>
                    <a:pt x="131" y="130"/>
                    <a:pt x="131" y="130"/>
                    <a:pt x="131" y="130"/>
                  </a:cubicBezTo>
                  <a:cubicBezTo>
                    <a:pt x="130" y="117"/>
                    <a:pt x="130" y="117"/>
                    <a:pt x="130" y="117"/>
                  </a:cubicBezTo>
                  <a:cubicBezTo>
                    <a:pt x="142" y="115"/>
                    <a:pt x="142" y="115"/>
                    <a:pt x="142" y="115"/>
                  </a:cubicBezTo>
                  <a:cubicBezTo>
                    <a:pt x="142" y="115"/>
                    <a:pt x="144" y="109"/>
                    <a:pt x="145" y="109"/>
                  </a:cubicBezTo>
                  <a:cubicBezTo>
                    <a:pt x="145" y="109"/>
                    <a:pt x="176" y="107"/>
                    <a:pt x="176" y="107"/>
                  </a:cubicBezTo>
                  <a:cubicBezTo>
                    <a:pt x="176" y="107"/>
                    <a:pt x="179" y="101"/>
                    <a:pt x="190" y="100"/>
                  </a:cubicBezTo>
                  <a:cubicBezTo>
                    <a:pt x="200" y="99"/>
                    <a:pt x="202" y="98"/>
                    <a:pt x="202" y="98"/>
                  </a:cubicBezTo>
                  <a:cubicBezTo>
                    <a:pt x="202" y="98"/>
                    <a:pt x="201" y="88"/>
                    <a:pt x="202" y="88"/>
                  </a:cubicBezTo>
                  <a:cubicBezTo>
                    <a:pt x="202" y="87"/>
                    <a:pt x="219" y="84"/>
                    <a:pt x="219" y="84"/>
                  </a:cubicBezTo>
                  <a:cubicBezTo>
                    <a:pt x="239" y="102"/>
                    <a:pt x="239" y="102"/>
                    <a:pt x="239" y="102"/>
                  </a:cubicBezTo>
                  <a:cubicBezTo>
                    <a:pt x="239" y="86"/>
                    <a:pt x="238" y="65"/>
                    <a:pt x="237" y="62"/>
                  </a:cubicBezTo>
                  <a:cubicBezTo>
                    <a:pt x="237" y="59"/>
                    <a:pt x="234" y="41"/>
                    <a:pt x="232" y="32"/>
                  </a:cubicBezTo>
                  <a:cubicBezTo>
                    <a:pt x="209" y="32"/>
                    <a:pt x="209" y="32"/>
                    <a:pt x="209" y="32"/>
                  </a:cubicBezTo>
                  <a:cubicBezTo>
                    <a:pt x="209" y="32"/>
                    <a:pt x="205" y="27"/>
                    <a:pt x="204" y="27"/>
                  </a:cubicBezTo>
                  <a:cubicBezTo>
                    <a:pt x="204" y="27"/>
                    <a:pt x="169" y="27"/>
                    <a:pt x="169" y="27"/>
                  </a:cubicBezTo>
                  <a:cubicBezTo>
                    <a:pt x="169" y="27"/>
                    <a:pt x="154" y="19"/>
                    <a:pt x="147" y="20"/>
                  </a:cubicBezTo>
                  <a:cubicBezTo>
                    <a:pt x="141" y="20"/>
                    <a:pt x="136" y="29"/>
                    <a:pt x="136" y="29"/>
                  </a:cubicBezTo>
                  <a:cubicBezTo>
                    <a:pt x="141" y="38"/>
                    <a:pt x="141" y="38"/>
                    <a:pt x="141" y="38"/>
                  </a:cubicBezTo>
                  <a:cubicBezTo>
                    <a:pt x="137" y="42"/>
                    <a:pt x="137" y="42"/>
                    <a:pt x="137" y="42"/>
                  </a:cubicBezTo>
                  <a:cubicBezTo>
                    <a:pt x="139" y="49"/>
                    <a:pt x="139" y="49"/>
                    <a:pt x="139" y="49"/>
                  </a:cubicBezTo>
                  <a:cubicBezTo>
                    <a:pt x="139" y="49"/>
                    <a:pt x="124" y="61"/>
                    <a:pt x="124" y="60"/>
                  </a:cubicBezTo>
                  <a:cubicBezTo>
                    <a:pt x="124" y="59"/>
                    <a:pt x="128" y="45"/>
                    <a:pt x="119" y="45"/>
                  </a:cubicBezTo>
                  <a:cubicBezTo>
                    <a:pt x="111" y="44"/>
                    <a:pt x="99" y="50"/>
                    <a:pt x="97" y="49"/>
                  </a:cubicBezTo>
                  <a:cubicBezTo>
                    <a:pt x="95" y="49"/>
                    <a:pt x="79" y="42"/>
                    <a:pt x="79" y="42"/>
                  </a:cubicBezTo>
                  <a:cubicBezTo>
                    <a:pt x="79" y="42"/>
                    <a:pt x="80" y="35"/>
                    <a:pt x="80" y="34"/>
                  </a:cubicBezTo>
                  <a:cubicBezTo>
                    <a:pt x="81" y="33"/>
                    <a:pt x="87" y="28"/>
                    <a:pt x="87" y="28"/>
                  </a:cubicBezTo>
                  <a:cubicBezTo>
                    <a:pt x="85" y="22"/>
                    <a:pt x="85" y="22"/>
                    <a:pt x="85" y="22"/>
                  </a:cubicBezTo>
                  <a:cubicBezTo>
                    <a:pt x="93" y="12"/>
                    <a:pt x="93" y="12"/>
                    <a:pt x="93" y="12"/>
                  </a:cubicBezTo>
                  <a:cubicBezTo>
                    <a:pt x="93" y="12"/>
                    <a:pt x="99" y="9"/>
                    <a:pt x="99" y="9"/>
                  </a:cubicBezTo>
                  <a:cubicBezTo>
                    <a:pt x="99" y="8"/>
                    <a:pt x="94" y="0"/>
                    <a:pt x="94" y="0"/>
                  </a:cubicBezTo>
                  <a:cubicBezTo>
                    <a:pt x="94" y="0"/>
                    <a:pt x="84" y="10"/>
                    <a:pt x="79" y="10"/>
                  </a:cubicBezTo>
                  <a:cubicBezTo>
                    <a:pt x="74" y="11"/>
                    <a:pt x="66" y="9"/>
                    <a:pt x="64" y="12"/>
                  </a:cubicBezTo>
                  <a:cubicBezTo>
                    <a:pt x="63" y="16"/>
                    <a:pt x="62" y="24"/>
                    <a:pt x="57" y="24"/>
                  </a:cubicBezTo>
                  <a:cubicBezTo>
                    <a:pt x="51" y="24"/>
                    <a:pt x="47" y="25"/>
                    <a:pt x="48" y="26"/>
                  </a:cubicBezTo>
                  <a:cubicBezTo>
                    <a:pt x="49" y="26"/>
                    <a:pt x="41" y="33"/>
                    <a:pt x="41" y="33"/>
                  </a:cubicBezTo>
                  <a:cubicBezTo>
                    <a:pt x="35" y="28"/>
                    <a:pt x="35" y="28"/>
                    <a:pt x="35" y="28"/>
                  </a:cubicBezTo>
                  <a:cubicBezTo>
                    <a:pt x="32" y="34"/>
                    <a:pt x="32" y="34"/>
                    <a:pt x="32" y="34"/>
                  </a:cubicBezTo>
                  <a:cubicBezTo>
                    <a:pt x="26" y="27"/>
                    <a:pt x="26" y="27"/>
                    <a:pt x="26" y="27"/>
                  </a:cubicBezTo>
                  <a:cubicBezTo>
                    <a:pt x="18" y="24"/>
                    <a:pt x="18" y="24"/>
                    <a:pt x="18" y="24"/>
                  </a:cubicBezTo>
                  <a:cubicBezTo>
                    <a:pt x="17" y="27"/>
                    <a:pt x="10" y="34"/>
                    <a:pt x="10" y="34"/>
                  </a:cubicBezTo>
                  <a:cubicBezTo>
                    <a:pt x="10" y="34"/>
                    <a:pt x="10" y="49"/>
                    <a:pt x="10" y="50"/>
                  </a:cubicBezTo>
                  <a:cubicBezTo>
                    <a:pt x="10" y="51"/>
                    <a:pt x="0" y="58"/>
                    <a:pt x="0" y="58"/>
                  </a:cubicBezTo>
                  <a:cubicBezTo>
                    <a:pt x="0" y="59"/>
                    <a:pt x="7" y="65"/>
                    <a:pt x="7" y="66"/>
                  </a:cubicBezTo>
                  <a:cubicBezTo>
                    <a:pt x="8" y="67"/>
                    <a:pt x="13" y="73"/>
                    <a:pt x="15" y="79"/>
                  </a:cubicBezTo>
                  <a:cubicBezTo>
                    <a:pt x="18" y="85"/>
                    <a:pt x="12" y="86"/>
                    <a:pt x="10" y="88"/>
                  </a:cubicBezTo>
                  <a:cubicBezTo>
                    <a:pt x="9" y="90"/>
                    <a:pt x="5" y="96"/>
                    <a:pt x="4" y="97"/>
                  </a:cubicBezTo>
                  <a:cubicBezTo>
                    <a:pt x="16" y="108"/>
                    <a:pt x="16" y="108"/>
                    <a:pt x="16" y="108"/>
                  </a:cubicBezTo>
                  <a:lnTo>
                    <a:pt x="27" y="100"/>
                  </a:ln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2" name="Freeform 341">
              <a:extLst>
                <a:ext uri="{FF2B5EF4-FFF2-40B4-BE49-F238E27FC236}">
                  <a16:creationId xmlns:a16="http://schemas.microsoft.com/office/drawing/2014/main" id="{037D226D-866C-40C4-A911-104B323AE07B}"/>
                </a:ext>
              </a:extLst>
            </p:cNvPr>
            <p:cNvSpPr>
              <a:spLocks noChangeAspect="1"/>
            </p:cNvSpPr>
            <p:nvPr/>
          </p:nvSpPr>
          <p:spPr bwMode="auto">
            <a:xfrm>
              <a:off x="14062" y="1709"/>
              <a:ext cx="773" cy="280"/>
            </a:xfrm>
            <a:custGeom>
              <a:avLst/>
              <a:gdLst>
                <a:gd name="T0" fmla="*/ 773 w 386"/>
                <a:gd name="T1" fmla="*/ 86 h 140"/>
                <a:gd name="T2" fmla="*/ 731 w 386"/>
                <a:gd name="T3" fmla="*/ 18 h 140"/>
                <a:gd name="T4" fmla="*/ 697 w 386"/>
                <a:gd name="T5" fmla="*/ 46 h 140"/>
                <a:gd name="T6" fmla="*/ 645 w 386"/>
                <a:gd name="T7" fmla="*/ 64 h 140"/>
                <a:gd name="T8" fmla="*/ 577 w 386"/>
                <a:gd name="T9" fmla="*/ 80 h 140"/>
                <a:gd name="T10" fmla="*/ 555 w 386"/>
                <a:gd name="T11" fmla="*/ 110 h 140"/>
                <a:gd name="T12" fmla="*/ 517 w 386"/>
                <a:gd name="T13" fmla="*/ 130 h 140"/>
                <a:gd name="T14" fmla="*/ 493 w 386"/>
                <a:gd name="T15" fmla="*/ 90 h 140"/>
                <a:gd name="T16" fmla="*/ 479 w 386"/>
                <a:gd name="T17" fmla="*/ 70 h 140"/>
                <a:gd name="T18" fmla="*/ 487 w 386"/>
                <a:gd name="T19" fmla="*/ 44 h 140"/>
                <a:gd name="T20" fmla="*/ 479 w 386"/>
                <a:gd name="T21" fmla="*/ 0 h 140"/>
                <a:gd name="T22" fmla="*/ 435 w 386"/>
                <a:gd name="T23" fmla="*/ 34 h 140"/>
                <a:gd name="T24" fmla="*/ 389 w 386"/>
                <a:gd name="T25" fmla="*/ 68 h 140"/>
                <a:gd name="T26" fmla="*/ 360 w 386"/>
                <a:gd name="T27" fmla="*/ 72 h 140"/>
                <a:gd name="T28" fmla="*/ 324 w 386"/>
                <a:gd name="T29" fmla="*/ 66 h 140"/>
                <a:gd name="T30" fmla="*/ 300 w 386"/>
                <a:gd name="T31" fmla="*/ 46 h 140"/>
                <a:gd name="T32" fmla="*/ 274 w 386"/>
                <a:gd name="T33" fmla="*/ 74 h 140"/>
                <a:gd name="T34" fmla="*/ 236 w 386"/>
                <a:gd name="T35" fmla="*/ 56 h 140"/>
                <a:gd name="T36" fmla="*/ 204 w 386"/>
                <a:gd name="T37" fmla="*/ 28 h 140"/>
                <a:gd name="T38" fmla="*/ 130 w 386"/>
                <a:gd name="T39" fmla="*/ 26 h 140"/>
                <a:gd name="T40" fmla="*/ 86 w 386"/>
                <a:gd name="T41" fmla="*/ 12 h 140"/>
                <a:gd name="T42" fmla="*/ 62 w 386"/>
                <a:gd name="T43" fmla="*/ 28 h 140"/>
                <a:gd name="T44" fmla="*/ 60 w 386"/>
                <a:gd name="T45" fmla="*/ 88 h 140"/>
                <a:gd name="T46" fmla="*/ 0 w 386"/>
                <a:gd name="T47" fmla="*/ 210 h 140"/>
                <a:gd name="T48" fmla="*/ 70 w 386"/>
                <a:gd name="T49" fmla="*/ 274 h 140"/>
                <a:gd name="T50" fmla="*/ 120 w 386"/>
                <a:gd name="T51" fmla="*/ 222 h 140"/>
                <a:gd name="T52" fmla="*/ 164 w 386"/>
                <a:gd name="T53" fmla="*/ 208 h 140"/>
                <a:gd name="T54" fmla="*/ 182 w 386"/>
                <a:gd name="T55" fmla="*/ 188 h 140"/>
                <a:gd name="T56" fmla="*/ 224 w 386"/>
                <a:gd name="T57" fmla="*/ 154 h 140"/>
                <a:gd name="T58" fmla="*/ 308 w 386"/>
                <a:gd name="T59" fmla="*/ 208 h 140"/>
                <a:gd name="T60" fmla="*/ 334 w 386"/>
                <a:gd name="T61" fmla="*/ 220 h 140"/>
                <a:gd name="T62" fmla="*/ 356 w 386"/>
                <a:gd name="T63" fmla="*/ 222 h 140"/>
                <a:gd name="T64" fmla="*/ 366 w 386"/>
                <a:gd name="T65" fmla="*/ 254 h 140"/>
                <a:gd name="T66" fmla="*/ 415 w 386"/>
                <a:gd name="T67" fmla="*/ 196 h 140"/>
                <a:gd name="T68" fmla="*/ 453 w 386"/>
                <a:gd name="T69" fmla="*/ 210 h 140"/>
                <a:gd name="T70" fmla="*/ 479 w 386"/>
                <a:gd name="T71" fmla="*/ 242 h 140"/>
                <a:gd name="T72" fmla="*/ 517 w 386"/>
                <a:gd name="T73" fmla="*/ 260 h 140"/>
                <a:gd name="T74" fmla="*/ 567 w 386"/>
                <a:gd name="T75" fmla="*/ 250 h 140"/>
                <a:gd name="T76" fmla="*/ 605 w 386"/>
                <a:gd name="T77" fmla="*/ 234 h 140"/>
                <a:gd name="T78" fmla="*/ 649 w 386"/>
                <a:gd name="T79" fmla="*/ 192 h 140"/>
                <a:gd name="T80" fmla="*/ 685 w 386"/>
                <a:gd name="T81" fmla="*/ 194 h 140"/>
                <a:gd name="T82" fmla="*/ 755 w 386"/>
                <a:gd name="T83" fmla="*/ 152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86"/>
                <a:gd name="T127" fmla="*/ 0 h 140"/>
                <a:gd name="T128" fmla="*/ 386 w 386"/>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86" h="140">
                  <a:moveTo>
                    <a:pt x="375" y="65"/>
                  </a:moveTo>
                  <a:cubicBezTo>
                    <a:pt x="386" y="43"/>
                    <a:pt x="386" y="43"/>
                    <a:pt x="386" y="43"/>
                  </a:cubicBezTo>
                  <a:cubicBezTo>
                    <a:pt x="386" y="43"/>
                    <a:pt x="386" y="36"/>
                    <a:pt x="385" y="27"/>
                  </a:cubicBezTo>
                  <a:cubicBezTo>
                    <a:pt x="365" y="9"/>
                    <a:pt x="365" y="9"/>
                    <a:pt x="365" y="9"/>
                  </a:cubicBezTo>
                  <a:cubicBezTo>
                    <a:pt x="365" y="9"/>
                    <a:pt x="348" y="12"/>
                    <a:pt x="348" y="13"/>
                  </a:cubicBezTo>
                  <a:cubicBezTo>
                    <a:pt x="347" y="13"/>
                    <a:pt x="348" y="23"/>
                    <a:pt x="348" y="23"/>
                  </a:cubicBezTo>
                  <a:cubicBezTo>
                    <a:pt x="348" y="23"/>
                    <a:pt x="346" y="24"/>
                    <a:pt x="336" y="25"/>
                  </a:cubicBezTo>
                  <a:cubicBezTo>
                    <a:pt x="325" y="26"/>
                    <a:pt x="322" y="32"/>
                    <a:pt x="322" y="32"/>
                  </a:cubicBezTo>
                  <a:cubicBezTo>
                    <a:pt x="322" y="32"/>
                    <a:pt x="291" y="34"/>
                    <a:pt x="291" y="34"/>
                  </a:cubicBezTo>
                  <a:cubicBezTo>
                    <a:pt x="290" y="34"/>
                    <a:pt x="288" y="40"/>
                    <a:pt x="288" y="40"/>
                  </a:cubicBezTo>
                  <a:cubicBezTo>
                    <a:pt x="276" y="42"/>
                    <a:pt x="276" y="42"/>
                    <a:pt x="276" y="42"/>
                  </a:cubicBezTo>
                  <a:cubicBezTo>
                    <a:pt x="277" y="55"/>
                    <a:pt x="277" y="55"/>
                    <a:pt x="277" y="55"/>
                  </a:cubicBezTo>
                  <a:cubicBezTo>
                    <a:pt x="269" y="55"/>
                    <a:pt x="269" y="55"/>
                    <a:pt x="269" y="55"/>
                  </a:cubicBezTo>
                  <a:cubicBezTo>
                    <a:pt x="269" y="55"/>
                    <a:pt x="258" y="64"/>
                    <a:pt x="258" y="65"/>
                  </a:cubicBezTo>
                  <a:cubicBezTo>
                    <a:pt x="258" y="66"/>
                    <a:pt x="245" y="58"/>
                    <a:pt x="245" y="58"/>
                  </a:cubicBezTo>
                  <a:cubicBezTo>
                    <a:pt x="246" y="45"/>
                    <a:pt x="246" y="45"/>
                    <a:pt x="246" y="45"/>
                  </a:cubicBezTo>
                  <a:cubicBezTo>
                    <a:pt x="236" y="45"/>
                    <a:pt x="236" y="45"/>
                    <a:pt x="236" y="45"/>
                  </a:cubicBezTo>
                  <a:cubicBezTo>
                    <a:pt x="239" y="35"/>
                    <a:pt x="239" y="35"/>
                    <a:pt x="239" y="35"/>
                  </a:cubicBezTo>
                  <a:cubicBezTo>
                    <a:pt x="246" y="31"/>
                    <a:pt x="246" y="31"/>
                    <a:pt x="246" y="31"/>
                  </a:cubicBezTo>
                  <a:cubicBezTo>
                    <a:pt x="243" y="22"/>
                    <a:pt x="243" y="22"/>
                    <a:pt x="243" y="22"/>
                  </a:cubicBezTo>
                  <a:cubicBezTo>
                    <a:pt x="243" y="22"/>
                    <a:pt x="254" y="18"/>
                    <a:pt x="256" y="14"/>
                  </a:cubicBezTo>
                  <a:cubicBezTo>
                    <a:pt x="259" y="10"/>
                    <a:pt x="239" y="0"/>
                    <a:pt x="239" y="0"/>
                  </a:cubicBezTo>
                  <a:cubicBezTo>
                    <a:pt x="239" y="0"/>
                    <a:pt x="224" y="14"/>
                    <a:pt x="224" y="15"/>
                  </a:cubicBezTo>
                  <a:cubicBezTo>
                    <a:pt x="224" y="16"/>
                    <a:pt x="220" y="17"/>
                    <a:pt x="217" y="17"/>
                  </a:cubicBezTo>
                  <a:cubicBezTo>
                    <a:pt x="214" y="17"/>
                    <a:pt x="212" y="21"/>
                    <a:pt x="208" y="24"/>
                  </a:cubicBezTo>
                  <a:cubicBezTo>
                    <a:pt x="204" y="26"/>
                    <a:pt x="194" y="33"/>
                    <a:pt x="194" y="34"/>
                  </a:cubicBezTo>
                  <a:cubicBezTo>
                    <a:pt x="193" y="35"/>
                    <a:pt x="189" y="29"/>
                    <a:pt x="189" y="29"/>
                  </a:cubicBezTo>
                  <a:cubicBezTo>
                    <a:pt x="189" y="29"/>
                    <a:pt x="181" y="35"/>
                    <a:pt x="180" y="36"/>
                  </a:cubicBezTo>
                  <a:cubicBezTo>
                    <a:pt x="179" y="36"/>
                    <a:pt x="173" y="25"/>
                    <a:pt x="173" y="25"/>
                  </a:cubicBezTo>
                  <a:cubicBezTo>
                    <a:pt x="162" y="33"/>
                    <a:pt x="162" y="33"/>
                    <a:pt x="162" y="33"/>
                  </a:cubicBezTo>
                  <a:cubicBezTo>
                    <a:pt x="150" y="22"/>
                    <a:pt x="150" y="22"/>
                    <a:pt x="150" y="22"/>
                  </a:cubicBezTo>
                  <a:cubicBezTo>
                    <a:pt x="150" y="23"/>
                    <a:pt x="150" y="23"/>
                    <a:pt x="150" y="23"/>
                  </a:cubicBezTo>
                  <a:cubicBezTo>
                    <a:pt x="150" y="23"/>
                    <a:pt x="148" y="24"/>
                    <a:pt x="143" y="25"/>
                  </a:cubicBezTo>
                  <a:cubicBezTo>
                    <a:pt x="137" y="26"/>
                    <a:pt x="137" y="37"/>
                    <a:pt x="137" y="37"/>
                  </a:cubicBezTo>
                  <a:cubicBezTo>
                    <a:pt x="121" y="25"/>
                    <a:pt x="121" y="25"/>
                    <a:pt x="121" y="25"/>
                  </a:cubicBezTo>
                  <a:cubicBezTo>
                    <a:pt x="118" y="28"/>
                    <a:pt x="118" y="28"/>
                    <a:pt x="118" y="28"/>
                  </a:cubicBezTo>
                  <a:cubicBezTo>
                    <a:pt x="118" y="28"/>
                    <a:pt x="116" y="26"/>
                    <a:pt x="114" y="18"/>
                  </a:cubicBezTo>
                  <a:cubicBezTo>
                    <a:pt x="112" y="10"/>
                    <a:pt x="102" y="14"/>
                    <a:pt x="102" y="14"/>
                  </a:cubicBezTo>
                  <a:cubicBezTo>
                    <a:pt x="102" y="14"/>
                    <a:pt x="98" y="4"/>
                    <a:pt x="87" y="3"/>
                  </a:cubicBezTo>
                  <a:cubicBezTo>
                    <a:pt x="75" y="3"/>
                    <a:pt x="65" y="13"/>
                    <a:pt x="65" y="13"/>
                  </a:cubicBezTo>
                  <a:cubicBezTo>
                    <a:pt x="59" y="10"/>
                    <a:pt x="59" y="10"/>
                    <a:pt x="59" y="10"/>
                  </a:cubicBezTo>
                  <a:cubicBezTo>
                    <a:pt x="43" y="6"/>
                    <a:pt x="43" y="6"/>
                    <a:pt x="43" y="6"/>
                  </a:cubicBezTo>
                  <a:cubicBezTo>
                    <a:pt x="44" y="7"/>
                    <a:pt x="44" y="7"/>
                    <a:pt x="44" y="7"/>
                  </a:cubicBezTo>
                  <a:cubicBezTo>
                    <a:pt x="44" y="7"/>
                    <a:pt x="31" y="14"/>
                    <a:pt x="31" y="14"/>
                  </a:cubicBezTo>
                  <a:cubicBezTo>
                    <a:pt x="31" y="15"/>
                    <a:pt x="33" y="20"/>
                    <a:pt x="35" y="24"/>
                  </a:cubicBezTo>
                  <a:cubicBezTo>
                    <a:pt x="36" y="28"/>
                    <a:pt x="30" y="34"/>
                    <a:pt x="30" y="44"/>
                  </a:cubicBezTo>
                  <a:cubicBezTo>
                    <a:pt x="30" y="54"/>
                    <a:pt x="22" y="91"/>
                    <a:pt x="22" y="91"/>
                  </a:cubicBezTo>
                  <a:cubicBezTo>
                    <a:pt x="22" y="91"/>
                    <a:pt x="10" y="98"/>
                    <a:pt x="0" y="105"/>
                  </a:cubicBezTo>
                  <a:cubicBezTo>
                    <a:pt x="9" y="106"/>
                    <a:pt x="18" y="108"/>
                    <a:pt x="20" y="115"/>
                  </a:cubicBezTo>
                  <a:cubicBezTo>
                    <a:pt x="24" y="126"/>
                    <a:pt x="28" y="140"/>
                    <a:pt x="35" y="137"/>
                  </a:cubicBezTo>
                  <a:cubicBezTo>
                    <a:pt x="41" y="135"/>
                    <a:pt x="55" y="123"/>
                    <a:pt x="56" y="118"/>
                  </a:cubicBezTo>
                  <a:cubicBezTo>
                    <a:pt x="58" y="114"/>
                    <a:pt x="60" y="111"/>
                    <a:pt x="60" y="111"/>
                  </a:cubicBezTo>
                  <a:cubicBezTo>
                    <a:pt x="60" y="111"/>
                    <a:pt x="60" y="114"/>
                    <a:pt x="68" y="111"/>
                  </a:cubicBezTo>
                  <a:cubicBezTo>
                    <a:pt x="75" y="109"/>
                    <a:pt x="82" y="105"/>
                    <a:pt x="82" y="104"/>
                  </a:cubicBezTo>
                  <a:cubicBezTo>
                    <a:pt x="82" y="103"/>
                    <a:pt x="81" y="96"/>
                    <a:pt x="81" y="96"/>
                  </a:cubicBezTo>
                  <a:cubicBezTo>
                    <a:pt x="91" y="94"/>
                    <a:pt x="91" y="94"/>
                    <a:pt x="91" y="94"/>
                  </a:cubicBezTo>
                  <a:cubicBezTo>
                    <a:pt x="91" y="94"/>
                    <a:pt x="92" y="86"/>
                    <a:pt x="92" y="85"/>
                  </a:cubicBezTo>
                  <a:cubicBezTo>
                    <a:pt x="92" y="85"/>
                    <a:pt x="112" y="77"/>
                    <a:pt x="112" y="77"/>
                  </a:cubicBezTo>
                  <a:cubicBezTo>
                    <a:pt x="112" y="77"/>
                    <a:pt x="122" y="87"/>
                    <a:pt x="127" y="89"/>
                  </a:cubicBezTo>
                  <a:cubicBezTo>
                    <a:pt x="133" y="91"/>
                    <a:pt x="154" y="104"/>
                    <a:pt x="154" y="104"/>
                  </a:cubicBezTo>
                  <a:cubicBezTo>
                    <a:pt x="154" y="104"/>
                    <a:pt x="165" y="94"/>
                    <a:pt x="165" y="96"/>
                  </a:cubicBezTo>
                  <a:cubicBezTo>
                    <a:pt x="165" y="97"/>
                    <a:pt x="167" y="110"/>
                    <a:pt x="167" y="110"/>
                  </a:cubicBezTo>
                  <a:cubicBezTo>
                    <a:pt x="176" y="107"/>
                    <a:pt x="176" y="107"/>
                    <a:pt x="176" y="107"/>
                  </a:cubicBezTo>
                  <a:cubicBezTo>
                    <a:pt x="178" y="111"/>
                    <a:pt x="178" y="111"/>
                    <a:pt x="178" y="111"/>
                  </a:cubicBezTo>
                  <a:cubicBezTo>
                    <a:pt x="175" y="117"/>
                    <a:pt x="175" y="117"/>
                    <a:pt x="175" y="117"/>
                  </a:cubicBezTo>
                  <a:cubicBezTo>
                    <a:pt x="183" y="127"/>
                    <a:pt x="183" y="127"/>
                    <a:pt x="183" y="127"/>
                  </a:cubicBezTo>
                  <a:cubicBezTo>
                    <a:pt x="183" y="127"/>
                    <a:pt x="188" y="120"/>
                    <a:pt x="194" y="116"/>
                  </a:cubicBezTo>
                  <a:cubicBezTo>
                    <a:pt x="200" y="112"/>
                    <a:pt x="207" y="98"/>
                    <a:pt x="207" y="98"/>
                  </a:cubicBezTo>
                  <a:cubicBezTo>
                    <a:pt x="207" y="98"/>
                    <a:pt x="214" y="107"/>
                    <a:pt x="215" y="107"/>
                  </a:cubicBezTo>
                  <a:cubicBezTo>
                    <a:pt x="216" y="107"/>
                    <a:pt x="226" y="105"/>
                    <a:pt x="226" y="105"/>
                  </a:cubicBezTo>
                  <a:cubicBezTo>
                    <a:pt x="235" y="114"/>
                    <a:pt x="235" y="114"/>
                    <a:pt x="235" y="114"/>
                  </a:cubicBezTo>
                  <a:cubicBezTo>
                    <a:pt x="239" y="121"/>
                    <a:pt x="239" y="121"/>
                    <a:pt x="239" y="121"/>
                  </a:cubicBezTo>
                  <a:cubicBezTo>
                    <a:pt x="249" y="123"/>
                    <a:pt x="249" y="123"/>
                    <a:pt x="249" y="123"/>
                  </a:cubicBezTo>
                  <a:cubicBezTo>
                    <a:pt x="258" y="130"/>
                    <a:pt x="258" y="130"/>
                    <a:pt x="258" y="130"/>
                  </a:cubicBezTo>
                  <a:cubicBezTo>
                    <a:pt x="263" y="122"/>
                    <a:pt x="263" y="122"/>
                    <a:pt x="263" y="122"/>
                  </a:cubicBezTo>
                  <a:cubicBezTo>
                    <a:pt x="263" y="122"/>
                    <a:pt x="277" y="127"/>
                    <a:pt x="283" y="125"/>
                  </a:cubicBezTo>
                  <a:cubicBezTo>
                    <a:pt x="289" y="122"/>
                    <a:pt x="291" y="117"/>
                    <a:pt x="291" y="117"/>
                  </a:cubicBezTo>
                  <a:cubicBezTo>
                    <a:pt x="302" y="117"/>
                    <a:pt x="302" y="117"/>
                    <a:pt x="302" y="117"/>
                  </a:cubicBezTo>
                  <a:cubicBezTo>
                    <a:pt x="302" y="117"/>
                    <a:pt x="306" y="103"/>
                    <a:pt x="311" y="101"/>
                  </a:cubicBezTo>
                  <a:cubicBezTo>
                    <a:pt x="316" y="100"/>
                    <a:pt x="323" y="96"/>
                    <a:pt x="324" y="96"/>
                  </a:cubicBezTo>
                  <a:cubicBezTo>
                    <a:pt x="324" y="96"/>
                    <a:pt x="334" y="101"/>
                    <a:pt x="334" y="101"/>
                  </a:cubicBezTo>
                  <a:cubicBezTo>
                    <a:pt x="342" y="97"/>
                    <a:pt x="342" y="97"/>
                    <a:pt x="342" y="97"/>
                  </a:cubicBezTo>
                  <a:cubicBezTo>
                    <a:pt x="370" y="97"/>
                    <a:pt x="370" y="97"/>
                    <a:pt x="370" y="97"/>
                  </a:cubicBezTo>
                  <a:cubicBezTo>
                    <a:pt x="377" y="86"/>
                    <a:pt x="377" y="76"/>
                    <a:pt x="377" y="76"/>
                  </a:cubicBezTo>
                  <a:lnTo>
                    <a:pt x="375" y="65"/>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3" name="Freeform 342">
              <a:extLst>
                <a:ext uri="{FF2B5EF4-FFF2-40B4-BE49-F238E27FC236}">
                  <a16:creationId xmlns:a16="http://schemas.microsoft.com/office/drawing/2014/main" id="{EA289684-1A89-4867-96A0-C6D97682E5D9}"/>
                </a:ext>
              </a:extLst>
            </p:cNvPr>
            <p:cNvSpPr>
              <a:spLocks noChangeAspect="1"/>
            </p:cNvSpPr>
            <p:nvPr/>
          </p:nvSpPr>
          <p:spPr bwMode="auto">
            <a:xfrm>
              <a:off x="14426" y="1902"/>
              <a:ext cx="375" cy="203"/>
            </a:xfrm>
            <a:custGeom>
              <a:avLst/>
              <a:gdLst/>
              <a:ahLst/>
              <a:cxnLst>
                <a:cxn ang="0">
                  <a:pos x="109" y="101"/>
                </a:cxn>
                <a:cxn ang="0">
                  <a:pos x="184" y="7"/>
                </a:cxn>
                <a:cxn ang="0">
                  <a:pos x="188" y="1"/>
                </a:cxn>
                <a:cxn ang="0">
                  <a:pos x="160" y="1"/>
                </a:cxn>
                <a:cxn ang="0">
                  <a:pos x="152" y="5"/>
                </a:cxn>
                <a:cxn ang="0">
                  <a:pos x="142" y="0"/>
                </a:cxn>
                <a:cxn ang="0">
                  <a:pos x="129" y="5"/>
                </a:cxn>
                <a:cxn ang="0">
                  <a:pos x="120" y="21"/>
                </a:cxn>
                <a:cxn ang="0">
                  <a:pos x="109" y="21"/>
                </a:cxn>
                <a:cxn ang="0">
                  <a:pos x="101" y="29"/>
                </a:cxn>
                <a:cxn ang="0">
                  <a:pos x="81" y="26"/>
                </a:cxn>
                <a:cxn ang="0">
                  <a:pos x="76" y="34"/>
                </a:cxn>
                <a:cxn ang="0">
                  <a:pos x="67" y="27"/>
                </a:cxn>
                <a:cxn ang="0">
                  <a:pos x="57" y="25"/>
                </a:cxn>
                <a:cxn ang="0">
                  <a:pos x="53" y="18"/>
                </a:cxn>
                <a:cxn ang="0">
                  <a:pos x="44" y="9"/>
                </a:cxn>
                <a:cxn ang="0">
                  <a:pos x="33" y="11"/>
                </a:cxn>
                <a:cxn ang="0">
                  <a:pos x="25" y="2"/>
                </a:cxn>
                <a:cxn ang="0">
                  <a:pos x="12" y="20"/>
                </a:cxn>
                <a:cxn ang="0">
                  <a:pos x="1" y="31"/>
                </a:cxn>
                <a:cxn ang="0">
                  <a:pos x="0" y="30"/>
                </a:cxn>
                <a:cxn ang="0">
                  <a:pos x="0" y="36"/>
                </a:cxn>
                <a:cxn ang="0">
                  <a:pos x="12" y="40"/>
                </a:cxn>
                <a:cxn ang="0">
                  <a:pos x="12" y="45"/>
                </a:cxn>
                <a:cxn ang="0">
                  <a:pos x="26" y="47"/>
                </a:cxn>
                <a:cxn ang="0">
                  <a:pos x="42" y="57"/>
                </a:cxn>
                <a:cxn ang="0">
                  <a:pos x="52" y="59"/>
                </a:cxn>
                <a:cxn ang="0">
                  <a:pos x="63" y="67"/>
                </a:cxn>
                <a:cxn ang="0">
                  <a:pos x="74" y="72"/>
                </a:cxn>
                <a:cxn ang="0">
                  <a:pos x="80" y="84"/>
                </a:cxn>
                <a:cxn ang="0">
                  <a:pos x="98" y="88"/>
                </a:cxn>
                <a:cxn ang="0">
                  <a:pos x="102" y="94"/>
                </a:cxn>
                <a:cxn ang="0">
                  <a:pos x="102" y="100"/>
                </a:cxn>
                <a:cxn ang="0">
                  <a:pos x="109" y="101"/>
                </a:cxn>
              </a:cxnLst>
              <a:rect l="0" t="0" r="r" b="b"/>
              <a:pathLst>
                <a:path w="188" h="101">
                  <a:moveTo>
                    <a:pt x="109" y="101"/>
                  </a:moveTo>
                  <a:cubicBezTo>
                    <a:pt x="109" y="101"/>
                    <a:pt x="174" y="21"/>
                    <a:pt x="184" y="7"/>
                  </a:cubicBezTo>
                  <a:cubicBezTo>
                    <a:pt x="186" y="5"/>
                    <a:pt x="187" y="3"/>
                    <a:pt x="188" y="1"/>
                  </a:cubicBezTo>
                  <a:cubicBezTo>
                    <a:pt x="160" y="1"/>
                    <a:pt x="160" y="1"/>
                    <a:pt x="160" y="1"/>
                  </a:cubicBezTo>
                  <a:cubicBezTo>
                    <a:pt x="152" y="5"/>
                    <a:pt x="152" y="5"/>
                    <a:pt x="152" y="5"/>
                  </a:cubicBezTo>
                  <a:cubicBezTo>
                    <a:pt x="152" y="5"/>
                    <a:pt x="142" y="0"/>
                    <a:pt x="142" y="0"/>
                  </a:cubicBezTo>
                  <a:cubicBezTo>
                    <a:pt x="141" y="0"/>
                    <a:pt x="134" y="4"/>
                    <a:pt x="129" y="5"/>
                  </a:cubicBezTo>
                  <a:cubicBezTo>
                    <a:pt x="124" y="7"/>
                    <a:pt x="120" y="21"/>
                    <a:pt x="120" y="21"/>
                  </a:cubicBezTo>
                  <a:cubicBezTo>
                    <a:pt x="109" y="21"/>
                    <a:pt x="109" y="21"/>
                    <a:pt x="109" y="21"/>
                  </a:cubicBezTo>
                  <a:cubicBezTo>
                    <a:pt x="109" y="21"/>
                    <a:pt x="107" y="26"/>
                    <a:pt x="101" y="29"/>
                  </a:cubicBezTo>
                  <a:cubicBezTo>
                    <a:pt x="95" y="31"/>
                    <a:pt x="81" y="26"/>
                    <a:pt x="81" y="26"/>
                  </a:cubicBezTo>
                  <a:cubicBezTo>
                    <a:pt x="76" y="34"/>
                    <a:pt x="76" y="34"/>
                    <a:pt x="76" y="34"/>
                  </a:cubicBezTo>
                  <a:cubicBezTo>
                    <a:pt x="67" y="27"/>
                    <a:pt x="67" y="27"/>
                    <a:pt x="67" y="27"/>
                  </a:cubicBezTo>
                  <a:cubicBezTo>
                    <a:pt x="57" y="25"/>
                    <a:pt x="57" y="25"/>
                    <a:pt x="57" y="25"/>
                  </a:cubicBezTo>
                  <a:cubicBezTo>
                    <a:pt x="53" y="18"/>
                    <a:pt x="53" y="18"/>
                    <a:pt x="53" y="18"/>
                  </a:cubicBezTo>
                  <a:cubicBezTo>
                    <a:pt x="44" y="9"/>
                    <a:pt x="44" y="9"/>
                    <a:pt x="44" y="9"/>
                  </a:cubicBezTo>
                  <a:cubicBezTo>
                    <a:pt x="44" y="9"/>
                    <a:pt x="34" y="11"/>
                    <a:pt x="33" y="11"/>
                  </a:cubicBezTo>
                  <a:cubicBezTo>
                    <a:pt x="32" y="11"/>
                    <a:pt x="25" y="2"/>
                    <a:pt x="25" y="2"/>
                  </a:cubicBezTo>
                  <a:cubicBezTo>
                    <a:pt x="25" y="2"/>
                    <a:pt x="18" y="16"/>
                    <a:pt x="12" y="20"/>
                  </a:cubicBezTo>
                  <a:cubicBezTo>
                    <a:pt x="6" y="24"/>
                    <a:pt x="1" y="31"/>
                    <a:pt x="1" y="31"/>
                  </a:cubicBezTo>
                  <a:cubicBezTo>
                    <a:pt x="0" y="30"/>
                    <a:pt x="0" y="30"/>
                    <a:pt x="0" y="30"/>
                  </a:cubicBezTo>
                  <a:cubicBezTo>
                    <a:pt x="0" y="36"/>
                    <a:pt x="0" y="36"/>
                    <a:pt x="0" y="36"/>
                  </a:cubicBezTo>
                  <a:cubicBezTo>
                    <a:pt x="0" y="36"/>
                    <a:pt x="12" y="36"/>
                    <a:pt x="12" y="40"/>
                  </a:cubicBezTo>
                  <a:cubicBezTo>
                    <a:pt x="12" y="44"/>
                    <a:pt x="12" y="45"/>
                    <a:pt x="12" y="45"/>
                  </a:cubicBezTo>
                  <a:cubicBezTo>
                    <a:pt x="12" y="45"/>
                    <a:pt x="21" y="45"/>
                    <a:pt x="26" y="47"/>
                  </a:cubicBezTo>
                  <a:cubicBezTo>
                    <a:pt x="31" y="50"/>
                    <a:pt x="42" y="57"/>
                    <a:pt x="42" y="57"/>
                  </a:cubicBezTo>
                  <a:cubicBezTo>
                    <a:pt x="52" y="59"/>
                    <a:pt x="52" y="59"/>
                    <a:pt x="52" y="59"/>
                  </a:cubicBezTo>
                  <a:cubicBezTo>
                    <a:pt x="52" y="59"/>
                    <a:pt x="57" y="66"/>
                    <a:pt x="63" y="67"/>
                  </a:cubicBezTo>
                  <a:cubicBezTo>
                    <a:pt x="68" y="69"/>
                    <a:pt x="74" y="72"/>
                    <a:pt x="74" y="72"/>
                  </a:cubicBezTo>
                  <a:cubicBezTo>
                    <a:pt x="74" y="72"/>
                    <a:pt x="72" y="79"/>
                    <a:pt x="80" y="84"/>
                  </a:cubicBezTo>
                  <a:cubicBezTo>
                    <a:pt x="88" y="88"/>
                    <a:pt x="98" y="88"/>
                    <a:pt x="98" y="88"/>
                  </a:cubicBezTo>
                  <a:cubicBezTo>
                    <a:pt x="98" y="88"/>
                    <a:pt x="103" y="94"/>
                    <a:pt x="102" y="94"/>
                  </a:cubicBezTo>
                  <a:cubicBezTo>
                    <a:pt x="102" y="94"/>
                    <a:pt x="102" y="97"/>
                    <a:pt x="102" y="100"/>
                  </a:cubicBezTo>
                  <a:cubicBezTo>
                    <a:pt x="106" y="99"/>
                    <a:pt x="109" y="101"/>
                    <a:pt x="109" y="101"/>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4" name="Freeform 344">
              <a:extLst>
                <a:ext uri="{FF2B5EF4-FFF2-40B4-BE49-F238E27FC236}">
                  <a16:creationId xmlns:a16="http://schemas.microsoft.com/office/drawing/2014/main" id="{A601600E-940D-4E2E-97A1-C3DAF5770998}"/>
                </a:ext>
              </a:extLst>
            </p:cNvPr>
            <p:cNvSpPr>
              <a:spLocks noChangeAspect="1"/>
            </p:cNvSpPr>
            <p:nvPr/>
          </p:nvSpPr>
          <p:spPr bwMode="auto">
            <a:xfrm>
              <a:off x="14426" y="1984"/>
              <a:ext cx="206" cy="251"/>
            </a:xfrm>
            <a:custGeom>
              <a:avLst/>
              <a:gdLst/>
              <a:ahLst/>
              <a:cxnLst>
                <a:cxn ang="0">
                  <a:pos x="102" y="59"/>
                </a:cxn>
                <a:cxn ang="0">
                  <a:pos x="102" y="53"/>
                </a:cxn>
                <a:cxn ang="0">
                  <a:pos x="98" y="47"/>
                </a:cxn>
                <a:cxn ang="0">
                  <a:pos x="80" y="43"/>
                </a:cxn>
                <a:cxn ang="0">
                  <a:pos x="74" y="31"/>
                </a:cxn>
                <a:cxn ang="0">
                  <a:pos x="63" y="26"/>
                </a:cxn>
                <a:cxn ang="0">
                  <a:pos x="52" y="18"/>
                </a:cxn>
                <a:cxn ang="0">
                  <a:pos x="42" y="16"/>
                </a:cxn>
                <a:cxn ang="0">
                  <a:pos x="26" y="6"/>
                </a:cxn>
                <a:cxn ang="0">
                  <a:pos x="12" y="4"/>
                </a:cxn>
                <a:cxn ang="0">
                  <a:pos x="12" y="0"/>
                </a:cxn>
                <a:cxn ang="0">
                  <a:pos x="8" y="5"/>
                </a:cxn>
                <a:cxn ang="0">
                  <a:pos x="12" y="9"/>
                </a:cxn>
                <a:cxn ang="0">
                  <a:pos x="7" y="13"/>
                </a:cxn>
                <a:cxn ang="0">
                  <a:pos x="12" y="19"/>
                </a:cxn>
                <a:cxn ang="0">
                  <a:pos x="13" y="27"/>
                </a:cxn>
                <a:cxn ang="0">
                  <a:pos x="21" y="31"/>
                </a:cxn>
                <a:cxn ang="0">
                  <a:pos x="31" y="40"/>
                </a:cxn>
                <a:cxn ang="0">
                  <a:pos x="28" y="51"/>
                </a:cxn>
                <a:cxn ang="0">
                  <a:pos x="19" y="56"/>
                </a:cxn>
                <a:cxn ang="0">
                  <a:pos x="24" y="62"/>
                </a:cxn>
                <a:cxn ang="0">
                  <a:pos x="23" y="70"/>
                </a:cxn>
                <a:cxn ang="0">
                  <a:pos x="13" y="76"/>
                </a:cxn>
                <a:cxn ang="0">
                  <a:pos x="7" y="70"/>
                </a:cxn>
                <a:cxn ang="0">
                  <a:pos x="0" y="72"/>
                </a:cxn>
                <a:cxn ang="0">
                  <a:pos x="1" y="88"/>
                </a:cxn>
                <a:cxn ang="0">
                  <a:pos x="4" y="95"/>
                </a:cxn>
                <a:cxn ang="0">
                  <a:pos x="10" y="102"/>
                </a:cxn>
                <a:cxn ang="0">
                  <a:pos x="10" y="114"/>
                </a:cxn>
                <a:cxn ang="0">
                  <a:pos x="21" y="116"/>
                </a:cxn>
                <a:cxn ang="0">
                  <a:pos x="26" y="124"/>
                </a:cxn>
                <a:cxn ang="0">
                  <a:pos x="49" y="125"/>
                </a:cxn>
                <a:cxn ang="0">
                  <a:pos x="89" y="66"/>
                </a:cxn>
                <a:cxn ang="0">
                  <a:pos x="102" y="59"/>
                </a:cxn>
              </a:cxnLst>
              <a:rect l="0" t="0" r="r" b="b"/>
              <a:pathLst>
                <a:path w="103" h="125">
                  <a:moveTo>
                    <a:pt x="102" y="59"/>
                  </a:moveTo>
                  <a:cubicBezTo>
                    <a:pt x="102" y="56"/>
                    <a:pt x="102" y="53"/>
                    <a:pt x="102" y="53"/>
                  </a:cubicBezTo>
                  <a:cubicBezTo>
                    <a:pt x="103" y="53"/>
                    <a:pt x="98" y="47"/>
                    <a:pt x="98" y="47"/>
                  </a:cubicBezTo>
                  <a:cubicBezTo>
                    <a:pt x="98" y="47"/>
                    <a:pt x="88" y="47"/>
                    <a:pt x="80" y="43"/>
                  </a:cubicBezTo>
                  <a:cubicBezTo>
                    <a:pt x="72" y="38"/>
                    <a:pt x="74" y="31"/>
                    <a:pt x="74" y="31"/>
                  </a:cubicBezTo>
                  <a:cubicBezTo>
                    <a:pt x="74" y="31"/>
                    <a:pt x="68" y="28"/>
                    <a:pt x="63" y="26"/>
                  </a:cubicBezTo>
                  <a:cubicBezTo>
                    <a:pt x="57" y="25"/>
                    <a:pt x="52" y="18"/>
                    <a:pt x="52" y="18"/>
                  </a:cubicBezTo>
                  <a:cubicBezTo>
                    <a:pt x="42" y="16"/>
                    <a:pt x="42" y="16"/>
                    <a:pt x="42" y="16"/>
                  </a:cubicBezTo>
                  <a:cubicBezTo>
                    <a:pt x="42" y="16"/>
                    <a:pt x="31" y="9"/>
                    <a:pt x="26" y="6"/>
                  </a:cubicBezTo>
                  <a:cubicBezTo>
                    <a:pt x="21" y="4"/>
                    <a:pt x="12" y="4"/>
                    <a:pt x="12" y="4"/>
                  </a:cubicBezTo>
                  <a:cubicBezTo>
                    <a:pt x="12" y="4"/>
                    <a:pt x="12" y="3"/>
                    <a:pt x="12" y="0"/>
                  </a:cubicBezTo>
                  <a:cubicBezTo>
                    <a:pt x="8" y="5"/>
                    <a:pt x="8" y="5"/>
                    <a:pt x="8" y="5"/>
                  </a:cubicBezTo>
                  <a:cubicBezTo>
                    <a:pt x="12" y="9"/>
                    <a:pt x="12" y="9"/>
                    <a:pt x="12" y="9"/>
                  </a:cubicBezTo>
                  <a:cubicBezTo>
                    <a:pt x="7" y="13"/>
                    <a:pt x="7" y="13"/>
                    <a:pt x="7" y="13"/>
                  </a:cubicBezTo>
                  <a:cubicBezTo>
                    <a:pt x="12" y="19"/>
                    <a:pt x="12" y="19"/>
                    <a:pt x="12" y="19"/>
                  </a:cubicBezTo>
                  <a:cubicBezTo>
                    <a:pt x="13" y="27"/>
                    <a:pt x="13" y="27"/>
                    <a:pt x="13" y="27"/>
                  </a:cubicBezTo>
                  <a:cubicBezTo>
                    <a:pt x="21" y="31"/>
                    <a:pt x="21" y="31"/>
                    <a:pt x="21" y="31"/>
                  </a:cubicBezTo>
                  <a:cubicBezTo>
                    <a:pt x="31" y="40"/>
                    <a:pt x="31" y="40"/>
                    <a:pt x="31" y="40"/>
                  </a:cubicBezTo>
                  <a:cubicBezTo>
                    <a:pt x="28" y="51"/>
                    <a:pt x="28" y="51"/>
                    <a:pt x="28" y="51"/>
                  </a:cubicBezTo>
                  <a:cubicBezTo>
                    <a:pt x="19" y="56"/>
                    <a:pt x="19" y="56"/>
                    <a:pt x="19" y="56"/>
                  </a:cubicBezTo>
                  <a:cubicBezTo>
                    <a:pt x="24" y="62"/>
                    <a:pt x="24" y="62"/>
                    <a:pt x="24" y="62"/>
                  </a:cubicBezTo>
                  <a:cubicBezTo>
                    <a:pt x="23" y="70"/>
                    <a:pt x="23" y="70"/>
                    <a:pt x="23" y="70"/>
                  </a:cubicBezTo>
                  <a:cubicBezTo>
                    <a:pt x="13" y="76"/>
                    <a:pt x="13" y="76"/>
                    <a:pt x="13" y="76"/>
                  </a:cubicBezTo>
                  <a:cubicBezTo>
                    <a:pt x="7" y="70"/>
                    <a:pt x="7" y="70"/>
                    <a:pt x="7" y="70"/>
                  </a:cubicBezTo>
                  <a:cubicBezTo>
                    <a:pt x="0" y="72"/>
                    <a:pt x="0" y="72"/>
                    <a:pt x="0" y="72"/>
                  </a:cubicBezTo>
                  <a:cubicBezTo>
                    <a:pt x="1" y="88"/>
                    <a:pt x="1" y="88"/>
                    <a:pt x="1" y="88"/>
                  </a:cubicBezTo>
                  <a:cubicBezTo>
                    <a:pt x="1" y="88"/>
                    <a:pt x="4" y="93"/>
                    <a:pt x="4" y="95"/>
                  </a:cubicBezTo>
                  <a:cubicBezTo>
                    <a:pt x="4" y="98"/>
                    <a:pt x="10" y="102"/>
                    <a:pt x="10" y="102"/>
                  </a:cubicBezTo>
                  <a:cubicBezTo>
                    <a:pt x="10" y="114"/>
                    <a:pt x="10" y="114"/>
                    <a:pt x="10" y="114"/>
                  </a:cubicBezTo>
                  <a:cubicBezTo>
                    <a:pt x="21" y="116"/>
                    <a:pt x="21" y="116"/>
                    <a:pt x="21" y="116"/>
                  </a:cubicBezTo>
                  <a:cubicBezTo>
                    <a:pt x="26" y="124"/>
                    <a:pt x="26" y="124"/>
                    <a:pt x="26" y="124"/>
                  </a:cubicBezTo>
                  <a:cubicBezTo>
                    <a:pt x="49" y="125"/>
                    <a:pt x="49" y="125"/>
                    <a:pt x="49" y="125"/>
                  </a:cubicBezTo>
                  <a:cubicBezTo>
                    <a:pt x="64" y="100"/>
                    <a:pt x="82" y="74"/>
                    <a:pt x="89" y="66"/>
                  </a:cubicBezTo>
                  <a:cubicBezTo>
                    <a:pt x="94" y="61"/>
                    <a:pt x="98" y="59"/>
                    <a:pt x="102" y="59"/>
                  </a:cubicBezTo>
                  <a:close/>
                </a:path>
              </a:pathLst>
            </a:custGeom>
            <a:grp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5" name="Freeform 323">
              <a:extLst>
                <a:ext uri="{FF2B5EF4-FFF2-40B4-BE49-F238E27FC236}">
                  <a16:creationId xmlns:a16="http://schemas.microsoft.com/office/drawing/2014/main" id="{C4A01DAD-DBF1-4F3B-8655-921C42ABC8B7}"/>
                </a:ext>
              </a:extLst>
            </p:cNvPr>
            <p:cNvSpPr>
              <a:spLocks noChangeAspect="1"/>
            </p:cNvSpPr>
            <p:nvPr/>
          </p:nvSpPr>
          <p:spPr bwMode="auto">
            <a:xfrm>
              <a:off x="11921" y="523"/>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226" name="Freeform 324">
              <a:extLst>
                <a:ext uri="{FF2B5EF4-FFF2-40B4-BE49-F238E27FC236}">
                  <a16:creationId xmlns:a16="http://schemas.microsoft.com/office/drawing/2014/main" id="{FAEFDB62-0B7D-49B6-90F8-B78176316F02}"/>
                </a:ext>
              </a:extLst>
            </p:cNvPr>
            <p:cNvSpPr>
              <a:spLocks noChangeAspect="1"/>
            </p:cNvSpPr>
            <p:nvPr/>
          </p:nvSpPr>
          <p:spPr bwMode="auto">
            <a:xfrm>
              <a:off x="12909" y="1460"/>
              <a:ext cx="621" cy="1009"/>
            </a:xfrm>
            <a:custGeom>
              <a:avLst/>
              <a:gdLst/>
              <a:ahLst/>
              <a:cxnLst>
                <a:cxn ang="0">
                  <a:pos x="9" y="363"/>
                </a:cxn>
                <a:cxn ang="0">
                  <a:pos x="2" y="400"/>
                </a:cxn>
                <a:cxn ang="0">
                  <a:pos x="8" y="434"/>
                </a:cxn>
                <a:cxn ang="0">
                  <a:pos x="39" y="437"/>
                </a:cxn>
                <a:cxn ang="0">
                  <a:pos x="52" y="473"/>
                </a:cxn>
                <a:cxn ang="0">
                  <a:pos x="100" y="461"/>
                </a:cxn>
                <a:cxn ang="0">
                  <a:pos x="118" y="465"/>
                </a:cxn>
                <a:cxn ang="0">
                  <a:pos x="129" y="491"/>
                </a:cxn>
                <a:cxn ang="0">
                  <a:pos x="141" y="495"/>
                </a:cxn>
                <a:cxn ang="0">
                  <a:pos x="160" y="493"/>
                </a:cxn>
                <a:cxn ang="0">
                  <a:pos x="187" y="504"/>
                </a:cxn>
                <a:cxn ang="0">
                  <a:pos x="189" y="480"/>
                </a:cxn>
                <a:cxn ang="0">
                  <a:pos x="212" y="483"/>
                </a:cxn>
                <a:cxn ang="0">
                  <a:pos x="237" y="473"/>
                </a:cxn>
                <a:cxn ang="0">
                  <a:pos x="264" y="468"/>
                </a:cxn>
                <a:cxn ang="0">
                  <a:pos x="264" y="429"/>
                </a:cxn>
                <a:cxn ang="0">
                  <a:pos x="278" y="407"/>
                </a:cxn>
                <a:cxn ang="0">
                  <a:pos x="279" y="390"/>
                </a:cxn>
                <a:cxn ang="0">
                  <a:pos x="249" y="370"/>
                </a:cxn>
                <a:cxn ang="0">
                  <a:pos x="272" y="329"/>
                </a:cxn>
                <a:cxn ang="0">
                  <a:pos x="310" y="309"/>
                </a:cxn>
                <a:cxn ang="0">
                  <a:pos x="293" y="311"/>
                </a:cxn>
                <a:cxn ang="0">
                  <a:pos x="264" y="301"/>
                </a:cxn>
                <a:cxn ang="0">
                  <a:pos x="248" y="280"/>
                </a:cxn>
                <a:cxn ang="0">
                  <a:pos x="240" y="254"/>
                </a:cxn>
                <a:cxn ang="0">
                  <a:pos x="221" y="236"/>
                </a:cxn>
                <a:cxn ang="0">
                  <a:pos x="238" y="201"/>
                </a:cxn>
                <a:cxn ang="0">
                  <a:pos x="258" y="170"/>
                </a:cxn>
                <a:cxn ang="0">
                  <a:pos x="179" y="124"/>
                </a:cxn>
                <a:cxn ang="0">
                  <a:pos x="204" y="68"/>
                </a:cxn>
                <a:cxn ang="0">
                  <a:pos x="175" y="14"/>
                </a:cxn>
                <a:cxn ang="0">
                  <a:pos x="161" y="11"/>
                </a:cxn>
                <a:cxn ang="0">
                  <a:pos x="130" y="14"/>
                </a:cxn>
                <a:cxn ang="0">
                  <a:pos x="119" y="14"/>
                </a:cxn>
                <a:cxn ang="0">
                  <a:pos x="146" y="23"/>
                </a:cxn>
                <a:cxn ang="0">
                  <a:pos x="152" y="40"/>
                </a:cxn>
                <a:cxn ang="0">
                  <a:pos x="143" y="51"/>
                </a:cxn>
                <a:cxn ang="0">
                  <a:pos x="140" y="63"/>
                </a:cxn>
                <a:cxn ang="0">
                  <a:pos x="130" y="79"/>
                </a:cxn>
                <a:cxn ang="0">
                  <a:pos x="106" y="97"/>
                </a:cxn>
                <a:cxn ang="0">
                  <a:pos x="96" y="130"/>
                </a:cxn>
                <a:cxn ang="0">
                  <a:pos x="86" y="149"/>
                </a:cxn>
                <a:cxn ang="0">
                  <a:pos x="91" y="173"/>
                </a:cxn>
                <a:cxn ang="0">
                  <a:pos x="69" y="222"/>
                </a:cxn>
                <a:cxn ang="0">
                  <a:pos x="53" y="240"/>
                </a:cxn>
                <a:cxn ang="0">
                  <a:pos x="31" y="283"/>
                </a:cxn>
                <a:cxn ang="0">
                  <a:pos x="10" y="332"/>
                </a:cxn>
              </a:cxnLst>
              <a:rect l="0" t="0" r="r" b="b"/>
              <a:pathLst>
                <a:path w="310" h="504">
                  <a:moveTo>
                    <a:pt x="10" y="332"/>
                  </a:moveTo>
                  <a:cubicBezTo>
                    <a:pt x="7" y="343"/>
                    <a:pt x="9" y="363"/>
                    <a:pt x="9" y="363"/>
                  </a:cubicBezTo>
                  <a:cubicBezTo>
                    <a:pt x="0" y="375"/>
                    <a:pt x="0" y="375"/>
                    <a:pt x="0" y="375"/>
                  </a:cubicBezTo>
                  <a:cubicBezTo>
                    <a:pt x="2" y="400"/>
                    <a:pt x="2" y="400"/>
                    <a:pt x="2" y="400"/>
                  </a:cubicBezTo>
                  <a:cubicBezTo>
                    <a:pt x="3" y="430"/>
                    <a:pt x="3" y="430"/>
                    <a:pt x="3" y="430"/>
                  </a:cubicBezTo>
                  <a:cubicBezTo>
                    <a:pt x="8" y="434"/>
                    <a:pt x="8" y="434"/>
                    <a:pt x="8" y="434"/>
                  </a:cubicBezTo>
                  <a:cubicBezTo>
                    <a:pt x="11" y="463"/>
                    <a:pt x="11" y="463"/>
                    <a:pt x="11" y="463"/>
                  </a:cubicBezTo>
                  <a:cubicBezTo>
                    <a:pt x="39" y="437"/>
                    <a:pt x="39" y="437"/>
                    <a:pt x="39" y="437"/>
                  </a:cubicBezTo>
                  <a:cubicBezTo>
                    <a:pt x="27" y="468"/>
                    <a:pt x="27" y="468"/>
                    <a:pt x="27" y="468"/>
                  </a:cubicBezTo>
                  <a:cubicBezTo>
                    <a:pt x="52" y="473"/>
                    <a:pt x="52" y="473"/>
                    <a:pt x="52" y="473"/>
                  </a:cubicBezTo>
                  <a:cubicBezTo>
                    <a:pt x="85" y="492"/>
                    <a:pt x="85" y="492"/>
                    <a:pt x="85" y="492"/>
                  </a:cubicBezTo>
                  <a:cubicBezTo>
                    <a:pt x="100" y="461"/>
                    <a:pt x="100" y="461"/>
                    <a:pt x="100" y="461"/>
                  </a:cubicBezTo>
                  <a:cubicBezTo>
                    <a:pt x="108" y="472"/>
                    <a:pt x="108" y="472"/>
                    <a:pt x="108" y="472"/>
                  </a:cubicBezTo>
                  <a:cubicBezTo>
                    <a:pt x="118" y="465"/>
                    <a:pt x="118" y="465"/>
                    <a:pt x="118" y="465"/>
                  </a:cubicBezTo>
                  <a:cubicBezTo>
                    <a:pt x="133" y="481"/>
                    <a:pt x="133" y="481"/>
                    <a:pt x="133" y="481"/>
                  </a:cubicBezTo>
                  <a:cubicBezTo>
                    <a:pt x="129" y="491"/>
                    <a:pt x="129" y="491"/>
                    <a:pt x="129" y="491"/>
                  </a:cubicBezTo>
                  <a:cubicBezTo>
                    <a:pt x="140" y="488"/>
                    <a:pt x="140" y="488"/>
                    <a:pt x="140" y="488"/>
                  </a:cubicBezTo>
                  <a:cubicBezTo>
                    <a:pt x="141" y="495"/>
                    <a:pt x="141" y="495"/>
                    <a:pt x="141" y="495"/>
                  </a:cubicBezTo>
                  <a:cubicBezTo>
                    <a:pt x="152" y="486"/>
                    <a:pt x="152" y="486"/>
                    <a:pt x="152" y="486"/>
                  </a:cubicBezTo>
                  <a:cubicBezTo>
                    <a:pt x="160" y="493"/>
                    <a:pt x="160" y="493"/>
                    <a:pt x="160" y="493"/>
                  </a:cubicBezTo>
                  <a:cubicBezTo>
                    <a:pt x="172" y="492"/>
                    <a:pt x="172" y="492"/>
                    <a:pt x="172" y="492"/>
                  </a:cubicBezTo>
                  <a:cubicBezTo>
                    <a:pt x="187" y="504"/>
                    <a:pt x="187" y="504"/>
                    <a:pt x="187" y="504"/>
                  </a:cubicBezTo>
                  <a:cubicBezTo>
                    <a:pt x="193" y="497"/>
                    <a:pt x="193" y="497"/>
                    <a:pt x="193" y="497"/>
                  </a:cubicBezTo>
                  <a:cubicBezTo>
                    <a:pt x="189" y="480"/>
                    <a:pt x="189" y="480"/>
                    <a:pt x="189" y="480"/>
                  </a:cubicBezTo>
                  <a:cubicBezTo>
                    <a:pt x="205" y="489"/>
                    <a:pt x="205" y="489"/>
                    <a:pt x="205" y="489"/>
                  </a:cubicBezTo>
                  <a:cubicBezTo>
                    <a:pt x="212" y="483"/>
                    <a:pt x="212" y="483"/>
                    <a:pt x="212" y="483"/>
                  </a:cubicBezTo>
                  <a:cubicBezTo>
                    <a:pt x="224" y="485"/>
                    <a:pt x="224" y="485"/>
                    <a:pt x="224" y="485"/>
                  </a:cubicBezTo>
                  <a:cubicBezTo>
                    <a:pt x="237" y="473"/>
                    <a:pt x="237" y="473"/>
                    <a:pt x="237" y="473"/>
                  </a:cubicBezTo>
                  <a:cubicBezTo>
                    <a:pt x="266" y="468"/>
                    <a:pt x="266" y="468"/>
                    <a:pt x="266" y="468"/>
                  </a:cubicBezTo>
                  <a:cubicBezTo>
                    <a:pt x="265" y="468"/>
                    <a:pt x="265" y="468"/>
                    <a:pt x="264" y="468"/>
                  </a:cubicBezTo>
                  <a:cubicBezTo>
                    <a:pt x="263" y="468"/>
                    <a:pt x="274" y="453"/>
                    <a:pt x="276" y="444"/>
                  </a:cubicBezTo>
                  <a:cubicBezTo>
                    <a:pt x="279" y="436"/>
                    <a:pt x="264" y="429"/>
                    <a:pt x="264" y="429"/>
                  </a:cubicBezTo>
                  <a:cubicBezTo>
                    <a:pt x="266" y="413"/>
                    <a:pt x="266" y="413"/>
                    <a:pt x="266" y="413"/>
                  </a:cubicBezTo>
                  <a:cubicBezTo>
                    <a:pt x="278" y="407"/>
                    <a:pt x="278" y="407"/>
                    <a:pt x="278" y="407"/>
                  </a:cubicBezTo>
                  <a:cubicBezTo>
                    <a:pt x="268" y="401"/>
                    <a:pt x="268" y="401"/>
                    <a:pt x="268" y="401"/>
                  </a:cubicBezTo>
                  <a:cubicBezTo>
                    <a:pt x="279" y="390"/>
                    <a:pt x="279" y="390"/>
                    <a:pt x="279" y="390"/>
                  </a:cubicBezTo>
                  <a:cubicBezTo>
                    <a:pt x="279" y="390"/>
                    <a:pt x="269" y="387"/>
                    <a:pt x="259" y="386"/>
                  </a:cubicBezTo>
                  <a:cubicBezTo>
                    <a:pt x="250" y="386"/>
                    <a:pt x="249" y="370"/>
                    <a:pt x="249" y="370"/>
                  </a:cubicBezTo>
                  <a:cubicBezTo>
                    <a:pt x="269" y="348"/>
                    <a:pt x="269" y="348"/>
                    <a:pt x="269" y="348"/>
                  </a:cubicBezTo>
                  <a:cubicBezTo>
                    <a:pt x="272" y="329"/>
                    <a:pt x="272" y="329"/>
                    <a:pt x="272" y="329"/>
                  </a:cubicBezTo>
                  <a:cubicBezTo>
                    <a:pt x="272" y="329"/>
                    <a:pt x="275" y="329"/>
                    <a:pt x="281" y="329"/>
                  </a:cubicBezTo>
                  <a:cubicBezTo>
                    <a:pt x="287" y="329"/>
                    <a:pt x="310" y="309"/>
                    <a:pt x="310" y="309"/>
                  </a:cubicBezTo>
                  <a:cubicBezTo>
                    <a:pt x="307" y="301"/>
                    <a:pt x="307" y="301"/>
                    <a:pt x="307" y="301"/>
                  </a:cubicBezTo>
                  <a:cubicBezTo>
                    <a:pt x="293" y="311"/>
                    <a:pt x="293" y="311"/>
                    <a:pt x="293" y="311"/>
                  </a:cubicBezTo>
                  <a:cubicBezTo>
                    <a:pt x="287" y="306"/>
                    <a:pt x="287" y="306"/>
                    <a:pt x="287" y="306"/>
                  </a:cubicBezTo>
                  <a:cubicBezTo>
                    <a:pt x="287" y="306"/>
                    <a:pt x="283" y="310"/>
                    <a:pt x="264" y="301"/>
                  </a:cubicBezTo>
                  <a:cubicBezTo>
                    <a:pt x="244" y="292"/>
                    <a:pt x="258" y="283"/>
                    <a:pt x="258" y="283"/>
                  </a:cubicBezTo>
                  <a:cubicBezTo>
                    <a:pt x="248" y="280"/>
                    <a:pt x="248" y="280"/>
                    <a:pt x="248" y="280"/>
                  </a:cubicBezTo>
                  <a:cubicBezTo>
                    <a:pt x="257" y="267"/>
                    <a:pt x="257" y="267"/>
                    <a:pt x="257" y="267"/>
                  </a:cubicBezTo>
                  <a:cubicBezTo>
                    <a:pt x="240" y="254"/>
                    <a:pt x="240" y="254"/>
                    <a:pt x="240" y="254"/>
                  </a:cubicBezTo>
                  <a:cubicBezTo>
                    <a:pt x="238" y="243"/>
                    <a:pt x="238" y="243"/>
                    <a:pt x="238" y="243"/>
                  </a:cubicBezTo>
                  <a:cubicBezTo>
                    <a:pt x="221" y="236"/>
                    <a:pt x="221" y="236"/>
                    <a:pt x="221" y="236"/>
                  </a:cubicBezTo>
                  <a:cubicBezTo>
                    <a:pt x="233" y="225"/>
                    <a:pt x="233" y="225"/>
                    <a:pt x="233" y="225"/>
                  </a:cubicBezTo>
                  <a:cubicBezTo>
                    <a:pt x="233" y="225"/>
                    <a:pt x="232" y="211"/>
                    <a:pt x="238" y="201"/>
                  </a:cubicBezTo>
                  <a:cubicBezTo>
                    <a:pt x="244" y="192"/>
                    <a:pt x="249" y="195"/>
                    <a:pt x="249" y="195"/>
                  </a:cubicBezTo>
                  <a:cubicBezTo>
                    <a:pt x="249" y="195"/>
                    <a:pt x="263" y="184"/>
                    <a:pt x="258" y="170"/>
                  </a:cubicBezTo>
                  <a:cubicBezTo>
                    <a:pt x="253" y="156"/>
                    <a:pt x="226" y="176"/>
                    <a:pt x="226" y="176"/>
                  </a:cubicBezTo>
                  <a:cubicBezTo>
                    <a:pt x="179" y="124"/>
                    <a:pt x="179" y="124"/>
                    <a:pt x="179" y="124"/>
                  </a:cubicBezTo>
                  <a:cubicBezTo>
                    <a:pt x="179" y="124"/>
                    <a:pt x="183" y="122"/>
                    <a:pt x="189" y="120"/>
                  </a:cubicBezTo>
                  <a:cubicBezTo>
                    <a:pt x="194" y="118"/>
                    <a:pt x="204" y="68"/>
                    <a:pt x="204" y="68"/>
                  </a:cubicBezTo>
                  <a:cubicBezTo>
                    <a:pt x="204" y="68"/>
                    <a:pt x="196" y="22"/>
                    <a:pt x="196" y="20"/>
                  </a:cubicBezTo>
                  <a:cubicBezTo>
                    <a:pt x="196" y="19"/>
                    <a:pt x="175" y="14"/>
                    <a:pt x="175" y="14"/>
                  </a:cubicBezTo>
                  <a:cubicBezTo>
                    <a:pt x="173" y="5"/>
                    <a:pt x="173" y="5"/>
                    <a:pt x="173" y="5"/>
                  </a:cubicBezTo>
                  <a:cubicBezTo>
                    <a:pt x="173" y="5"/>
                    <a:pt x="167" y="9"/>
                    <a:pt x="161" y="11"/>
                  </a:cubicBezTo>
                  <a:cubicBezTo>
                    <a:pt x="155" y="14"/>
                    <a:pt x="144" y="0"/>
                    <a:pt x="144" y="0"/>
                  </a:cubicBezTo>
                  <a:cubicBezTo>
                    <a:pt x="130" y="14"/>
                    <a:pt x="130" y="14"/>
                    <a:pt x="130" y="14"/>
                  </a:cubicBezTo>
                  <a:cubicBezTo>
                    <a:pt x="123" y="10"/>
                    <a:pt x="123" y="10"/>
                    <a:pt x="123" y="10"/>
                  </a:cubicBezTo>
                  <a:cubicBezTo>
                    <a:pt x="120" y="12"/>
                    <a:pt x="119" y="14"/>
                    <a:pt x="119" y="14"/>
                  </a:cubicBezTo>
                  <a:cubicBezTo>
                    <a:pt x="146" y="18"/>
                    <a:pt x="146" y="18"/>
                    <a:pt x="146" y="18"/>
                  </a:cubicBezTo>
                  <a:cubicBezTo>
                    <a:pt x="146" y="23"/>
                    <a:pt x="146" y="23"/>
                    <a:pt x="146" y="23"/>
                  </a:cubicBezTo>
                  <a:cubicBezTo>
                    <a:pt x="159" y="33"/>
                    <a:pt x="159" y="33"/>
                    <a:pt x="159" y="33"/>
                  </a:cubicBezTo>
                  <a:cubicBezTo>
                    <a:pt x="159" y="33"/>
                    <a:pt x="152" y="37"/>
                    <a:pt x="152" y="40"/>
                  </a:cubicBezTo>
                  <a:cubicBezTo>
                    <a:pt x="151" y="44"/>
                    <a:pt x="155" y="50"/>
                    <a:pt x="155" y="50"/>
                  </a:cubicBezTo>
                  <a:cubicBezTo>
                    <a:pt x="143" y="51"/>
                    <a:pt x="143" y="51"/>
                    <a:pt x="143" y="51"/>
                  </a:cubicBezTo>
                  <a:cubicBezTo>
                    <a:pt x="151" y="62"/>
                    <a:pt x="151" y="62"/>
                    <a:pt x="151" y="62"/>
                  </a:cubicBezTo>
                  <a:cubicBezTo>
                    <a:pt x="140" y="63"/>
                    <a:pt x="140" y="63"/>
                    <a:pt x="140" y="63"/>
                  </a:cubicBezTo>
                  <a:cubicBezTo>
                    <a:pt x="140" y="74"/>
                    <a:pt x="140" y="74"/>
                    <a:pt x="140" y="74"/>
                  </a:cubicBezTo>
                  <a:cubicBezTo>
                    <a:pt x="140" y="74"/>
                    <a:pt x="143" y="77"/>
                    <a:pt x="130" y="79"/>
                  </a:cubicBezTo>
                  <a:cubicBezTo>
                    <a:pt x="117" y="81"/>
                    <a:pt x="130" y="87"/>
                    <a:pt x="123" y="93"/>
                  </a:cubicBezTo>
                  <a:cubicBezTo>
                    <a:pt x="116" y="99"/>
                    <a:pt x="106" y="97"/>
                    <a:pt x="106" y="97"/>
                  </a:cubicBezTo>
                  <a:cubicBezTo>
                    <a:pt x="93" y="103"/>
                    <a:pt x="93" y="103"/>
                    <a:pt x="93" y="103"/>
                  </a:cubicBezTo>
                  <a:cubicBezTo>
                    <a:pt x="96" y="130"/>
                    <a:pt x="96" y="130"/>
                    <a:pt x="96" y="130"/>
                  </a:cubicBezTo>
                  <a:cubicBezTo>
                    <a:pt x="86" y="135"/>
                    <a:pt x="86" y="135"/>
                    <a:pt x="86" y="135"/>
                  </a:cubicBezTo>
                  <a:cubicBezTo>
                    <a:pt x="86" y="149"/>
                    <a:pt x="86" y="149"/>
                    <a:pt x="86" y="149"/>
                  </a:cubicBezTo>
                  <a:cubicBezTo>
                    <a:pt x="99" y="162"/>
                    <a:pt x="99" y="162"/>
                    <a:pt x="99" y="162"/>
                  </a:cubicBezTo>
                  <a:cubicBezTo>
                    <a:pt x="91" y="173"/>
                    <a:pt x="91" y="173"/>
                    <a:pt x="91" y="173"/>
                  </a:cubicBezTo>
                  <a:cubicBezTo>
                    <a:pt x="91" y="173"/>
                    <a:pt x="91" y="185"/>
                    <a:pt x="91" y="191"/>
                  </a:cubicBezTo>
                  <a:cubicBezTo>
                    <a:pt x="91" y="197"/>
                    <a:pt x="69" y="222"/>
                    <a:pt x="69" y="222"/>
                  </a:cubicBezTo>
                  <a:cubicBezTo>
                    <a:pt x="66" y="222"/>
                    <a:pt x="66" y="222"/>
                    <a:pt x="66" y="222"/>
                  </a:cubicBezTo>
                  <a:cubicBezTo>
                    <a:pt x="53" y="240"/>
                    <a:pt x="53" y="240"/>
                    <a:pt x="53" y="240"/>
                  </a:cubicBezTo>
                  <a:cubicBezTo>
                    <a:pt x="53" y="240"/>
                    <a:pt x="40" y="255"/>
                    <a:pt x="38" y="270"/>
                  </a:cubicBezTo>
                  <a:cubicBezTo>
                    <a:pt x="37" y="276"/>
                    <a:pt x="34" y="280"/>
                    <a:pt x="31" y="283"/>
                  </a:cubicBezTo>
                  <a:cubicBezTo>
                    <a:pt x="32" y="283"/>
                    <a:pt x="32" y="283"/>
                    <a:pt x="32" y="283"/>
                  </a:cubicBezTo>
                  <a:cubicBezTo>
                    <a:pt x="32" y="283"/>
                    <a:pt x="14" y="321"/>
                    <a:pt x="10" y="332"/>
                  </a:cubicBez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7" name="Freeform 329">
              <a:extLst>
                <a:ext uri="{FF2B5EF4-FFF2-40B4-BE49-F238E27FC236}">
                  <a16:creationId xmlns:a16="http://schemas.microsoft.com/office/drawing/2014/main" id="{8071F997-8498-493A-924E-4EF280306E38}"/>
                </a:ext>
              </a:extLst>
            </p:cNvPr>
            <p:cNvSpPr>
              <a:spLocks noChangeAspect="1"/>
            </p:cNvSpPr>
            <p:nvPr/>
          </p:nvSpPr>
          <p:spPr bwMode="auto">
            <a:xfrm>
              <a:off x="12081" y="4108"/>
              <a:ext cx="962" cy="802"/>
            </a:xfrm>
            <a:custGeom>
              <a:avLst/>
              <a:gdLst/>
              <a:ahLst/>
              <a:cxnLst>
                <a:cxn ang="0">
                  <a:pos x="455" y="134"/>
                </a:cxn>
                <a:cxn ang="0">
                  <a:pos x="451" y="129"/>
                </a:cxn>
                <a:cxn ang="0">
                  <a:pos x="460" y="123"/>
                </a:cxn>
                <a:cxn ang="0">
                  <a:pos x="462" y="108"/>
                </a:cxn>
                <a:cxn ang="0">
                  <a:pos x="476" y="92"/>
                </a:cxn>
                <a:cxn ang="0">
                  <a:pos x="477" y="83"/>
                </a:cxn>
                <a:cxn ang="0">
                  <a:pos x="429" y="83"/>
                </a:cxn>
                <a:cxn ang="0">
                  <a:pos x="389" y="42"/>
                </a:cxn>
                <a:cxn ang="0">
                  <a:pos x="371" y="23"/>
                </a:cxn>
                <a:cxn ang="0">
                  <a:pos x="352" y="25"/>
                </a:cxn>
                <a:cxn ang="0">
                  <a:pos x="299" y="8"/>
                </a:cxn>
                <a:cxn ang="0">
                  <a:pos x="283" y="9"/>
                </a:cxn>
                <a:cxn ang="0">
                  <a:pos x="276" y="0"/>
                </a:cxn>
                <a:cxn ang="0">
                  <a:pos x="264" y="8"/>
                </a:cxn>
                <a:cxn ang="0">
                  <a:pos x="256" y="0"/>
                </a:cxn>
                <a:cxn ang="0">
                  <a:pos x="246" y="8"/>
                </a:cxn>
                <a:cxn ang="0">
                  <a:pos x="233" y="0"/>
                </a:cxn>
                <a:cxn ang="0">
                  <a:pos x="228" y="7"/>
                </a:cxn>
                <a:cxn ang="0">
                  <a:pos x="206" y="21"/>
                </a:cxn>
                <a:cxn ang="0">
                  <a:pos x="188" y="21"/>
                </a:cxn>
                <a:cxn ang="0">
                  <a:pos x="181" y="31"/>
                </a:cxn>
                <a:cxn ang="0">
                  <a:pos x="172" y="30"/>
                </a:cxn>
                <a:cxn ang="0">
                  <a:pos x="160" y="48"/>
                </a:cxn>
                <a:cxn ang="0">
                  <a:pos x="151" y="47"/>
                </a:cxn>
                <a:cxn ang="0">
                  <a:pos x="111" y="68"/>
                </a:cxn>
                <a:cxn ang="0">
                  <a:pos x="115" y="79"/>
                </a:cxn>
                <a:cxn ang="0">
                  <a:pos x="100" y="82"/>
                </a:cxn>
                <a:cxn ang="0">
                  <a:pos x="74" y="110"/>
                </a:cxn>
                <a:cxn ang="0">
                  <a:pos x="73" y="123"/>
                </a:cxn>
                <a:cxn ang="0">
                  <a:pos x="60" y="123"/>
                </a:cxn>
                <a:cxn ang="0">
                  <a:pos x="54" y="135"/>
                </a:cxn>
                <a:cxn ang="0">
                  <a:pos x="38" y="155"/>
                </a:cxn>
                <a:cxn ang="0">
                  <a:pos x="18" y="166"/>
                </a:cxn>
                <a:cxn ang="0">
                  <a:pos x="17" y="175"/>
                </a:cxn>
                <a:cxn ang="0">
                  <a:pos x="0" y="187"/>
                </a:cxn>
                <a:cxn ang="0">
                  <a:pos x="8" y="195"/>
                </a:cxn>
                <a:cxn ang="0">
                  <a:pos x="25" y="195"/>
                </a:cxn>
                <a:cxn ang="0">
                  <a:pos x="34" y="179"/>
                </a:cxn>
                <a:cxn ang="0">
                  <a:pos x="48" y="181"/>
                </a:cxn>
                <a:cxn ang="0">
                  <a:pos x="97" y="225"/>
                </a:cxn>
                <a:cxn ang="0">
                  <a:pos x="99" y="242"/>
                </a:cxn>
                <a:cxn ang="0">
                  <a:pos x="123" y="226"/>
                </a:cxn>
                <a:cxn ang="0">
                  <a:pos x="145" y="251"/>
                </a:cxn>
                <a:cxn ang="0">
                  <a:pos x="167" y="263"/>
                </a:cxn>
                <a:cxn ang="0">
                  <a:pos x="190" y="264"/>
                </a:cxn>
                <a:cxn ang="0">
                  <a:pos x="191" y="272"/>
                </a:cxn>
                <a:cxn ang="0">
                  <a:pos x="214" y="290"/>
                </a:cxn>
                <a:cxn ang="0">
                  <a:pos x="236" y="305"/>
                </a:cxn>
                <a:cxn ang="0">
                  <a:pos x="245" y="324"/>
                </a:cxn>
                <a:cxn ang="0">
                  <a:pos x="265" y="333"/>
                </a:cxn>
                <a:cxn ang="0">
                  <a:pos x="277" y="342"/>
                </a:cxn>
                <a:cxn ang="0">
                  <a:pos x="247" y="364"/>
                </a:cxn>
                <a:cxn ang="0">
                  <a:pos x="248" y="396"/>
                </a:cxn>
                <a:cxn ang="0">
                  <a:pos x="259" y="400"/>
                </a:cxn>
                <a:cxn ang="0">
                  <a:pos x="301" y="361"/>
                </a:cxn>
                <a:cxn ang="0">
                  <a:pos x="316" y="325"/>
                </a:cxn>
                <a:cxn ang="0">
                  <a:pos x="344" y="295"/>
                </a:cxn>
                <a:cxn ang="0">
                  <a:pos x="393" y="261"/>
                </a:cxn>
                <a:cxn ang="0">
                  <a:pos x="436" y="210"/>
                </a:cxn>
                <a:cxn ang="0">
                  <a:pos x="471" y="142"/>
                </a:cxn>
                <a:cxn ang="0">
                  <a:pos x="476" y="135"/>
                </a:cxn>
                <a:cxn ang="0">
                  <a:pos x="464" y="128"/>
                </a:cxn>
                <a:cxn ang="0">
                  <a:pos x="455" y="134"/>
                </a:cxn>
              </a:cxnLst>
              <a:rect l="0" t="0" r="r" b="b"/>
              <a:pathLst>
                <a:path w="481" h="400">
                  <a:moveTo>
                    <a:pt x="455" y="134"/>
                  </a:moveTo>
                  <a:cubicBezTo>
                    <a:pt x="451" y="129"/>
                    <a:pt x="451" y="129"/>
                    <a:pt x="451" y="129"/>
                  </a:cubicBezTo>
                  <a:cubicBezTo>
                    <a:pt x="460" y="123"/>
                    <a:pt x="460" y="123"/>
                    <a:pt x="460" y="123"/>
                  </a:cubicBezTo>
                  <a:cubicBezTo>
                    <a:pt x="462" y="108"/>
                    <a:pt x="462" y="108"/>
                    <a:pt x="462" y="108"/>
                  </a:cubicBezTo>
                  <a:cubicBezTo>
                    <a:pt x="462" y="108"/>
                    <a:pt x="471" y="94"/>
                    <a:pt x="476" y="92"/>
                  </a:cubicBezTo>
                  <a:cubicBezTo>
                    <a:pt x="481" y="90"/>
                    <a:pt x="477" y="84"/>
                    <a:pt x="477" y="83"/>
                  </a:cubicBezTo>
                  <a:cubicBezTo>
                    <a:pt x="478" y="83"/>
                    <a:pt x="429" y="83"/>
                    <a:pt x="429" y="83"/>
                  </a:cubicBezTo>
                  <a:cubicBezTo>
                    <a:pt x="389" y="42"/>
                    <a:pt x="389" y="42"/>
                    <a:pt x="389" y="42"/>
                  </a:cubicBezTo>
                  <a:cubicBezTo>
                    <a:pt x="389" y="42"/>
                    <a:pt x="380" y="31"/>
                    <a:pt x="371" y="23"/>
                  </a:cubicBezTo>
                  <a:cubicBezTo>
                    <a:pt x="363" y="14"/>
                    <a:pt x="352" y="25"/>
                    <a:pt x="352" y="25"/>
                  </a:cubicBezTo>
                  <a:cubicBezTo>
                    <a:pt x="299" y="8"/>
                    <a:pt x="299" y="8"/>
                    <a:pt x="299" y="8"/>
                  </a:cubicBezTo>
                  <a:cubicBezTo>
                    <a:pt x="299" y="8"/>
                    <a:pt x="284" y="9"/>
                    <a:pt x="283" y="9"/>
                  </a:cubicBezTo>
                  <a:cubicBezTo>
                    <a:pt x="283" y="9"/>
                    <a:pt x="276" y="0"/>
                    <a:pt x="276" y="0"/>
                  </a:cubicBezTo>
                  <a:cubicBezTo>
                    <a:pt x="264" y="8"/>
                    <a:pt x="264" y="8"/>
                    <a:pt x="264" y="8"/>
                  </a:cubicBezTo>
                  <a:cubicBezTo>
                    <a:pt x="256" y="0"/>
                    <a:pt x="256" y="0"/>
                    <a:pt x="256" y="0"/>
                  </a:cubicBezTo>
                  <a:cubicBezTo>
                    <a:pt x="256" y="0"/>
                    <a:pt x="250" y="8"/>
                    <a:pt x="246" y="8"/>
                  </a:cubicBezTo>
                  <a:cubicBezTo>
                    <a:pt x="243" y="8"/>
                    <a:pt x="237" y="4"/>
                    <a:pt x="233" y="0"/>
                  </a:cubicBezTo>
                  <a:cubicBezTo>
                    <a:pt x="232" y="4"/>
                    <a:pt x="230" y="6"/>
                    <a:pt x="228" y="7"/>
                  </a:cubicBezTo>
                  <a:cubicBezTo>
                    <a:pt x="223" y="9"/>
                    <a:pt x="206" y="21"/>
                    <a:pt x="206" y="21"/>
                  </a:cubicBezTo>
                  <a:cubicBezTo>
                    <a:pt x="188" y="21"/>
                    <a:pt x="188" y="21"/>
                    <a:pt x="188" y="21"/>
                  </a:cubicBezTo>
                  <a:cubicBezTo>
                    <a:pt x="181" y="31"/>
                    <a:pt x="181" y="31"/>
                    <a:pt x="181" y="31"/>
                  </a:cubicBezTo>
                  <a:cubicBezTo>
                    <a:pt x="181" y="31"/>
                    <a:pt x="174" y="30"/>
                    <a:pt x="172" y="30"/>
                  </a:cubicBezTo>
                  <a:cubicBezTo>
                    <a:pt x="170" y="31"/>
                    <a:pt x="160" y="47"/>
                    <a:pt x="160" y="48"/>
                  </a:cubicBezTo>
                  <a:cubicBezTo>
                    <a:pt x="160" y="49"/>
                    <a:pt x="159" y="48"/>
                    <a:pt x="151" y="47"/>
                  </a:cubicBezTo>
                  <a:cubicBezTo>
                    <a:pt x="143" y="47"/>
                    <a:pt x="111" y="68"/>
                    <a:pt x="111" y="68"/>
                  </a:cubicBezTo>
                  <a:cubicBezTo>
                    <a:pt x="115" y="79"/>
                    <a:pt x="115" y="79"/>
                    <a:pt x="115" y="79"/>
                  </a:cubicBezTo>
                  <a:cubicBezTo>
                    <a:pt x="115" y="79"/>
                    <a:pt x="101" y="82"/>
                    <a:pt x="100" y="82"/>
                  </a:cubicBezTo>
                  <a:cubicBezTo>
                    <a:pt x="99" y="81"/>
                    <a:pt x="74" y="110"/>
                    <a:pt x="74" y="110"/>
                  </a:cubicBezTo>
                  <a:cubicBezTo>
                    <a:pt x="73" y="123"/>
                    <a:pt x="73" y="123"/>
                    <a:pt x="73" y="123"/>
                  </a:cubicBezTo>
                  <a:cubicBezTo>
                    <a:pt x="60" y="123"/>
                    <a:pt x="60" y="123"/>
                    <a:pt x="60" y="123"/>
                  </a:cubicBezTo>
                  <a:cubicBezTo>
                    <a:pt x="54" y="135"/>
                    <a:pt x="54" y="135"/>
                    <a:pt x="54" y="135"/>
                  </a:cubicBezTo>
                  <a:cubicBezTo>
                    <a:pt x="54" y="135"/>
                    <a:pt x="50" y="142"/>
                    <a:pt x="38" y="155"/>
                  </a:cubicBezTo>
                  <a:cubicBezTo>
                    <a:pt x="26" y="168"/>
                    <a:pt x="18" y="166"/>
                    <a:pt x="18" y="166"/>
                  </a:cubicBezTo>
                  <a:cubicBezTo>
                    <a:pt x="17" y="166"/>
                    <a:pt x="18" y="169"/>
                    <a:pt x="17" y="175"/>
                  </a:cubicBezTo>
                  <a:cubicBezTo>
                    <a:pt x="16" y="181"/>
                    <a:pt x="0" y="187"/>
                    <a:pt x="0" y="187"/>
                  </a:cubicBezTo>
                  <a:cubicBezTo>
                    <a:pt x="8" y="195"/>
                    <a:pt x="8" y="195"/>
                    <a:pt x="8" y="195"/>
                  </a:cubicBezTo>
                  <a:cubicBezTo>
                    <a:pt x="25" y="195"/>
                    <a:pt x="25" y="195"/>
                    <a:pt x="25" y="195"/>
                  </a:cubicBezTo>
                  <a:cubicBezTo>
                    <a:pt x="25" y="195"/>
                    <a:pt x="29" y="183"/>
                    <a:pt x="34" y="179"/>
                  </a:cubicBezTo>
                  <a:cubicBezTo>
                    <a:pt x="39" y="176"/>
                    <a:pt x="48" y="181"/>
                    <a:pt x="48" y="181"/>
                  </a:cubicBezTo>
                  <a:cubicBezTo>
                    <a:pt x="97" y="225"/>
                    <a:pt x="97" y="225"/>
                    <a:pt x="97" y="225"/>
                  </a:cubicBezTo>
                  <a:cubicBezTo>
                    <a:pt x="99" y="242"/>
                    <a:pt x="99" y="242"/>
                    <a:pt x="99" y="242"/>
                  </a:cubicBezTo>
                  <a:cubicBezTo>
                    <a:pt x="123" y="226"/>
                    <a:pt x="123" y="226"/>
                    <a:pt x="123" y="226"/>
                  </a:cubicBezTo>
                  <a:cubicBezTo>
                    <a:pt x="123" y="226"/>
                    <a:pt x="144" y="246"/>
                    <a:pt x="145" y="251"/>
                  </a:cubicBezTo>
                  <a:cubicBezTo>
                    <a:pt x="146" y="256"/>
                    <a:pt x="167" y="263"/>
                    <a:pt x="167" y="263"/>
                  </a:cubicBezTo>
                  <a:cubicBezTo>
                    <a:pt x="190" y="264"/>
                    <a:pt x="190" y="264"/>
                    <a:pt x="190" y="264"/>
                  </a:cubicBezTo>
                  <a:cubicBezTo>
                    <a:pt x="190" y="264"/>
                    <a:pt x="191" y="269"/>
                    <a:pt x="191" y="272"/>
                  </a:cubicBezTo>
                  <a:cubicBezTo>
                    <a:pt x="191" y="275"/>
                    <a:pt x="201" y="284"/>
                    <a:pt x="214" y="290"/>
                  </a:cubicBezTo>
                  <a:cubicBezTo>
                    <a:pt x="228" y="296"/>
                    <a:pt x="235" y="301"/>
                    <a:pt x="236" y="305"/>
                  </a:cubicBezTo>
                  <a:cubicBezTo>
                    <a:pt x="237" y="310"/>
                    <a:pt x="240" y="317"/>
                    <a:pt x="245" y="324"/>
                  </a:cubicBezTo>
                  <a:cubicBezTo>
                    <a:pt x="250" y="331"/>
                    <a:pt x="265" y="333"/>
                    <a:pt x="265" y="333"/>
                  </a:cubicBezTo>
                  <a:cubicBezTo>
                    <a:pt x="277" y="342"/>
                    <a:pt x="277" y="342"/>
                    <a:pt x="277" y="342"/>
                  </a:cubicBezTo>
                  <a:cubicBezTo>
                    <a:pt x="247" y="364"/>
                    <a:pt x="247" y="364"/>
                    <a:pt x="247" y="364"/>
                  </a:cubicBezTo>
                  <a:cubicBezTo>
                    <a:pt x="248" y="396"/>
                    <a:pt x="248" y="396"/>
                    <a:pt x="248" y="396"/>
                  </a:cubicBezTo>
                  <a:cubicBezTo>
                    <a:pt x="259" y="400"/>
                    <a:pt x="259" y="400"/>
                    <a:pt x="259" y="400"/>
                  </a:cubicBezTo>
                  <a:cubicBezTo>
                    <a:pt x="259" y="400"/>
                    <a:pt x="286" y="377"/>
                    <a:pt x="301" y="361"/>
                  </a:cubicBezTo>
                  <a:cubicBezTo>
                    <a:pt x="317" y="346"/>
                    <a:pt x="315" y="328"/>
                    <a:pt x="316" y="325"/>
                  </a:cubicBezTo>
                  <a:cubicBezTo>
                    <a:pt x="316" y="322"/>
                    <a:pt x="334" y="302"/>
                    <a:pt x="344" y="295"/>
                  </a:cubicBezTo>
                  <a:cubicBezTo>
                    <a:pt x="354" y="288"/>
                    <a:pt x="376" y="276"/>
                    <a:pt x="393" y="261"/>
                  </a:cubicBezTo>
                  <a:cubicBezTo>
                    <a:pt x="411" y="246"/>
                    <a:pt x="420" y="235"/>
                    <a:pt x="436" y="210"/>
                  </a:cubicBezTo>
                  <a:cubicBezTo>
                    <a:pt x="452" y="184"/>
                    <a:pt x="458" y="162"/>
                    <a:pt x="471" y="142"/>
                  </a:cubicBezTo>
                  <a:cubicBezTo>
                    <a:pt x="472" y="140"/>
                    <a:pt x="474" y="137"/>
                    <a:pt x="476" y="135"/>
                  </a:cubicBezTo>
                  <a:cubicBezTo>
                    <a:pt x="464" y="128"/>
                    <a:pt x="464" y="128"/>
                    <a:pt x="464" y="128"/>
                  </a:cubicBezTo>
                  <a:lnTo>
                    <a:pt x="455" y="134"/>
                  </a:lnTo>
                  <a:close/>
                </a:path>
              </a:pathLst>
            </a:custGeom>
            <a:solidFill>
              <a:srgbClr val="209740"/>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8" name="Freeform 336">
              <a:extLst>
                <a:ext uri="{FF2B5EF4-FFF2-40B4-BE49-F238E27FC236}">
                  <a16:creationId xmlns:a16="http://schemas.microsoft.com/office/drawing/2014/main" id="{9F97074D-AC46-49AB-9312-B58F938ED3FB}"/>
                </a:ext>
              </a:extLst>
            </p:cNvPr>
            <p:cNvSpPr>
              <a:spLocks noChangeAspect="1"/>
            </p:cNvSpPr>
            <p:nvPr/>
          </p:nvSpPr>
          <p:spPr bwMode="auto">
            <a:xfrm>
              <a:off x="13151" y="964"/>
              <a:ext cx="841" cy="1106"/>
            </a:xfrm>
            <a:custGeom>
              <a:avLst/>
              <a:gdLst/>
              <a:ahLst/>
              <a:cxnLst>
                <a:cxn ang="0">
                  <a:pos x="182" y="506"/>
                </a:cxn>
                <a:cxn ang="0">
                  <a:pos x="172" y="488"/>
                </a:cxn>
                <a:cxn ang="0">
                  <a:pos x="176" y="462"/>
                </a:cxn>
                <a:cxn ang="0">
                  <a:pos x="194" y="426"/>
                </a:cxn>
                <a:cxn ang="0">
                  <a:pos x="216" y="389"/>
                </a:cxn>
                <a:cxn ang="0">
                  <a:pos x="234" y="382"/>
                </a:cxn>
                <a:cxn ang="0">
                  <a:pos x="252" y="371"/>
                </a:cxn>
                <a:cxn ang="0">
                  <a:pos x="287" y="342"/>
                </a:cxn>
                <a:cxn ang="0">
                  <a:pos x="318" y="348"/>
                </a:cxn>
                <a:cxn ang="0">
                  <a:pos x="349" y="342"/>
                </a:cxn>
                <a:cxn ang="0">
                  <a:pos x="345" y="304"/>
                </a:cxn>
                <a:cxn ang="0">
                  <a:pos x="346" y="289"/>
                </a:cxn>
                <a:cxn ang="0">
                  <a:pos x="350" y="269"/>
                </a:cxn>
                <a:cxn ang="0">
                  <a:pos x="358" y="258"/>
                </a:cxn>
                <a:cxn ang="0">
                  <a:pos x="351" y="221"/>
                </a:cxn>
                <a:cxn ang="0">
                  <a:pos x="349" y="192"/>
                </a:cxn>
                <a:cxn ang="0">
                  <a:pos x="375" y="147"/>
                </a:cxn>
                <a:cxn ang="0">
                  <a:pos x="403" y="129"/>
                </a:cxn>
                <a:cxn ang="0">
                  <a:pos x="420" y="115"/>
                </a:cxn>
                <a:cxn ang="0">
                  <a:pos x="406" y="94"/>
                </a:cxn>
                <a:cxn ang="0">
                  <a:pos x="396" y="96"/>
                </a:cxn>
                <a:cxn ang="0">
                  <a:pos x="336" y="77"/>
                </a:cxn>
                <a:cxn ang="0">
                  <a:pos x="310" y="69"/>
                </a:cxn>
                <a:cxn ang="0">
                  <a:pos x="283" y="84"/>
                </a:cxn>
                <a:cxn ang="0">
                  <a:pos x="276" y="85"/>
                </a:cxn>
                <a:cxn ang="0">
                  <a:pos x="262" y="66"/>
                </a:cxn>
                <a:cxn ang="0">
                  <a:pos x="236" y="32"/>
                </a:cxn>
                <a:cxn ang="0">
                  <a:pos x="207" y="35"/>
                </a:cxn>
                <a:cxn ang="0">
                  <a:pos x="193" y="10"/>
                </a:cxn>
                <a:cxn ang="0">
                  <a:pos x="170" y="3"/>
                </a:cxn>
                <a:cxn ang="0">
                  <a:pos x="156" y="0"/>
                </a:cxn>
                <a:cxn ang="0">
                  <a:pos x="149" y="39"/>
                </a:cxn>
                <a:cxn ang="0">
                  <a:pos x="140" y="75"/>
                </a:cxn>
                <a:cxn ang="0">
                  <a:pos x="126" y="97"/>
                </a:cxn>
                <a:cxn ang="0">
                  <a:pos x="103" y="150"/>
                </a:cxn>
                <a:cxn ang="0">
                  <a:pos x="83" y="184"/>
                </a:cxn>
                <a:cxn ang="0">
                  <a:pos x="51" y="213"/>
                </a:cxn>
                <a:cxn ang="0">
                  <a:pos x="9" y="260"/>
                </a:cxn>
                <a:cxn ang="0">
                  <a:pos x="40" y="257"/>
                </a:cxn>
                <a:cxn ang="0">
                  <a:pos x="54" y="260"/>
                </a:cxn>
                <a:cxn ang="0">
                  <a:pos x="83" y="314"/>
                </a:cxn>
                <a:cxn ang="0">
                  <a:pos x="58" y="370"/>
                </a:cxn>
                <a:cxn ang="0">
                  <a:pos x="137" y="416"/>
                </a:cxn>
                <a:cxn ang="0">
                  <a:pos x="117" y="447"/>
                </a:cxn>
                <a:cxn ang="0">
                  <a:pos x="100" y="482"/>
                </a:cxn>
                <a:cxn ang="0">
                  <a:pos x="119" y="500"/>
                </a:cxn>
                <a:cxn ang="0">
                  <a:pos x="127" y="526"/>
                </a:cxn>
                <a:cxn ang="0">
                  <a:pos x="143" y="547"/>
                </a:cxn>
                <a:cxn ang="0">
                  <a:pos x="175" y="538"/>
                </a:cxn>
              </a:cxnLst>
              <a:rect l="0" t="0" r="r" b="b"/>
              <a:pathLst>
                <a:path w="420" h="553">
                  <a:moveTo>
                    <a:pt x="175" y="509"/>
                  </a:moveTo>
                  <a:cubicBezTo>
                    <a:pt x="182" y="506"/>
                    <a:pt x="182" y="506"/>
                    <a:pt x="182" y="506"/>
                  </a:cubicBezTo>
                  <a:cubicBezTo>
                    <a:pt x="182" y="506"/>
                    <a:pt x="174" y="502"/>
                    <a:pt x="173" y="501"/>
                  </a:cubicBezTo>
                  <a:cubicBezTo>
                    <a:pt x="173" y="500"/>
                    <a:pt x="172" y="488"/>
                    <a:pt x="172" y="488"/>
                  </a:cubicBezTo>
                  <a:cubicBezTo>
                    <a:pt x="172" y="488"/>
                    <a:pt x="166" y="476"/>
                    <a:pt x="167" y="471"/>
                  </a:cubicBezTo>
                  <a:cubicBezTo>
                    <a:pt x="168" y="467"/>
                    <a:pt x="176" y="462"/>
                    <a:pt x="176" y="462"/>
                  </a:cubicBezTo>
                  <a:cubicBezTo>
                    <a:pt x="176" y="462"/>
                    <a:pt x="178" y="444"/>
                    <a:pt x="180" y="441"/>
                  </a:cubicBezTo>
                  <a:cubicBezTo>
                    <a:pt x="183" y="439"/>
                    <a:pt x="194" y="426"/>
                    <a:pt x="194" y="426"/>
                  </a:cubicBezTo>
                  <a:cubicBezTo>
                    <a:pt x="194" y="426"/>
                    <a:pt x="189" y="410"/>
                    <a:pt x="199" y="402"/>
                  </a:cubicBezTo>
                  <a:cubicBezTo>
                    <a:pt x="209" y="393"/>
                    <a:pt x="216" y="389"/>
                    <a:pt x="216" y="389"/>
                  </a:cubicBezTo>
                  <a:cubicBezTo>
                    <a:pt x="229" y="389"/>
                    <a:pt x="229" y="389"/>
                    <a:pt x="229" y="389"/>
                  </a:cubicBezTo>
                  <a:cubicBezTo>
                    <a:pt x="234" y="382"/>
                    <a:pt x="234" y="382"/>
                    <a:pt x="234" y="382"/>
                  </a:cubicBezTo>
                  <a:cubicBezTo>
                    <a:pt x="245" y="382"/>
                    <a:pt x="245" y="382"/>
                    <a:pt x="245" y="382"/>
                  </a:cubicBezTo>
                  <a:cubicBezTo>
                    <a:pt x="245" y="382"/>
                    <a:pt x="251" y="373"/>
                    <a:pt x="252" y="371"/>
                  </a:cubicBezTo>
                  <a:cubicBezTo>
                    <a:pt x="253" y="369"/>
                    <a:pt x="266" y="372"/>
                    <a:pt x="274" y="360"/>
                  </a:cubicBezTo>
                  <a:cubicBezTo>
                    <a:pt x="282" y="349"/>
                    <a:pt x="287" y="342"/>
                    <a:pt x="287" y="342"/>
                  </a:cubicBezTo>
                  <a:cubicBezTo>
                    <a:pt x="287" y="342"/>
                    <a:pt x="307" y="339"/>
                    <a:pt x="310" y="341"/>
                  </a:cubicBezTo>
                  <a:cubicBezTo>
                    <a:pt x="313" y="344"/>
                    <a:pt x="318" y="348"/>
                    <a:pt x="318" y="348"/>
                  </a:cubicBezTo>
                  <a:cubicBezTo>
                    <a:pt x="318" y="348"/>
                    <a:pt x="326" y="344"/>
                    <a:pt x="330" y="344"/>
                  </a:cubicBezTo>
                  <a:cubicBezTo>
                    <a:pt x="334" y="344"/>
                    <a:pt x="348" y="346"/>
                    <a:pt x="349" y="342"/>
                  </a:cubicBezTo>
                  <a:cubicBezTo>
                    <a:pt x="350" y="339"/>
                    <a:pt x="358" y="315"/>
                    <a:pt x="358" y="315"/>
                  </a:cubicBezTo>
                  <a:cubicBezTo>
                    <a:pt x="345" y="304"/>
                    <a:pt x="345" y="304"/>
                    <a:pt x="345" y="304"/>
                  </a:cubicBezTo>
                  <a:cubicBezTo>
                    <a:pt x="340" y="294"/>
                    <a:pt x="340" y="294"/>
                    <a:pt x="340" y="294"/>
                  </a:cubicBezTo>
                  <a:cubicBezTo>
                    <a:pt x="346" y="289"/>
                    <a:pt x="346" y="289"/>
                    <a:pt x="346" y="289"/>
                  </a:cubicBezTo>
                  <a:cubicBezTo>
                    <a:pt x="346" y="289"/>
                    <a:pt x="337" y="281"/>
                    <a:pt x="341" y="277"/>
                  </a:cubicBezTo>
                  <a:cubicBezTo>
                    <a:pt x="345" y="273"/>
                    <a:pt x="350" y="269"/>
                    <a:pt x="350" y="269"/>
                  </a:cubicBezTo>
                  <a:cubicBezTo>
                    <a:pt x="350" y="262"/>
                    <a:pt x="350" y="262"/>
                    <a:pt x="350" y="262"/>
                  </a:cubicBezTo>
                  <a:cubicBezTo>
                    <a:pt x="358" y="258"/>
                    <a:pt x="358" y="258"/>
                    <a:pt x="358" y="258"/>
                  </a:cubicBezTo>
                  <a:cubicBezTo>
                    <a:pt x="355" y="240"/>
                    <a:pt x="355" y="240"/>
                    <a:pt x="355" y="240"/>
                  </a:cubicBezTo>
                  <a:cubicBezTo>
                    <a:pt x="355" y="240"/>
                    <a:pt x="350" y="229"/>
                    <a:pt x="351" y="221"/>
                  </a:cubicBezTo>
                  <a:cubicBezTo>
                    <a:pt x="351" y="214"/>
                    <a:pt x="358" y="205"/>
                    <a:pt x="358" y="205"/>
                  </a:cubicBezTo>
                  <a:cubicBezTo>
                    <a:pt x="358" y="205"/>
                    <a:pt x="349" y="196"/>
                    <a:pt x="349" y="192"/>
                  </a:cubicBezTo>
                  <a:cubicBezTo>
                    <a:pt x="348" y="188"/>
                    <a:pt x="366" y="174"/>
                    <a:pt x="366" y="172"/>
                  </a:cubicBezTo>
                  <a:cubicBezTo>
                    <a:pt x="367" y="170"/>
                    <a:pt x="370" y="149"/>
                    <a:pt x="375" y="147"/>
                  </a:cubicBezTo>
                  <a:cubicBezTo>
                    <a:pt x="379" y="145"/>
                    <a:pt x="396" y="148"/>
                    <a:pt x="399" y="143"/>
                  </a:cubicBezTo>
                  <a:cubicBezTo>
                    <a:pt x="402" y="137"/>
                    <a:pt x="403" y="129"/>
                    <a:pt x="403" y="129"/>
                  </a:cubicBezTo>
                  <a:cubicBezTo>
                    <a:pt x="414" y="128"/>
                    <a:pt x="414" y="128"/>
                    <a:pt x="414" y="128"/>
                  </a:cubicBezTo>
                  <a:cubicBezTo>
                    <a:pt x="420" y="115"/>
                    <a:pt x="420" y="115"/>
                    <a:pt x="420" y="115"/>
                  </a:cubicBezTo>
                  <a:cubicBezTo>
                    <a:pt x="416" y="98"/>
                    <a:pt x="416" y="98"/>
                    <a:pt x="416" y="98"/>
                  </a:cubicBezTo>
                  <a:cubicBezTo>
                    <a:pt x="406" y="94"/>
                    <a:pt x="406" y="94"/>
                    <a:pt x="406" y="94"/>
                  </a:cubicBezTo>
                  <a:cubicBezTo>
                    <a:pt x="403" y="101"/>
                    <a:pt x="403" y="101"/>
                    <a:pt x="403" y="101"/>
                  </a:cubicBezTo>
                  <a:cubicBezTo>
                    <a:pt x="396" y="96"/>
                    <a:pt x="396" y="96"/>
                    <a:pt x="396" y="96"/>
                  </a:cubicBezTo>
                  <a:cubicBezTo>
                    <a:pt x="382" y="100"/>
                    <a:pt x="382" y="100"/>
                    <a:pt x="382" y="100"/>
                  </a:cubicBezTo>
                  <a:cubicBezTo>
                    <a:pt x="336" y="77"/>
                    <a:pt x="336" y="77"/>
                    <a:pt x="336" y="77"/>
                  </a:cubicBezTo>
                  <a:cubicBezTo>
                    <a:pt x="318" y="81"/>
                    <a:pt x="318" y="81"/>
                    <a:pt x="318" y="81"/>
                  </a:cubicBezTo>
                  <a:cubicBezTo>
                    <a:pt x="318" y="81"/>
                    <a:pt x="321" y="69"/>
                    <a:pt x="310" y="69"/>
                  </a:cubicBezTo>
                  <a:cubicBezTo>
                    <a:pt x="299" y="69"/>
                    <a:pt x="288" y="94"/>
                    <a:pt x="288" y="95"/>
                  </a:cubicBezTo>
                  <a:cubicBezTo>
                    <a:pt x="288" y="96"/>
                    <a:pt x="283" y="84"/>
                    <a:pt x="283" y="84"/>
                  </a:cubicBezTo>
                  <a:cubicBezTo>
                    <a:pt x="282" y="76"/>
                    <a:pt x="282" y="76"/>
                    <a:pt x="282" y="76"/>
                  </a:cubicBezTo>
                  <a:cubicBezTo>
                    <a:pt x="282" y="76"/>
                    <a:pt x="278" y="83"/>
                    <a:pt x="276" y="85"/>
                  </a:cubicBezTo>
                  <a:cubicBezTo>
                    <a:pt x="275" y="86"/>
                    <a:pt x="265" y="86"/>
                    <a:pt x="265" y="86"/>
                  </a:cubicBezTo>
                  <a:cubicBezTo>
                    <a:pt x="265" y="86"/>
                    <a:pt x="264" y="73"/>
                    <a:pt x="262" y="66"/>
                  </a:cubicBezTo>
                  <a:cubicBezTo>
                    <a:pt x="261" y="58"/>
                    <a:pt x="253" y="40"/>
                    <a:pt x="246" y="33"/>
                  </a:cubicBezTo>
                  <a:cubicBezTo>
                    <a:pt x="239" y="27"/>
                    <a:pt x="236" y="32"/>
                    <a:pt x="236" y="32"/>
                  </a:cubicBezTo>
                  <a:cubicBezTo>
                    <a:pt x="229" y="15"/>
                    <a:pt x="229" y="15"/>
                    <a:pt x="229" y="15"/>
                  </a:cubicBezTo>
                  <a:cubicBezTo>
                    <a:pt x="207" y="35"/>
                    <a:pt x="207" y="35"/>
                    <a:pt x="207" y="35"/>
                  </a:cubicBezTo>
                  <a:cubicBezTo>
                    <a:pt x="207" y="35"/>
                    <a:pt x="207" y="26"/>
                    <a:pt x="207" y="21"/>
                  </a:cubicBezTo>
                  <a:cubicBezTo>
                    <a:pt x="207" y="17"/>
                    <a:pt x="193" y="10"/>
                    <a:pt x="193" y="10"/>
                  </a:cubicBezTo>
                  <a:cubicBezTo>
                    <a:pt x="183" y="17"/>
                    <a:pt x="183" y="17"/>
                    <a:pt x="183" y="17"/>
                  </a:cubicBezTo>
                  <a:cubicBezTo>
                    <a:pt x="170" y="3"/>
                    <a:pt x="170" y="3"/>
                    <a:pt x="170" y="3"/>
                  </a:cubicBezTo>
                  <a:cubicBezTo>
                    <a:pt x="161" y="7"/>
                    <a:pt x="161" y="7"/>
                    <a:pt x="161" y="7"/>
                  </a:cubicBezTo>
                  <a:cubicBezTo>
                    <a:pt x="156" y="0"/>
                    <a:pt x="156" y="0"/>
                    <a:pt x="156" y="0"/>
                  </a:cubicBezTo>
                  <a:cubicBezTo>
                    <a:pt x="158" y="32"/>
                    <a:pt x="158" y="32"/>
                    <a:pt x="158" y="32"/>
                  </a:cubicBezTo>
                  <a:cubicBezTo>
                    <a:pt x="149" y="39"/>
                    <a:pt x="149" y="39"/>
                    <a:pt x="149" y="39"/>
                  </a:cubicBezTo>
                  <a:cubicBezTo>
                    <a:pt x="156" y="49"/>
                    <a:pt x="156" y="49"/>
                    <a:pt x="156" y="49"/>
                  </a:cubicBezTo>
                  <a:cubicBezTo>
                    <a:pt x="140" y="75"/>
                    <a:pt x="140" y="75"/>
                    <a:pt x="140" y="75"/>
                  </a:cubicBezTo>
                  <a:cubicBezTo>
                    <a:pt x="140" y="95"/>
                    <a:pt x="140" y="95"/>
                    <a:pt x="140" y="95"/>
                  </a:cubicBezTo>
                  <a:cubicBezTo>
                    <a:pt x="126" y="97"/>
                    <a:pt x="126" y="97"/>
                    <a:pt x="126" y="97"/>
                  </a:cubicBezTo>
                  <a:cubicBezTo>
                    <a:pt x="129" y="116"/>
                    <a:pt x="129" y="116"/>
                    <a:pt x="129" y="116"/>
                  </a:cubicBezTo>
                  <a:cubicBezTo>
                    <a:pt x="103" y="150"/>
                    <a:pt x="103" y="150"/>
                    <a:pt x="103" y="150"/>
                  </a:cubicBezTo>
                  <a:cubicBezTo>
                    <a:pt x="106" y="166"/>
                    <a:pt x="106" y="166"/>
                    <a:pt x="106" y="166"/>
                  </a:cubicBezTo>
                  <a:cubicBezTo>
                    <a:pt x="106" y="166"/>
                    <a:pt x="90" y="173"/>
                    <a:pt x="83" y="184"/>
                  </a:cubicBezTo>
                  <a:cubicBezTo>
                    <a:pt x="77" y="195"/>
                    <a:pt x="71" y="213"/>
                    <a:pt x="71" y="213"/>
                  </a:cubicBezTo>
                  <a:cubicBezTo>
                    <a:pt x="51" y="213"/>
                    <a:pt x="51" y="213"/>
                    <a:pt x="51" y="213"/>
                  </a:cubicBezTo>
                  <a:cubicBezTo>
                    <a:pt x="0" y="255"/>
                    <a:pt x="0" y="255"/>
                    <a:pt x="0" y="255"/>
                  </a:cubicBezTo>
                  <a:cubicBezTo>
                    <a:pt x="9" y="260"/>
                    <a:pt x="9" y="260"/>
                    <a:pt x="9" y="260"/>
                  </a:cubicBezTo>
                  <a:cubicBezTo>
                    <a:pt x="23" y="246"/>
                    <a:pt x="23" y="246"/>
                    <a:pt x="23" y="246"/>
                  </a:cubicBezTo>
                  <a:cubicBezTo>
                    <a:pt x="23" y="246"/>
                    <a:pt x="34" y="260"/>
                    <a:pt x="40" y="257"/>
                  </a:cubicBezTo>
                  <a:cubicBezTo>
                    <a:pt x="46" y="255"/>
                    <a:pt x="52" y="251"/>
                    <a:pt x="52" y="251"/>
                  </a:cubicBezTo>
                  <a:cubicBezTo>
                    <a:pt x="54" y="260"/>
                    <a:pt x="54" y="260"/>
                    <a:pt x="54" y="260"/>
                  </a:cubicBezTo>
                  <a:cubicBezTo>
                    <a:pt x="54" y="260"/>
                    <a:pt x="75" y="265"/>
                    <a:pt x="75" y="266"/>
                  </a:cubicBezTo>
                  <a:cubicBezTo>
                    <a:pt x="75" y="268"/>
                    <a:pt x="83" y="314"/>
                    <a:pt x="83" y="314"/>
                  </a:cubicBezTo>
                  <a:cubicBezTo>
                    <a:pt x="83" y="314"/>
                    <a:pt x="73" y="364"/>
                    <a:pt x="68" y="366"/>
                  </a:cubicBezTo>
                  <a:cubicBezTo>
                    <a:pt x="62" y="368"/>
                    <a:pt x="58" y="370"/>
                    <a:pt x="58" y="370"/>
                  </a:cubicBezTo>
                  <a:cubicBezTo>
                    <a:pt x="105" y="422"/>
                    <a:pt x="105" y="422"/>
                    <a:pt x="105" y="422"/>
                  </a:cubicBezTo>
                  <a:cubicBezTo>
                    <a:pt x="105" y="422"/>
                    <a:pt x="132" y="402"/>
                    <a:pt x="137" y="416"/>
                  </a:cubicBezTo>
                  <a:cubicBezTo>
                    <a:pt x="142" y="430"/>
                    <a:pt x="128" y="441"/>
                    <a:pt x="128" y="441"/>
                  </a:cubicBezTo>
                  <a:cubicBezTo>
                    <a:pt x="128" y="441"/>
                    <a:pt x="123" y="438"/>
                    <a:pt x="117" y="447"/>
                  </a:cubicBezTo>
                  <a:cubicBezTo>
                    <a:pt x="111" y="457"/>
                    <a:pt x="112" y="471"/>
                    <a:pt x="112" y="471"/>
                  </a:cubicBezTo>
                  <a:cubicBezTo>
                    <a:pt x="100" y="482"/>
                    <a:pt x="100" y="482"/>
                    <a:pt x="100" y="482"/>
                  </a:cubicBezTo>
                  <a:cubicBezTo>
                    <a:pt x="117" y="489"/>
                    <a:pt x="117" y="489"/>
                    <a:pt x="117" y="489"/>
                  </a:cubicBezTo>
                  <a:cubicBezTo>
                    <a:pt x="119" y="500"/>
                    <a:pt x="119" y="500"/>
                    <a:pt x="119" y="500"/>
                  </a:cubicBezTo>
                  <a:cubicBezTo>
                    <a:pt x="136" y="513"/>
                    <a:pt x="136" y="513"/>
                    <a:pt x="136" y="513"/>
                  </a:cubicBezTo>
                  <a:cubicBezTo>
                    <a:pt x="127" y="526"/>
                    <a:pt x="127" y="526"/>
                    <a:pt x="127" y="526"/>
                  </a:cubicBezTo>
                  <a:cubicBezTo>
                    <a:pt x="137" y="529"/>
                    <a:pt x="137" y="529"/>
                    <a:pt x="137" y="529"/>
                  </a:cubicBezTo>
                  <a:cubicBezTo>
                    <a:pt x="137" y="529"/>
                    <a:pt x="123" y="538"/>
                    <a:pt x="143" y="547"/>
                  </a:cubicBezTo>
                  <a:cubicBezTo>
                    <a:pt x="156" y="553"/>
                    <a:pt x="162" y="553"/>
                    <a:pt x="164" y="552"/>
                  </a:cubicBezTo>
                  <a:cubicBezTo>
                    <a:pt x="175" y="538"/>
                    <a:pt x="175" y="538"/>
                    <a:pt x="175" y="538"/>
                  </a:cubicBezTo>
                  <a:lnTo>
                    <a:pt x="175" y="509"/>
                  </a:ln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29" name="Freeform 343">
              <a:extLst>
                <a:ext uri="{FF2B5EF4-FFF2-40B4-BE49-F238E27FC236}">
                  <a16:creationId xmlns:a16="http://schemas.microsoft.com/office/drawing/2014/main" id="{E15E5030-C6BF-4312-A9ED-4BF35AC3C941}"/>
                </a:ext>
              </a:extLst>
            </p:cNvPr>
            <p:cNvSpPr>
              <a:spLocks noChangeAspect="1"/>
            </p:cNvSpPr>
            <p:nvPr/>
          </p:nvSpPr>
          <p:spPr bwMode="auto">
            <a:xfrm>
              <a:off x="13407" y="1865"/>
              <a:ext cx="1118" cy="1185"/>
            </a:xfrm>
            <a:custGeom>
              <a:avLst/>
              <a:gdLst>
                <a:gd name="T0" fmla="*/ 1040 w 558"/>
                <a:gd name="T1" fmla="*/ 324 h 592"/>
                <a:gd name="T2" fmla="*/ 1020 w 558"/>
                <a:gd name="T3" fmla="*/ 264 h 592"/>
                <a:gd name="T4" fmla="*/ 1066 w 558"/>
                <a:gd name="T5" fmla="*/ 260 h 592"/>
                <a:gd name="T6" fmla="*/ 1076 w 558"/>
                <a:gd name="T7" fmla="*/ 222 h 592"/>
                <a:gd name="T8" fmla="*/ 1046 w 558"/>
                <a:gd name="T9" fmla="*/ 174 h 592"/>
                <a:gd name="T10" fmla="*/ 1044 w 558"/>
                <a:gd name="T11" fmla="*/ 138 h 592"/>
                <a:gd name="T12" fmla="*/ 1044 w 558"/>
                <a:gd name="T13" fmla="*/ 118 h 592"/>
                <a:gd name="T14" fmla="*/ 1006 w 558"/>
                <a:gd name="T15" fmla="*/ 80 h 592"/>
                <a:gd name="T16" fmla="*/ 990 w 558"/>
                <a:gd name="T17" fmla="*/ 66 h 592"/>
                <a:gd name="T18" fmla="*/ 910 w 558"/>
                <a:gd name="T19" fmla="*/ 24 h 592"/>
                <a:gd name="T20" fmla="*/ 837 w 558"/>
                <a:gd name="T21" fmla="*/ 34 h 592"/>
                <a:gd name="T22" fmla="*/ 791 w 558"/>
                <a:gd name="T23" fmla="*/ 68 h 592"/>
                <a:gd name="T24" fmla="*/ 725 w 558"/>
                <a:gd name="T25" fmla="*/ 120 h 592"/>
                <a:gd name="T26" fmla="*/ 639 w 558"/>
                <a:gd name="T27" fmla="*/ 66 h 592"/>
                <a:gd name="T28" fmla="*/ 461 w 558"/>
                <a:gd name="T29" fmla="*/ 126 h 592"/>
                <a:gd name="T30" fmla="*/ 381 w 558"/>
                <a:gd name="T31" fmla="*/ 88 h 592"/>
                <a:gd name="T32" fmla="*/ 343 w 558"/>
                <a:gd name="T33" fmla="*/ 224 h 592"/>
                <a:gd name="T34" fmla="*/ 276 w 558"/>
                <a:gd name="T35" fmla="*/ 246 h 592"/>
                <a:gd name="T36" fmla="*/ 210 w 558"/>
                <a:gd name="T37" fmla="*/ 290 h 592"/>
                <a:gd name="T38" fmla="*/ 130 w 558"/>
                <a:gd name="T39" fmla="*/ 198 h 592"/>
                <a:gd name="T40" fmla="*/ 64 w 558"/>
                <a:gd name="T41" fmla="*/ 252 h 592"/>
                <a:gd name="T42" fmla="*/ 0 w 558"/>
                <a:gd name="T43" fmla="*/ 334 h 592"/>
                <a:gd name="T44" fmla="*/ 38 w 558"/>
                <a:gd name="T45" fmla="*/ 396 h 592"/>
                <a:gd name="T46" fmla="*/ 30 w 558"/>
                <a:gd name="T47" fmla="*/ 452 h 592"/>
                <a:gd name="T48" fmla="*/ 62 w 558"/>
                <a:gd name="T49" fmla="*/ 536 h 592"/>
                <a:gd name="T50" fmla="*/ 52 w 558"/>
                <a:gd name="T51" fmla="*/ 635 h 592"/>
                <a:gd name="T52" fmla="*/ 74 w 558"/>
                <a:gd name="T53" fmla="*/ 723 h 592"/>
                <a:gd name="T54" fmla="*/ 64 w 558"/>
                <a:gd name="T55" fmla="*/ 803 h 592"/>
                <a:gd name="T56" fmla="*/ 198 w 558"/>
                <a:gd name="T57" fmla="*/ 745 h 592"/>
                <a:gd name="T58" fmla="*/ 329 w 558"/>
                <a:gd name="T59" fmla="*/ 733 h 592"/>
                <a:gd name="T60" fmla="*/ 513 w 558"/>
                <a:gd name="T61" fmla="*/ 801 h 592"/>
                <a:gd name="T62" fmla="*/ 643 w 558"/>
                <a:gd name="T63" fmla="*/ 847 h 592"/>
                <a:gd name="T64" fmla="*/ 699 w 558"/>
                <a:gd name="T65" fmla="*/ 861 h 592"/>
                <a:gd name="T66" fmla="*/ 771 w 558"/>
                <a:gd name="T67" fmla="*/ 975 h 592"/>
                <a:gd name="T68" fmla="*/ 741 w 558"/>
                <a:gd name="T69" fmla="*/ 1019 h 592"/>
                <a:gd name="T70" fmla="*/ 775 w 558"/>
                <a:gd name="T71" fmla="*/ 1143 h 592"/>
                <a:gd name="T72" fmla="*/ 844 w 558"/>
                <a:gd name="T73" fmla="*/ 1183 h 592"/>
                <a:gd name="T74" fmla="*/ 866 w 558"/>
                <a:gd name="T75" fmla="*/ 1149 h 592"/>
                <a:gd name="T76" fmla="*/ 922 w 558"/>
                <a:gd name="T77" fmla="*/ 939 h 592"/>
                <a:gd name="T78" fmla="*/ 926 w 558"/>
                <a:gd name="T79" fmla="*/ 765 h 592"/>
                <a:gd name="T80" fmla="*/ 936 w 558"/>
                <a:gd name="T81" fmla="*/ 653 h 592"/>
                <a:gd name="T82" fmla="*/ 932 w 558"/>
                <a:gd name="T83" fmla="*/ 566 h 592"/>
                <a:gd name="T84" fmla="*/ 1080 w 558"/>
                <a:gd name="T85" fmla="*/ 434 h 592"/>
                <a:gd name="T86" fmla="*/ 1062 w 558"/>
                <a:gd name="T87" fmla="*/ 352 h 5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58"/>
                <a:gd name="T133" fmla="*/ 0 h 592"/>
                <a:gd name="T134" fmla="*/ 558 w 558"/>
                <a:gd name="T135" fmla="*/ 592 h 5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58" h="592">
                  <a:moveTo>
                    <a:pt x="530" y="176"/>
                  </a:moveTo>
                  <a:cubicBezTo>
                    <a:pt x="519" y="174"/>
                    <a:pt x="519" y="174"/>
                    <a:pt x="519" y="174"/>
                  </a:cubicBezTo>
                  <a:cubicBezTo>
                    <a:pt x="519" y="162"/>
                    <a:pt x="519" y="162"/>
                    <a:pt x="519" y="162"/>
                  </a:cubicBezTo>
                  <a:cubicBezTo>
                    <a:pt x="519" y="162"/>
                    <a:pt x="513" y="158"/>
                    <a:pt x="513" y="155"/>
                  </a:cubicBezTo>
                  <a:cubicBezTo>
                    <a:pt x="513" y="153"/>
                    <a:pt x="510" y="148"/>
                    <a:pt x="510" y="148"/>
                  </a:cubicBezTo>
                  <a:cubicBezTo>
                    <a:pt x="509" y="132"/>
                    <a:pt x="509" y="132"/>
                    <a:pt x="509" y="132"/>
                  </a:cubicBezTo>
                  <a:cubicBezTo>
                    <a:pt x="516" y="130"/>
                    <a:pt x="516" y="130"/>
                    <a:pt x="516" y="130"/>
                  </a:cubicBezTo>
                  <a:cubicBezTo>
                    <a:pt x="522" y="136"/>
                    <a:pt x="522" y="136"/>
                    <a:pt x="522" y="136"/>
                  </a:cubicBezTo>
                  <a:cubicBezTo>
                    <a:pt x="532" y="130"/>
                    <a:pt x="532" y="130"/>
                    <a:pt x="532" y="130"/>
                  </a:cubicBezTo>
                  <a:cubicBezTo>
                    <a:pt x="533" y="122"/>
                    <a:pt x="533" y="122"/>
                    <a:pt x="533" y="122"/>
                  </a:cubicBezTo>
                  <a:cubicBezTo>
                    <a:pt x="528" y="116"/>
                    <a:pt x="528" y="116"/>
                    <a:pt x="528" y="116"/>
                  </a:cubicBezTo>
                  <a:cubicBezTo>
                    <a:pt x="537" y="111"/>
                    <a:pt x="537" y="111"/>
                    <a:pt x="537" y="111"/>
                  </a:cubicBezTo>
                  <a:cubicBezTo>
                    <a:pt x="540" y="100"/>
                    <a:pt x="540" y="100"/>
                    <a:pt x="540" y="100"/>
                  </a:cubicBezTo>
                  <a:cubicBezTo>
                    <a:pt x="530" y="91"/>
                    <a:pt x="530" y="91"/>
                    <a:pt x="530" y="91"/>
                  </a:cubicBezTo>
                  <a:cubicBezTo>
                    <a:pt x="522" y="87"/>
                    <a:pt x="522" y="87"/>
                    <a:pt x="522" y="87"/>
                  </a:cubicBezTo>
                  <a:cubicBezTo>
                    <a:pt x="521" y="79"/>
                    <a:pt x="521" y="79"/>
                    <a:pt x="521" y="79"/>
                  </a:cubicBezTo>
                  <a:cubicBezTo>
                    <a:pt x="516" y="73"/>
                    <a:pt x="516" y="73"/>
                    <a:pt x="516" y="73"/>
                  </a:cubicBezTo>
                  <a:cubicBezTo>
                    <a:pt x="521" y="69"/>
                    <a:pt x="521" y="69"/>
                    <a:pt x="521" y="69"/>
                  </a:cubicBezTo>
                  <a:cubicBezTo>
                    <a:pt x="517" y="65"/>
                    <a:pt x="517" y="65"/>
                    <a:pt x="517" y="65"/>
                  </a:cubicBezTo>
                  <a:cubicBezTo>
                    <a:pt x="521" y="60"/>
                    <a:pt x="521" y="60"/>
                    <a:pt x="521" y="60"/>
                  </a:cubicBezTo>
                  <a:cubicBezTo>
                    <a:pt x="521" y="60"/>
                    <a:pt x="521" y="59"/>
                    <a:pt x="521" y="59"/>
                  </a:cubicBezTo>
                  <a:cubicBezTo>
                    <a:pt x="521" y="55"/>
                    <a:pt x="509" y="55"/>
                    <a:pt x="509" y="55"/>
                  </a:cubicBezTo>
                  <a:cubicBezTo>
                    <a:pt x="509" y="49"/>
                    <a:pt x="509" y="49"/>
                    <a:pt x="509" y="49"/>
                  </a:cubicBezTo>
                  <a:cubicBezTo>
                    <a:pt x="502" y="40"/>
                    <a:pt x="502" y="40"/>
                    <a:pt x="502" y="40"/>
                  </a:cubicBezTo>
                  <a:cubicBezTo>
                    <a:pt x="505" y="34"/>
                    <a:pt x="505" y="34"/>
                    <a:pt x="505" y="34"/>
                  </a:cubicBezTo>
                  <a:cubicBezTo>
                    <a:pt x="503" y="30"/>
                    <a:pt x="503" y="30"/>
                    <a:pt x="503" y="30"/>
                  </a:cubicBezTo>
                  <a:cubicBezTo>
                    <a:pt x="494" y="33"/>
                    <a:pt x="494" y="33"/>
                    <a:pt x="494" y="33"/>
                  </a:cubicBezTo>
                  <a:cubicBezTo>
                    <a:pt x="494" y="33"/>
                    <a:pt x="492" y="20"/>
                    <a:pt x="492" y="19"/>
                  </a:cubicBezTo>
                  <a:cubicBezTo>
                    <a:pt x="492" y="17"/>
                    <a:pt x="481" y="27"/>
                    <a:pt x="481" y="27"/>
                  </a:cubicBezTo>
                  <a:cubicBezTo>
                    <a:pt x="481" y="27"/>
                    <a:pt x="460" y="14"/>
                    <a:pt x="454" y="12"/>
                  </a:cubicBezTo>
                  <a:cubicBezTo>
                    <a:pt x="449" y="10"/>
                    <a:pt x="439" y="0"/>
                    <a:pt x="439" y="0"/>
                  </a:cubicBezTo>
                  <a:cubicBezTo>
                    <a:pt x="439" y="0"/>
                    <a:pt x="419" y="8"/>
                    <a:pt x="419" y="8"/>
                  </a:cubicBezTo>
                  <a:cubicBezTo>
                    <a:pt x="419" y="9"/>
                    <a:pt x="418" y="17"/>
                    <a:pt x="418" y="17"/>
                  </a:cubicBezTo>
                  <a:cubicBezTo>
                    <a:pt x="408" y="19"/>
                    <a:pt x="408" y="19"/>
                    <a:pt x="408" y="19"/>
                  </a:cubicBezTo>
                  <a:cubicBezTo>
                    <a:pt x="408" y="19"/>
                    <a:pt x="409" y="26"/>
                    <a:pt x="409" y="27"/>
                  </a:cubicBezTo>
                  <a:cubicBezTo>
                    <a:pt x="409" y="28"/>
                    <a:pt x="402" y="32"/>
                    <a:pt x="395" y="34"/>
                  </a:cubicBezTo>
                  <a:cubicBezTo>
                    <a:pt x="387" y="37"/>
                    <a:pt x="387" y="34"/>
                    <a:pt x="387" y="34"/>
                  </a:cubicBezTo>
                  <a:cubicBezTo>
                    <a:pt x="387" y="34"/>
                    <a:pt x="385" y="37"/>
                    <a:pt x="383" y="41"/>
                  </a:cubicBezTo>
                  <a:cubicBezTo>
                    <a:pt x="382" y="46"/>
                    <a:pt x="368" y="58"/>
                    <a:pt x="362" y="60"/>
                  </a:cubicBezTo>
                  <a:cubicBezTo>
                    <a:pt x="355" y="63"/>
                    <a:pt x="351" y="49"/>
                    <a:pt x="347" y="38"/>
                  </a:cubicBezTo>
                  <a:cubicBezTo>
                    <a:pt x="345" y="31"/>
                    <a:pt x="336" y="29"/>
                    <a:pt x="327" y="28"/>
                  </a:cubicBezTo>
                  <a:cubicBezTo>
                    <a:pt x="324" y="30"/>
                    <a:pt x="321" y="32"/>
                    <a:pt x="319" y="33"/>
                  </a:cubicBezTo>
                  <a:cubicBezTo>
                    <a:pt x="312" y="38"/>
                    <a:pt x="292" y="43"/>
                    <a:pt x="292" y="43"/>
                  </a:cubicBezTo>
                  <a:cubicBezTo>
                    <a:pt x="267" y="45"/>
                    <a:pt x="267" y="45"/>
                    <a:pt x="267" y="45"/>
                  </a:cubicBezTo>
                  <a:cubicBezTo>
                    <a:pt x="267" y="45"/>
                    <a:pt x="239" y="62"/>
                    <a:pt x="230" y="63"/>
                  </a:cubicBezTo>
                  <a:cubicBezTo>
                    <a:pt x="221" y="64"/>
                    <a:pt x="219" y="53"/>
                    <a:pt x="219" y="53"/>
                  </a:cubicBezTo>
                  <a:cubicBezTo>
                    <a:pt x="209" y="56"/>
                    <a:pt x="209" y="56"/>
                    <a:pt x="209" y="56"/>
                  </a:cubicBezTo>
                  <a:cubicBezTo>
                    <a:pt x="190" y="44"/>
                    <a:pt x="190" y="44"/>
                    <a:pt x="190" y="44"/>
                  </a:cubicBezTo>
                  <a:cubicBezTo>
                    <a:pt x="190" y="44"/>
                    <a:pt x="173" y="59"/>
                    <a:pt x="169" y="65"/>
                  </a:cubicBezTo>
                  <a:cubicBezTo>
                    <a:pt x="165" y="71"/>
                    <a:pt x="176" y="76"/>
                    <a:pt x="178" y="84"/>
                  </a:cubicBezTo>
                  <a:cubicBezTo>
                    <a:pt x="180" y="92"/>
                    <a:pt x="171" y="110"/>
                    <a:pt x="171" y="112"/>
                  </a:cubicBezTo>
                  <a:cubicBezTo>
                    <a:pt x="171" y="114"/>
                    <a:pt x="160" y="114"/>
                    <a:pt x="160" y="114"/>
                  </a:cubicBezTo>
                  <a:cubicBezTo>
                    <a:pt x="160" y="114"/>
                    <a:pt x="151" y="127"/>
                    <a:pt x="151" y="128"/>
                  </a:cubicBezTo>
                  <a:cubicBezTo>
                    <a:pt x="150" y="130"/>
                    <a:pt x="138" y="123"/>
                    <a:pt x="138" y="123"/>
                  </a:cubicBezTo>
                  <a:cubicBezTo>
                    <a:pt x="136" y="130"/>
                    <a:pt x="136" y="130"/>
                    <a:pt x="136" y="130"/>
                  </a:cubicBezTo>
                  <a:cubicBezTo>
                    <a:pt x="124" y="127"/>
                    <a:pt x="124" y="127"/>
                    <a:pt x="124" y="127"/>
                  </a:cubicBezTo>
                  <a:cubicBezTo>
                    <a:pt x="124" y="127"/>
                    <a:pt x="118" y="142"/>
                    <a:pt x="105" y="145"/>
                  </a:cubicBezTo>
                  <a:cubicBezTo>
                    <a:pt x="92" y="148"/>
                    <a:pt x="92" y="138"/>
                    <a:pt x="82" y="137"/>
                  </a:cubicBezTo>
                  <a:cubicBezTo>
                    <a:pt x="72" y="136"/>
                    <a:pt x="73" y="120"/>
                    <a:pt x="73" y="113"/>
                  </a:cubicBezTo>
                  <a:cubicBezTo>
                    <a:pt x="73" y="107"/>
                    <a:pt x="65" y="99"/>
                    <a:pt x="65" y="99"/>
                  </a:cubicBezTo>
                  <a:cubicBezTo>
                    <a:pt x="59" y="102"/>
                    <a:pt x="59" y="102"/>
                    <a:pt x="59" y="102"/>
                  </a:cubicBezTo>
                  <a:cubicBezTo>
                    <a:pt x="61" y="106"/>
                    <a:pt x="61" y="106"/>
                    <a:pt x="61" y="106"/>
                  </a:cubicBezTo>
                  <a:cubicBezTo>
                    <a:pt x="61" y="106"/>
                    <a:pt x="38" y="126"/>
                    <a:pt x="32" y="126"/>
                  </a:cubicBezTo>
                  <a:cubicBezTo>
                    <a:pt x="26" y="126"/>
                    <a:pt x="23" y="126"/>
                    <a:pt x="23" y="126"/>
                  </a:cubicBezTo>
                  <a:cubicBezTo>
                    <a:pt x="20" y="145"/>
                    <a:pt x="20" y="145"/>
                    <a:pt x="20" y="145"/>
                  </a:cubicBezTo>
                  <a:cubicBezTo>
                    <a:pt x="0" y="167"/>
                    <a:pt x="0" y="167"/>
                    <a:pt x="0" y="167"/>
                  </a:cubicBezTo>
                  <a:cubicBezTo>
                    <a:pt x="0" y="167"/>
                    <a:pt x="1" y="183"/>
                    <a:pt x="10" y="183"/>
                  </a:cubicBezTo>
                  <a:cubicBezTo>
                    <a:pt x="20" y="184"/>
                    <a:pt x="30" y="187"/>
                    <a:pt x="30" y="187"/>
                  </a:cubicBezTo>
                  <a:cubicBezTo>
                    <a:pt x="19" y="198"/>
                    <a:pt x="19" y="198"/>
                    <a:pt x="19" y="198"/>
                  </a:cubicBezTo>
                  <a:cubicBezTo>
                    <a:pt x="29" y="204"/>
                    <a:pt x="29" y="204"/>
                    <a:pt x="29" y="204"/>
                  </a:cubicBezTo>
                  <a:cubicBezTo>
                    <a:pt x="17" y="210"/>
                    <a:pt x="17" y="210"/>
                    <a:pt x="17" y="210"/>
                  </a:cubicBezTo>
                  <a:cubicBezTo>
                    <a:pt x="15" y="226"/>
                    <a:pt x="15" y="226"/>
                    <a:pt x="15" y="226"/>
                  </a:cubicBezTo>
                  <a:cubicBezTo>
                    <a:pt x="15" y="226"/>
                    <a:pt x="30" y="233"/>
                    <a:pt x="27" y="241"/>
                  </a:cubicBezTo>
                  <a:cubicBezTo>
                    <a:pt x="25" y="250"/>
                    <a:pt x="14" y="265"/>
                    <a:pt x="15" y="265"/>
                  </a:cubicBezTo>
                  <a:cubicBezTo>
                    <a:pt x="17" y="265"/>
                    <a:pt x="31" y="268"/>
                    <a:pt x="31" y="268"/>
                  </a:cubicBezTo>
                  <a:cubicBezTo>
                    <a:pt x="19" y="276"/>
                    <a:pt x="19" y="276"/>
                    <a:pt x="19" y="276"/>
                  </a:cubicBezTo>
                  <a:cubicBezTo>
                    <a:pt x="37" y="291"/>
                    <a:pt x="37" y="291"/>
                    <a:pt x="37" y="291"/>
                  </a:cubicBezTo>
                  <a:cubicBezTo>
                    <a:pt x="37" y="291"/>
                    <a:pt x="29" y="307"/>
                    <a:pt x="26" y="317"/>
                  </a:cubicBezTo>
                  <a:cubicBezTo>
                    <a:pt x="23" y="327"/>
                    <a:pt x="21" y="330"/>
                    <a:pt x="21" y="330"/>
                  </a:cubicBezTo>
                  <a:cubicBezTo>
                    <a:pt x="46" y="355"/>
                    <a:pt x="46" y="355"/>
                    <a:pt x="46" y="355"/>
                  </a:cubicBezTo>
                  <a:cubicBezTo>
                    <a:pt x="37" y="361"/>
                    <a:pt x="37" y="361"/>
                    <a:pt x="37" y="361"/>
                  </a:cubicBezTo>
                  <a:cubicBezTo>
                    <a:pt x="36" y="387"/>
                    <a:pt x="36" y="387"/>
                    <a:pt x="36" y="387"/>
                  </a:cubicBezTo>
                  <a:cubicBezTo>
                    <a:pt x="44" y="393"/>
                    <a:pt x="44" y="393"/>
                    <a:pt x="44" y="393"/>
                  </a:cubicBezTo>
                  <a:cubicBezTo>
                    <a:pt x="44" y="393"/>
                    <a:pt x="32" y="400"/>
                    <a:pt x="32" y="401"/>
                  </a:cubicBezTo>
                  <a:cubicBezTo>
                    <a:pt x="32" y="402"/>
                    <a:pt x="35" y="409"/>
                    <a:pt x="35" y="409"/>
                  </a:cubicBezTo>
                  <a:cubicBezTo>
                    <a:pt x="35" y="409"/>
                    <a:pt x="55" y="390"/>
                    <a:pt x="61" y="390"/>
                  </a:cubicBezTo>
                  <a:cubicBezTo>
                    <a:pt x="67" y="389"/>
                    <a:pt x="93" y="378"/>
                    <a:pt x="99" y="372"/>
                  </a:cubicBezTo>
                  <a:cubicBezTo>
                    <a:pt x="104" y="366"/>
                    <a:pt x="128" y="351"/>
                    <a:pt x="128" y="351"/>
                  </a:cubicBezTo>
                  <a:cubicBezTo>
                    <a:pt x="128" y="351"/>
                    <a:pt x="168" y="338"/>
                    <a:pt x="169" y="350"/>
                  </a:cubicBezTo>
                  <a:cubicBezTo>
                    <a:pt x="169" y="363"/>
                    <a:pt x="164" y="366"/>
                    <a:pt x="164" y="366"/>
                  </a:cubicBezTo>
                  <a:cubicBezTo>
                    <a:pt x="192" y="379"/>
                    <a:pt x="192" y="379"/>
                    <a:pt x="192" y="379"/>
                  </a:cubicBezTo>
                  <a:cubicBezTo>
                    <a:pt x="192" y="379"/>
                    <a:pt x="200" y="370"/>
                    <a:pt x="211" y="372"/>
                  </a:cubicBezTo>
                  <a:cubicBezTo>
                    <a:pt x="222" y="374"/>
                    <a:pt x="256" y="400"/>
                    <a:pt x="256" y="400"/>
                  </a:cubicBezTo>
                  <a:cubicBezTo>
                    <a:pt x="256" y="400"/>
                    <a:pt x="281" y="406"/>
                    <a:pt x="282" y="404"/>
                  </a:cubicBezTo>
                  <a:cubicBezTo>
                    <a:pt x="283" y="403"/>
                    <a:pt x="287" y="397"/>
                    <a:pt x="287" y="397"/>
                  </a:cubicBezTo>
                  <a:cubicBezTo>
                    <a:pt x="321" y="423"/>
                    <a:pt x="321" y="423"/>
                    <a:pt x="321" y="423"/>
                  </a:cubicBezTo>
                  <a:cubicBezTo>
                    <a:pt x="321" y="436"/>
                    <a:pt x="321" y="436"/>
                    <a:pt x="321" y="436"/>
                  </a:cubicBezTo>
                  <a:cubicBezTo>
                    <a:pt x="338" y="436"/>
                    <a:pt x="338" y="436"/>
                    <a:pt x="338" y="436"/>
                  </a:cubicBezTo>
                  <a:cubicBezTo>
                    <a:pt x="338" y="436"/>
                    <a:pt x="341" y="427"/>
                    <a:pt x="349" y="430"/>
                  </a:cubicBezTo>
                  <a:cubicBezTo>
                    <a:pt x="357" y="432"/>
                    <a:pt x="410" y="452"/>
                    <a:pt x="407" y="461"/>
                  </a:cubicBezTo>
                  <a:cubicBezTo>
                    <a:pt x="405" y="470"/>
                    <a:pt x="392" y="487"/>
                    <a:pt x="392" y="487"/>
                  </a:cubicBezTo>
                  <a:cubicBezTo>
                    <a:pt x="385" y="487"/>
                    <a:pt x="385" y="487"/>
                    <a:pt x="385" y="487"/>
                  </a:cubicBezTo>
                  <a:cubicBezTo>
                    <a:pt x="380" y="498"/>
                    <a:pt x="380" y="498"/>
                    <a:pt x="380" y="498"/>
                  </a:cubicBezTo>
                  <a:cubicBezTo>
                    <a:pt x="388" y="508"/>
                    <a:pt x="388" y="508"/>
                    <a:pt x="388" y="508"/>
                  </a:cubicBezTo>
                  <a:cubicBezTo>
                    <a:pt x="370" y="509"/>
                    <a:pt x="370" y="509"/>
                    <a:pt x="370" y="509"/>
                  </a:cubicBezTo>
                  <a:cubicBezTo>
                    <a:pt x="364" y="535"/>
                    <a:pt x="364" y="535"/>
                    <a:pt x="364" y="535"/>
                  </a:cubicBezTo>
                  <a:cubicBezTo>
                    <a:pt x="392" y="562"/>
                    <a:pt x="392" y="562"/>
                    <a:pt x="392" y="562"/>
                  </a:cubicBezTo>
                  <a:cubicBezTo>
                    <a:pt x="387" y="571"/>
                    <a:pt x="387" y="571"/>
                    <a:pt x="387" y="571"/>
                  </a:cubicBezTo>
                  <a:cubicBezTo>
                    <a:pt x="417" y="589"/>
                    <a:pt x="417" y="589"/>
                    <a:pt x="417" y="589"/>
                  </a:cubicBezTo>
                  <a:cubicBezTo>
                    <a:pt x="417" y="589"/>
                    <a:pt x="417" y="589"/>
                    <a:pt x="417" y="589"/>
                  </a:cubicBezTo>
                  <a:cubicBezTo>
                    <a:pt x="421" y="591"/>
                    <a:pt x="421" y="591"/>
                    <a:pt x="421" y="591"/>
                  </a:cubicBezTo>
                  <a:cubicBezTo>
                    <a:pt x="421" y="592"/>
                    <a:pt x="421" y="592"/>
                    <a:pt x="421" y="592"/>
                  </a:cubicBezTo>
                  <a:cubicBezTo>
                    <a:pt x="421" y="592"/>
                    <a:pt x="422" y="592"/>
                    <a:pt x="423" y="592"/>
                  </a:cubicBezTo>
                  <a:cubicBezTo>
                    <a:pt x="424" y="589"/>
                    <a:pt x="427" y="581"/>
                    <a:pt x="432" y="574"/>
                  </a:cubicBezTo>
                  <a:cubicBezTo>
                    <a:pt x="438" y="566"/>
                    <a:pt x="453" y="555"/>
                    <a:pt x="453" y="555"/>
                  </a:cubicBezTo>
                  <a:cubicBezTo>
                    <a:pt x="453" y="555"/>
                    <a:pt x="445" y="530"/>
                    <a:pt x="446" y="530"/>
                  </a:cubicBezTo>
                  <a:cubicBezTo>
                    <a:pt x="447" y="530"/>
                    <a:pt x="460" y="475"/>
                    <a:pt x="460" y="469"/>
                  </a:cubicBezTo>
                  <a:cubicBezTo>
                    <a:pt x="461" y="463"/>
                    <a:pt x="471" y="440"/>
                    <a:pt x="471" y="440"/>
                  </a:cubicBezTo>
                  <a:cubicBezTo>
                    <a:pt x="464" y="432"/>
                    <a:pt x="464" y="432"/>
                    <a:pt x="464" y="432"/>
                  </a:cubicBezTo>
                  <a:cubicBezTo>
                    <a:pt x="464" y="432"/>
                    <a:pt x="461" y="382"/>
                    <a:pt x="462" y="382"/>
                  </a:cubicBezTo>
                  <a:cubicBezTo>
                    <a:pt x="463" y="381"/>
                    <a:pt x="456" y="377"/>
                    <a:pt x="456" y="372"/>
                  </a:cubicBezTo>
                  <a:cubicBezTo>
                    <a:pt x="456" y="366"/>
                    <a:pt x="460" y="364"/>
                    <a:pt x="460" y="364"/>
                  </a:cubicBezTo>
                  <a:cubicBezTo>
                    <a:pt x="467" y="326"/>
                    <a:pt x="467" y="326"/>
                    <a:pt x="467" y="326"/>
                  </a:cubicBezTo>
                  <a:cubicBezTo>
                    <a:pt x="461" y="316"/>
                    <a:pt x="461" y="316"/>
                    <a:pt x="461" y="316"/>
                  </a:cubicBezTo>
                  <a:cubicBezTo>
                    <a:pt x="469" y="309"/>
                    <a:pt x="469" y="309"/>
                    <a:pt x="469" y="309"/>
                  </a:cubicBezTo>
                  <a:cubicBezTo>
                    <a:pt x="465" y="283"/>
                    <a:pt x="465" y="283"/>
                    <a:pt x="465" y="283"/>
                  </a:cubicBezTo>
                  <a:cubicBezTo>
                    <a:pt x="485" y="266"/>
                    <a:pt x="485" y="266"/>
                    <a:pt x="485" y="266"/>
                  </a:cubicBezTo>
                  <a:cubicBezTo>
                    <a:pt x="496" y="271"/>
                    <a:pt x="496" y="271"/>
                    <a:pt x="496" y="271"/>
                  </a:cubicBezTo>
                  <a:cubicBezTo>
                    <a:pt x="496" y="271"/>
                    <a:pt x="526" y="242"/>
                    <a:pt x="539" y="217"/>
                  </a:cubicBezTo>
                  <a:cubicBezTo>
                    <a:pt x="544" y="209"/>
                    <a:pt x="551" y="197"/>
                    <a:pt x="558" y="185"/>
                  </a:cubicBezTo>
                  <a:cubicBezTo>
                    <a:pt x="535" y="184"/>
                    <a:pt x="535" y="184"/>
                    <a:pt x="535" y="184"/>
                  </a:cubicBezTo>
                  <a:lnTo>
                    <a:pt x="530" y="176"/>
                  </a:ln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defRPr/>
              </a:pPr>
              <a:endParaRPr lang="en-US" sz="500" dirty="0">
                <a:solidFill>
                  <a:srgbClr val="000000"/>
                </a:solidFill>
                <a:latin typeface="Arial" pitchFamily="34" charset="0"/>
              </a:endParaRPr>
            </a:p>
          </p:txBody>
        </p:sp>
        <p:sp>
          <p:nvSpPr>
            <p:cNvPr id="230" name="Freeform 325">
              <a:extLst>
                <a:ext uri="{FF2B5EF4-FFF2-40B4-BE49-F238E27FC236}">
                  <a16:creationId xmlns:a16="http://schemas.microsoft.com/office/drawing/2014/main" id="{C7CCEEB1-F9E7-460F-AF27-ABC225C088A7}"/>
                </a:ext>
              </a:extLst>
            </p:cNvPr>
            <p:cNvSpPr>
              <a:spLocks noChangeAspect="1"/>
            </p:cNvSpPr>
            <p:nvPr/>
          </p:nvSpPr>
          <p:spPr bwMode="auto">
            <a:xfrm>
              <a:off x="11527" y="1760"/>
              <a:ext cx="1371" cy="1295"/>
            </a:xfrm>
            <a:custGeom>
              <a:avLst/>
              <a:gdLst/>
              <a:ahLst/>
              <a:cxnLst>
                <a:cxn ang="0">
                  <a:pos x="259" y="629"/>
                </a:cxn>
                <a:cxn ang="0">
                  <a:pos x="281" y="619"/>
                </a:cxn>
                <a:cxn ang="0">
                  <a:pos x="300" y="608"/>
                </a:cxn>
                <a:cxn ang="0">
                  <a:pos x="310" y="606"/>
                </a:cxn>
                <a:cxn ang="0">
                  <a:pos x="349" y="602"/>
                </a:cxn>
                <a:cxn ang="0">
                  <a:pos x="377" y="618"/>
                </a:cxn>
                <a:cxn ang="0">
                  <a:pos x="425" y="612"/>
                </a:cxn>
                <a:cxn ang="0">
                  <a:pos x="455" y="616"/>
                </a:cxn>
                <a:cxn ang="0">
                  <a:pos x="476" y="597"/>
                </a:cxn>
                <a:cxn ang="0">
                  <a:pos x="466" y="626"/>
                </a:cxn>
                <a:cxn ang="0">
                  <a:pos x="471" y="643"/>
                </a:cxn>
                <a:cxn ang="0">
                  <a:pos x="508" y="629"/>
                </a:cxn>
                <a:cxn ang="0">
                  <a:pos x="515" y="589"/>
                </a:cxn>
                <a:cxn ang="0">
                  <a:pos x="548" y="553"/>
                </a:cxn>
                <a:cxn ang="0">
                  <a:pos x="565" y="517"/>
                </a:cxn>
                <a:cxn ang="0">
                  <a:pos x="597" y="484"/>
                </a:cxn>
                <a:cxn ang="0">
                  <a:pos x="633" y="463"/>
                </a:cxn>
                <a:cxn ang="0">
                  <a:pos x="648" y="410"/>
                </a:cxn>
                <a:cxn ang="0">
                  <a:pos x="664" y="362"/>
                </a:cxn>
                <a:cxn ang="0">
                  <a:pos x="665" y="332"/>
                </a:cxn>
                <a:cxn ang="0">
                  <a:pos x="657" y="299"/>
                </a:cxn>
                <a:cxn ang="0">
                  <a:pos x="654" y="244"/>
                </a:cxn>
                <a:cxn ang="0">
                  <a:pos x="664" y="201"/>
                </a:cxn>
                <a:cxn ang="0">
                  <a:pos x="291" y="127"/>
                </a:cxn>
                <a:cxn ang="0">
                  <a:pos x="242" y="91"/>
                </a:cxn>
                <a:cxn ang="0">
                  <a:pos x="208" y="2"/>
                </a:cxn>
                <a:cxn ang="0">
                  <a:pos x="196" y="34"/>
                </a:cxn>
                <a:cxn ang="0">
                  <a:pos x="192" y="74"/>
                </a:cxn>
                <a:cxn ang="0">
                  <a:pos x="189" y="89"/>
                </a:cxn>
                <a:cxn ang="0">
                  <a:pos x="5" y="116"/>
                </a:cxn>
                <a:cxn ang="0">
                  <a:pos x="3" y="129"/>
                </a:cxn>
                <a:cxn ang="0">
                  <a:pos x="2" y="146"/>
                </a:cxn>
                <a:cxn ang="0">
                  <a:pos x="0" y="171"/>
                </a:cxn>
                <a:cxn ang="0">
                  <a:pos x="3" y="218"/>
                </a:cxn>
                <a:cxn ang="0">
                  <a:pos x="78" y="228"/>
                </a:cxn>
                <a:cxn ang="0">
                  <a:pos x="106" y="244"/>
                </a:cxn>
                <a:cxn ang="0">
                  <a:pos x="90" y="274"/>
                </a:cxn>
                <a:cxn ang="0">
                  <a:pos x="101" y="288"/>
                </a:cxn>
                <a:cxn ang="0">
                  <a:pos x="90" y="319"/>
                </a:cxn>
                <a:cxn ang="0">
                  <a:pos x="76" y="347"/>
                </a:cxn>
                <a:cxn ang="0">
                  <a:pos x="53" y="384"/>
                </a:cxn>
                <a:cxn ang="0">
                  <a:pos x="62" y="414"/>
                </a:cxn>
                <a:cxn ang="0">
                  <a:pos x="81" y="468"/>
                </a:cxn>
                <a:cxn ang="0">
                  <a:pos x="83" y="490"/>
                </a:cxn>
                <a:cxn ang="0">
                  <a:pos x="174" y="543"/>
                </a:cxn>
                <a:cxn ang="0">
                  <a:pos x="189" y="567"/>
                </a:cxn>
                <a:cxn ang="0">
                  <a:pos x="214" y="616"/>
                </a:cxn>
                <a:cxn ang="0">
                  <a:pos x="232" y="620"/>
                </a:cxn>
                <a:cxn ang="0">
                  <a:pos x="241" y="631"/>
                </a:cxn>
              </a:cxnLst>
              <a:rect l="0" t="0" r="r" b="b"/>
              <a:pathLst>
                <a:path w="686" h="645">
                  <a:moveTo>
                    <a:pt x="255" y="639"/>
                  </a:moveTo>
                  <a:cubicBezTo>
                    <a:pt x="259" y="629"/>
                    <a:pt x="259" y="629"/>
                    <a:pt x="259" y="629"/>
                  </a:cubicBezTo>
                  <a:cubicBezTo>
                    <a:pt x="259" y="629"/>
                    <a:pt x="273" y="634"/>
                    <a:pt x="273" y="632"/>
                  </a:cubicBezTo>
                  <a:cubicBezTo>
                    <a:pt x="274" y="630"/>
                    <a:pt x="280" y="624"/>
                    <a:pt x="281" y="619"/>
                  </a:cubicBezTo>
                  <a:cubicBezTo>
                    <a:pt x="282" y="613"/>
                    <a:pt x="292" y="599"/>
                    <a:pt x="292" y="599"/>
                  </a:cubicBezTo>
                  <a:cubicBezTo>
                    <a:pt x="300" y="608"/>
                    <a:pt x="300" y="608"/>
                    <a:pt x="300" y="608"/>
                  </a:cubicBezTo>
                  <a:cubicBezTo>
                    <a:pt x="306" y="599"/>
                    <a:pt x="306" y="599"/>
                    <a:pt x="306" y="599"/>
                  </a:cubicBezTo>
                  <a:cubicBezTo>
                    <a:pt x="310" y="606"/>
                    <a:pt x="310" y="606"/>
                    <a:pt x="310" y="606"/>
                  </a:cubicBezTo>
                  <a:cubicBezTo>
                    <a:pt x="310" y="606"/>
                    <a:pt x="318" y="595"/>
                    <a:pt x="331" y="596"/>
                  </a:cubicBezTo>
                  <a:cubicBezTo>
                    <a:pt x="343" y="596"/>
                    <a:pt x="339" y="600"/>
                    <a:pt x="349" y="602"/>
                  </a:cubicBezTo>
                  <a:cubicBezTo>
                    <a:pt x="358" y="603"/>
                    <a:pt x="365" y="605"/>
                    <a:pt x="365" y="605"/>
                  </a:cubicBezTo>
                  <a:cubicBezTo>
                    <a:pt x="365" y="605"/>
                    <a:pt x="374" y="618"/>
                    <a:pt x="377" y="618"/>
                  </a:cubicBezTo>
                  <a:cubicBezTo>
                    <a:pt x="379" y="618"/>
                    <a:pt x="408" y="620"/>
                    <a:pt x="408" y="620"/>
                  </a:cubicBezTo>
                  <a:cubicBezTo>
                    <a:pt x="425" y="612"/>
                    <a:pt x="425" y="612"/>
                    <a:pt x="425" y="612"/>
                  </a:cubicBezTo>
                  <a:cubicBezTo>
                    <a:pt x="441" y="625"/>
                    <a:pt x="441" y="625"/>
                    <a:pt x="441" y="625"/>
                  </a:cubicBezTo>
                  <a:cubicBezTo>
                    <a:pt x="441" y="625"/>
                    <a:pt x="452" y="621"/>
                    <a:pt x="455" y="616"/>
                  </a:cubicBezTo>
                  <a:cubicBezTo>
                    <a:pt x="458" y="611"/>
                    <a:pt x="466" y="611"/>
                    <a:pt x="466" y="611"/>
                  </a:cubicBezTo>
                  <a:cubicBezTo>
                    <a:pt x="476" y="597"/>
                    <a:pt x="476" y="597"/>
                    <a:pt x="476" y="597"/>
                  </a:cubicBezTo>
                  <a:cubicBezTo>
                    <a:pt x="475" y="622"/>
                    <a:pt x="475" y="622"/>
                    <a:pt x="475" y="622"/>
                  </a:cubicBezTo>
                  <a:cubicBezTo>
                    <a:pt x="466" y="626"/>
                    <a:pt x="466" y="626"/>
                    <a:pt x="466" y="626"/>
                  </a:cubicBezTo>
                  <a:cubicBezTo>
                    <a:pt x="461" y="636"/>
                    <a:pt x="461" y="636"/>
                    <a:pt x="461" y="636"/>
                  </a:cubicBezTo>
                  <a:cubicBezTo>
                    <a:pt x="471" y="643"/>
                    <a:pt x="471" y="643"/>
                    <a:pt x="471" y="643"/>
                  </a:cubicBezTo>
                  <a:cubicBezTo>
                    <a:pt x="514" y="645"/>
                    <a:pt x="514" y="645"/>
                    <a:pt x="514" y="645"/>
                  </a:cubicBezTo>
                  <a:cubicBezTo>
                    <a:pt x="514" y="645"/>
                    <a:pt x="514" y="632"/>
                    <a:pt x="508" y="629"/>
                  </a:cubicBezTo>
                  <a:cubicBezTo>
                    <a:pt x="503" y="627"/>
                    <a:pt x="503" y="599"/>
                    <a:pt x="503" y="599"/>
                  </a:cubicBezTo>
                  <a:cubicBezTo>
                    <a:pt x="515" y="589"/>
                    <a:pt x="515" y="589"/>
                    <a:pt x="515" y="589"/>
                  </a:cubicBezTo>
                  <a:cubicBezTo>
                    <a:pt x="516" y="577"/>
                    <a:pt x="516" y="577"/>
                    <a:pt x="516" y="577"/>
                  </a:cubicBezTo>
                  <a:cubicBezTo>
                    <a:pt x="548" y="553"/>
                    <a:pt x="548" y="553"/>
                    <a:pt x="548" y="553"/>
                  </a:cubicBezTo>
                  <a:cubicBezTo>
                    <a:pt x="540" y="541"/>
                    <a:pt x="540" y="541"/>
                    <a:pt x="540" y="541"/>
                  </a:cubicBezTo>
                  <a:cubicBezTo>
                    <a:pt x="540" y="541"/>
                    <a:pt x="563" y="517"/>
                    <a:pt x="565" y="517"/>
                  </a:cubicBezTo>
                  <a:cubicBezTo>
                    <a:pt x="567" y="517"/>
                    <a:pt x="585" y="515"/>
                    <a:pt x="590" y="508"/>
                  </a:cubicBezTo>
                  <a:cubicBezTo>
                    <a:pt x="596" y="501"/>
                    <a:pt x="595" y="486"/>
                    <a:pt x="597" y="484"/>
                  </a:cubicBezTo>
                  <a:cubicBezTo>
                    <a:pt x="599" y="481"/>
                    <a:pt x="619" y="461"/>
                    <a:pt x="619" y="462"/>
                  </a:cubicBezTo>
                  <a:cubicBezTo>
                    <a:pt x="619" y="464"/>
                    <a:pt x="626" y="470"/>
                    <a:pt x="633" y="463"/>
                  </a:cubicBezTo>
                  <a:cubicBezTo>
                    <a:pt x="640" y="456"/>
                    <a:pt x="641" y="417"/>
                    <a:pt x="641" y="415"/>
                  </a:cubicBezTo>
                  <a:cubicBezTo>
                    <a:pt x="641" y="413"/>
                    <a:pt x="648" y="411"/>
                    <a:pt x="648" y="410"/>
                  </a:cubicBezTo>
                  <a:cubicBezTo>
                    <a:pt x="648" y="408"/>
                    <a:pt x="649" y="386"/>
                    <a:pt x="649" y="386"/>
                  </a:cubicBezTo>
                  <a:cubicBezTo>
                    <a:pt x="649" y="386"/>
                    <a:pt x="663" y="380"/>
                    <a:pt x="664" y="362"/>
                  </a:cubicBezTo>
                  <a:cubicBezTo>
                    <a:pt x="665" y="353"/>
                    <a:pt x="666" y="340"/>
                    <a:pt x="668" y="329"/>
                  </a:cubicBezTo>
                  <a:cubicBezTo>
                    <a:pt x="665" y="332"/>
                    <a:pt x="665" y="332"/>
                    <a:pt x="665" y="332"/>
                  </a:cubicBezTo>
                  <a:cubicBezTo>
                    <a:pt x="662" y="303"/>
                    <a:pt x="662" y="303"/>
                    <a:pt x="662" y="303"/>
                  </a:cubicBezTo>
                  <a:cubicBezTo>
                    <a:pt x="657" y="299"/>
                    <a:pt x="657" y="299"/>
                    <a:pt x="657" y="299"/>
                  </a:cubicBezTo>
                  <a:cubicBezTo>
                    <a:pt x="656" y="269"/>
                    <a:pt x="656" y="269"/>
                    <a:pt x="656" y="269"/>
                  </a:cubicBezTo>
                  <a:cubicBezTo>
                    <a:pt x="654" y="244"/>
                    <a:pt x="654" y="244"/>
                    <a:pt x="654" y="244"/>
                  </a:cubicBezTo>
                  <a:cubicBezTo>
                    <a:pt x="663" y="232"/>
                    <a:pt x="663" y="232"/>
                    <a:pt x="663" y="232"/>
                  </a:cubicBezTo>
                  <a:cubicBezTo>
                    <a:pt x="663" y="232"/>
                    <a:pt x="661" y="212"/>
                    <a:pt x="664" y="201"/>
                  </a:cubicBezTo>
                  <a:cubicBezTo>
                    <a:pt x="668" y="190"/>
                    <a:pt x="686" y="152"/>
                    <a:pt x="686" y="152"/>
                  </a:cubicBezTo>
                  <a:cubicBezTo>
                    <a:pt x="291" y="127"/>
                    <a:pt x="291" y="127"/>
                    <a:pt x="291" y="127"/>
                  </a:cubicBezTo>
                  <a:cubicBezTo>
                    <a:pt x="255" y="91"/>
                    <a:pt x="255" y="91"/>
                    <a:pt x="255" y="91"/>
                  </a:cubicBezTo>
                  <a:cubicBezTo>
                    <a:pt x="255" y="91"/>
                    <a:pt x="251" y="96"/>
                    <a:pt x="242" y="91"/>
                  </a:cubicBezTo>
                  <a:cubicBezTo>
                    <a:pt x="232" y="86"/>
                    <a:pt x="236" y="54"/>
                    <a:pt x="236" y="54"/>
                  </a:cubicBezTo>
                  <a:cubicBezTo>
                    <a:pt x="236" y="54"/>
                    <a:pt x="216" y="5"/>
                    <a:pt x="208" y="2"/>
                  </a:cubicBezTo>
                  <a:cubicBezTo>
                    <a:pt x="200" y="0"/>
                    <a:pt x="208" y="23"/>
                    <a:pt x="208" y="23"/>
                  </a:cubicBezTo>
                  <a:cubicBezTo>
                    <a:pt x="196" y="34"/>
                    <a:pt x="196" y="34"/>
                    <a:pt x="196" y="34"/>
                  </a:cubicBezTo>
                  <a:cubicBezTo>
                    <a:pt x="196" y="34"/>
                    <a:pt x="200" y="44"/>
                    <a:pt x="200" y="54"/>
                  </a:cubicBezTo>
                  <a:cubicBezTo>
                    <a:pt x="199" y="65"/>
                    <a:pt x="196" y="66"/>
                    <a:pt x="192" y="74"/>
                  </a:cubicBezTo>
                  <a:cubicBezTo>
                    <a:pt x="189" y="82"/>
                    <a:pt x="200" y="84"/>
                    <a:pt x="200" y="84"/>
                  </a:cubicBezTo>
                  <a:cubicBezTo>
                    <a:pt x="189" y="89"/>
                    <a:pt x="189" y="89"/>
                    <a:pt x="189" y="89"/>
                  </a:cubicBezTo>
                  <a:cubicBezTo>
                    <a:pt x="1" y="92"/>
                    <a:pt x="1" y="92"/>
                    <a:pt x="1" y="92"/>
                  </a:cubicBezTo>
                  <a:cubicBezTo>
                    <a:pt x="5" y="116"/>
                    <a:pt x="5" y="116"/>
                    <a:pt x="5" y="116"/>
                  </a:cubicBezTo>
                  <a:cubicBezTo>
                    <a:pt x="1" y="121"/>
                    <a:pt x="1" y="121"/>
                    <a:pt x="1" y="121"/>
                  </a:cubicBezTo>
                  <a:cubicBezTo>
                    <a:pt x="3" y="129"/>
                    <a:pt x="3" y="129"/>
                    <a:pt x="3" y="129"/>
                  </a:cubicBezTo>
                  <a:cubicBezTo>
                    <a:pt x="9" y="137"/>
                    <a:pt x="9" y="137"/>
                    <a:pt x="9" y="137"/>
                  </a:cubicBezTo>
                  <a:cubicBezTo>
                    <a:pt x="2" y="146"/>
                    <a:pt x="2" y="146"/>
                    <a:pt x="2" y="146"/>
                  </a:cubicBezTo>
                  <a:cubicBezTo>
                    <a:pt x="10" y="156"/>
                    <a:pt x="10" y="156"/>
                    <a:pt x="10" y="156"/>
                  </a:cubicBezTo>
                  <a:cubicBezTo>
                    <a:pt x="10" y="156"/>
                    <a:pt x="0" y="165"/>
                    <a:pt x="0" y="171"/>
                  </a:cubicBezTo>
                  <a:cubicBezTo>
                    <a:pt x="0" y="178"/>
                    <a:pt x="8" y="189"/>
                    <a:pt x="9" y="193"/>
                  </a:cubicBezTo>
                  <a:cubicBezTo>
                    <a:pt x="10" y="196"/>
                    <a:pt x="3" y="218"/>
                    <a:pt x="3" y="218"/>
                  </a:cubicBezTo>
                  <a:cubicBezTo>
                    <a:pt x="68" y="221"/>
                    <a:pt x="68" y="221"/>
                    <a:pt x="68" y="221"/>
                  </a:cubicBezTo>
                  <a:cubicBezTo>
                    <a:pt x="78" y="228"/>
                    <a:pt x="78" y="228"/>
                    <a:pt x="78" y="228"/>
                  </a:cubicBezTo>
                  <a:cubicBezTo>
                    <a:pt x="93" y="225"/>
                    <a:pt x="93" y="225"/>
                    <a:pt x="93" y="225"/>
                  </a:cubicBezTo>
                  <a:cubicBezTo>
                    <a:pt x="106" y="244"/>
                    <a:pt x="106" y="244"/>
                    <a:pt x="106" y="244"/>
                  </a:cubicBezTo>
                  <a:cubicBezTo>
                    <a:pt x="88" y="256"/>
                    <a:pt x="88" y="256"/>
                    <a:pt x="88" y="256"/>
                  </a:cubicBezTo>
                  <a:cubicBezTo>
                    <a:pt x="90" y="274"/>
                    <a:pt x="90" y="274"/>
                    <a:pt x="90" y="274"/>
                  </a:cubicBezTo>
                  <a:cubicBezTo>
                    <a:pt x="101" y="277"/>
                    <a:pt x="101" y="277"/>
                    <a:pt x="101" y="277"/>
                  </a:cubicBezTo>
                  <a:cubicBezTo>
                    <a:pt x="101" y="288"/>
                    <a:pt x="101" y="288"/>
                    <a:pt x="101" y="288"/>
                  </a:cubicBezTo>
                  <a:cubicBezTo>
                    <a:pt x="113" y="304"/>
                    <a:pt x="113" y="304"/>
                    <a:pt x="113" y="304"/>
                  </a:cubicBezTo>
                  <a:cubicBezTo>
                    <a:pt x="90" y="319"/>
                    <a:pt x="90" y="319"/>
                    <a:pt x="90" y="319"/>
                  </a:cubicBezTo>
                  <a:cubicBezTo>
                    <a:pt x="90" y="337"/>
                    <a:pt x="90" y="337"/>
                    <a:pt x="90" y="337"/>
                  </a:cubicBezTo>
                  <a:cubicBezTo>
                    <a:pt x="76" y="347"/>
                    <a:pt x="76" y="347"/>
                    <a:pt x="76" y="347"/>
                  </a:cubicBezTo>
                  <a:cubicBezTo>
                    <a:pt x="76" y="347"/>
                    <a:pt x="73" y="369"/>
                    <a:pt x="73" y="370"/>
                  </a:cubicBezTo>
                  <a:cubicBezTo>
                    <a:pt x="73" y="371"/>
                    <a:pt x="62" y="378"/>
                    <a:pt x="53" y="384"/>
                  </a:cubicBezTo>
                  <a:cubicBezTo>
                    <a:pt x="61" y="389"/>
                    <a:pt x="70" y="396"/>
                    <a:pt x="72" y="399"/>
                  </a:cubicBezTo>
                  <a:cubicBezTo>
                    <a:pt x="76" y="404"/>
                    <a:pt x="62" y="414"/>
                    <a:pt x="62" y="414"/>
                  </a:cubicBezTo>
                  <a:cubicBezTo>
                    <a:pt x="80" y="444"/>
                    <a:pt x="80" y="444"/>
                    <a:pt x="80" y="444"/>
                  </a:cubicBezTo>
                  <a:cubicBezTo>
                    <a:pt x="81" y="468"/>
                    <a:pt x="81" y="468"/>
                    <a:pt x="81" y="468"/>
                  </a:cubicBezTo>
                  <a:cubicBezTo>
                    <a:pt x="81" y="468"/>
                    <a:pt x="62" y="470"/>
                    <a:pt x="61" y="470"/>
                  </a:cubicBezTo>
                  <a:cubicBezTo>
                    <a:pt x="60" y="470"/>
                    <a:pt x="83" y="490"/>
                    <a:pt x="83" y="490"/>
                  </a:cubicBezTo>
                  <a:cubicBezTo>
                    <a:pt x="87" y="541"/>
                    <a:pt x="87" y="541"/>
                    <a:pt x="87" y="541"/>
                  </a:cubicBezTo>
                  <a:cubicBezTo>
                    <a:pt x="87" y="541"/>
                    <a:pt x="164" y="543"/>
                    <a:pt x="174" y="543"/>
                  </a:cubicBezTo>
                  <a:cubicBezTo>
                    <a:pt x="184" y="543"/>
                    <a:pt x="201" y="540"/>
                    <a:pt x="201" y="540"/>
                  </a:cubicBezTo>
                  <a:cubicBezTo>
                    <a:pt x="201" y="540"/>
                    <a:pt x="189" y="566"/>
                    <a:pt x="189" y="567"/>
                  </a:cubicBezTo>
                  <a:cubicBezTo>
                    <a:pt x="189" y="568"/>
                    <a:pt x="188" y="581"/>
                    <a:pt x="191" y="590"/>
                  </a:cubicBezTo>
                  <a:cubicBezTo>
                    <a:pt x="195" y="599"/>
                    <a:pt x="214" y="616"/>
                    <a:pt x="214" y="616"/>
                  </a:cubicBezTo>
                  <a:cubicBezTo>
                    <a:pt x="222" y="610"/>
                    <a:pt x="222" y="610"/>
                    <a:pt x="222" y="610"/>
                  </a:cubicBezTo>
                  <a:cubicBezTo>
                    <a:pt x="232" y="620"/>
                    <a:pt x="232" y="620"/>
                    <a:pt x="232" y="620"/>
                  </a:cubicBezTo>
                  <a:cubicBezTo>
                    <a:pt x="232" y="620"/>
                    <a:pt x="230" y="621"/>
                    <a:pt x="232" y="630"/>
                  </a:cubicBezTo>
                  <a:cubicBezTo>
                    <a:pt x="241" y="631"/>
                    <a:pt x="241" y="631"/>
                    <a:pt x="241" y="631"/>
                  </a:cubicBezTo>
                  <a:lnTo>
                    <a:pt x="255" y="639"/>
                  </a:lnTo>
                  <a:close/>
                </a:path>
              </a:pathLst>
            </a:custGeom>
            <a:solidFill>
              <a:schemeClr val="bg1">
                <a:lumMod val="75000"/>
              </a:schemeClr>
            </a:solid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sp>
          <p:nvSpPr>
            <p:cNvPr id="231" name="Freeform 323">
              <a:extLst>
                <a:ext uri="{FF2B5EF4-FFF2-40B4-BE49-F238E27FC236}">
                  <a16:creationId xmlns:a16="http://schemas.microsoft.com/office/drawing/2014/main" id="{9B17FFB0-56BB-402E-BB30-915D95B7DB99}"/>
                </a:ext>
              </a:extLst>
            </p:cNvPr>
            <p:cNvSpPr>
              <a:spLocks noChangeAspect="1"/>
            </p:cNvSpPr>
            <p:nvPr/>
          </p:nvSpPr>
          <p:spPr bwMode="auto">
            <a:xfrm>
              <a:off x="11848" y="564"/>
              <a:ext cx="1543" cy="1499"/>
            </a:xfrm>
            <a:custGeom>
              <a:avLst/>
              <a:gdLst/>
              <a:ahLst/>
              <a:cxnLst>
                <a:cxn ang="0">
                  <a:pos x="561" y="688"/>
                </a:cxn>
                <a:cxn ang="0">
                  <a:pos x="591" y="628"/>
                </a:cxn>
                <a:cxn ang="0">
                  <a:pos x="588" y="596"/>
                </a:cxn>
                <a:cxn ang="0">
                  <a:pos x="615" y="559"/>
                </a:cxn>
                <a:cxn ang="0">
                  <a:pos x="632" y="529"/>
                </a:cxn>
                <a:cxn ang="0">
                  <a:pos x="647" y="516"/>
                </a:cxn>
                <a:cxn ang="0">
                  <a:pos x="638" y="489"/>
                </a:cxn>
                <a:cxn ang="0">
                  <a:pos x="615" y="476"/>
                </a:cxn>
                <a:cxn ang="0">
                  <a:pos x="684" y="433"/>
                </a:cxn>
                <a:cxn ang="0">
                  <a:pos x="716" y="370"/>
                </a:cxn>
                <a:cxn ang="0">
                  <a:pos x="753" y="315"/>
                </a:cxn>
                <a:cxn ang="0">
                  <a:pos x="762" y="259"/>
                </a:cxn>
                <a:cxn ang="0">
                  <a:pos x="766" y="215"/>
                </a:cxn>
                <a:cxn ang="0">
                  <a:pos x="690" y="196"/>
                </a:cxn>
                <a:cxn ang="0">
                  <a:pos x="628" y="182"/>
                </a:cxn>
                <a:cxn ang="0">
                  <a:pos x="561" y="134"/>
                </a:cxn>
                <a:cxn ang="0">
                  <a:pos x="529" y="111"/>
                </a:cxn>
                <a:cxn ang="0">
                  <a:pos x="509" y="129"/>
                </a:cxn>
                <a:cxn ang="0">
                  <a:pos x="476" y="160"/>
                </a:cxn>
                <a:cxn ang="0">
                  <a:pos x="452" y="189"/>
                </a:cxn>
                <a:cxn ang="0">
                  <a:pos x="434" y="204"/>
                </a:cxn>
                <a:cxn ang="0">
                  <a:pos x="415" y="230"/>
                </a:cxn>
                <a:cxn ang="0">
                  <a:pos x="387" y="205"/>
                </a:cxn>
                <a:cxn ang="0">
                  <a:pos x="371" y="171"/>
                </a:cxn>
                <a:cxn ang="0">
                  <a:pos x="350" y="144"/>
                </a:cxn>
                <a:cxn ang="0">
                  <a:pos x="352" y="120"/>
                </a:cxn>
                <a:cxn ang="0">
                  <a:pos x="318" y="72"/>
                </a:cxn>
                <a:cxn ang="0">
                  <a:pos x="249" y="50"/>
                </a:cxn>
                <a:cxn ang="0">
                  <a:pos x="251" y="22"/>
                </a:cxn>
                <a:cxn ang="0">
                  <a:pos x="214" y="12"/>
                </a:cxn>
                <a:cxn ang="0">
                  <a:pos x="179" y="4"/>
                </a:cxn>
                <a:cxn ang="0">
                  <a:pos x="152" y="37"/>
                </a:cxn>
                <a:cxn ang="0">
                  <a:pos x="81" y="53"/>
                </a:cxn>
                <a:cxn ang="0">
                  <a:pos x="34" y="58"/>
                </a:cxn>
                <a:cxn ang="0">
                  <a:pos x="2" y="82"/>
                </a:cxn>
                <a:cxn ang="0">
                  <a:pos x="1" y="141"/>
                </a:cxn>
                <a:cxn ang="0">
                  <a:pos x="12" y="197"/>
                </a:cxn>
                <a:cxn ang="0">
                  <a:pos x="30" y="222"/>
                </a:cxn>
                <a:cxn ang="0">
                  <a:pos x="53" y="238"/>
                </a:cxn>
                <a:cxn ang="0">
                  <a:pos x="86" y="255"/>
                </a:cxn>
                <a:cxn ang="0">
                  <a:pos x="116" y="273"/>
                </a:cxn>
                <a:cxn ang="0">
                  <a:pos x="160" y="284"/>
                </a:cxn>
                <a:cxn ang="0">
                  <a:pos x="159" y="294"/>
                </a:cxn>
                <a:cxn ang="0">
                  <a:pos x="109" y="393"/>
                </a:cxn>
                <a:cxn ang="0">
                  <a:pos x="26" y="560"/>
                </a:cxn>
                <a:cxn ang="0">
                  <a:pos x="74" y="651"/>
                </a:cxn>
                <a:cxn ang="0">
                  <a:pos x="129" y="724"/>
                </a:cxn>
                <a:cxn ang="0">
                  <a:pos x="545" y="706"/>
                </a:cxn>
              </a:cxnLst>
              <a:rect l="0" t="0" r="r" b="b"/>
              <a:pathLst>
                <a:path w="771" h="749">
                  <a:moveTo>
                    <a:pt x="545" y="706"/>
                  </a:moveTo>
                  <a:cubicBezTo>
                    <a:pt x="558" y="688"/>
                    <a:pt x="558" y="688"/>
                    <a:pt x="558" y="688"/>
                  </a:cubicBezTo>
                  <a:cubicBezTo>
                    <a:pt x="561" y="688"/>
                    <a:pt x="561" y="688"/>
                    <a:pt x="561" y="688"/>
                  </a:cubicBezTo>
                  <a:cubicBezTo>
                    <a:pt x="561" y="688"/>
                    <a:pt x="583" y="663"/>
                    <a:pt x="583" y="657"/>
                  </a:cubicBezTo>
                  <a:cubicBezTo>
                    <a:pt x="583" y="651"/>
                    <a:pt x="583" y="639"/>
                    <a:pt x="583" y="639"/>
                  </a:cubicBezTo>
                  <a:cubicBezTo>
                    <a:pt x="591" y="628"/>
                    <a:pt x="591" y="628"/>
                    <a:pt x="591" y="628"/>
                  </a:cubicBezTo>
                  <a:cubicBezTo>
                    <a:pt x="578" y="615"/>
                    <a:pt x="578" y="615"/>
                    <a:pt x="578" y="615"/>
                  </a:cubicBezTo>
                  <a:cubicBezTo>
                    <a:pt x="578" y="601"/>
                    <a:pt x="578" y="601"/>
                    <a:pt x="578" y="601"/>
                  </a:cubicBezTo>
                  <a:cubicBezTo>
                    <a:pt x="588" y="596"/>
                    <a:pt x="588" y="596"/>
                    <a:pt x="588" y="596"/>
                  </a:cubicBezTo>
                  <a:cubicBezTo>
                    <a:pt x="585" y="569"/>
                    <a:pt x="585" y="569"/>
                    <a:pt x="585" y="569"/>
                  </a:cubicBezTo>
                  <a:cubicBezTo>
                    <a:pt x="598" y="563"/>
                    <a:pt x="598" y="563"/>
                    <a:pt x="598" y="563"/>
                  </a:cubicBezTo>
                  <a:cubicBezTo>
                    <a:pt x="598" y="563"/>
                    <a:pt x="608" y="565"/>
                    <a:pt x="615" y="559"/>
                  </a:cubicBezTo>
                  <a:cubicBezTo>
                    <a:pt x="622" y="553"/>
                    <a:pt x="609" y="547"/>
                    <a:pt x="622" y="545"/>
                  </a:cubicBezTo>
                  <a:cubicBezTo>
                    <a:pt x="635" y="543"/>
                    <a:pt x="632" y="540"/>
                    <a:pt x="632" y="540"/>
                  </a:cubicBezTo>
                  <a:cubicBezTo>
                    <a:pt x="632" y="529"/>
                    <a:pt x="632" y="529"/>
                    <a:pt x="632" y="529"/>
                  </a:cubicBezTo>
                  <a:cubicBezTo>
                    <a:pt x="643" y="528"/>
                    <a:pt x="643" y="528"/>
                    <a:pt x="643" y="528"/>
                  </a:cubicBezTo>
                  <a:cubicBezTo>
                    <a:pt x="635" y="517"/>
                    <a:pt x="635" y="517"/>
                    <a:pt x="635" y="517"/>
                  </a:cubicBezTo>
                  <a:cubicBezTo>
                    <a:pt x="647" y="516"/>
                    <a:pt x="647" y="516"/>
                    <a:pt x="647" y="516"/>
                  </a:cubicBezTo>
                  <a:cubicBezTo>
                    <a:pt x="647" y="516"/>
                    <a:pt x="643" y="510"/>
                    <a:pt x="644" y="506"/>
                  </a:cubicBezTo>
                  <a:cubicBezTo>
                    <a:pt x="644" y="503"/>
                    <a:pt x="651" y="499"/>
                    <a:pt x="651" y="499"/>
                  </a:cubicBezTo>
                  <a:cubicBezTo>
                    <a:pt x="638" y="489"/>
                    <a:pt x="638" y="489"/>
                    <a:pt x="638" y="489"/>
                  </a:cubicBezTo>
                  <a:cubicBezTo>
                    <a:pt x="638" y="484"/>
                    <a:pt x="638" y="484"/>
                    <a:pt x="638" y="484"/>
                  </a:cubicBezTo>
                  <a:cubicBezTo>
                    <a:pt x="611" y="480"/>
                    <a:pt x="611" y="480"/>
                    <a:pt x="611" y="480"/>
                  </a:cubicBezTo>
                  <a:cubicBezTo>
                    <a:pt x="611" y="480"/>
                    <a:pt x="612" y="478"/>
                    <a:pt x="615" y="476"/>
                  </a:cubicBezTo>
                  <a:cubicBezTo>
                    <a:pt x="613" y="475"/>
                    <a:pt x="613" y="475"/>
                    <a:pt x="613" y="475"/>
                  </a:cubicBezTo>
                  <a:cubicBezTo>
                    <a:pt x="664" y="433"/>
                    <a:pt x="664" y="433"/>
                    <a:pt x="664" y="433"/>
                  </a:cubicBezTo>
                  <a:cubicBezTo>
                    <a:pt x="684" y="433"/>
                    <a:pt x="684" y="433"/>
                    <a:pt x="684" y="433"/>
                  </a:cubicBezTo>
                  <a:cubicBezTo>
                    <a:pt x="684" y="433"/>
                    <a:pt x="690" y="415"/>
                    <a:pt x="696" y="404"/>
                  </a:cubicBezTo>
                  <a:cubicBezTo>
                    <a:pt x="703" y="393"/>
                    <a:pt x="719" y="386"/>
                    <a:pt x="719" y="386"/>
                  </a:cubicBezTo>
                  <a:cubicBezTo>
                    <a:pt x="716" y="370"/>
                    <a:pt x="716" y="370"/>
                    <a:pt x="716" y="370"/>
                  </a:cubicBezTo>
                  <a:cubicBezTo>
                    <a:pt x="742" y="336"/>
                    <a:pt x="742" y="336"/>
                    <a:pt x="742" y="336"/>
                  </a:cubicBezTo>
                  <a:cubicBezTo>
                    <a:pt x="739" y="317"/>
                    <a:pt x="739" y="317"/>
                    <a:pt x="739" y="317"/>
                  </a:cubicBezTo>
                  <a:cubicBezTo>
                    <a:pt x="753" y="315"/>
                    <a:pt x="753" y="315"/>
                    <a:pt x="753" y="315"/>
                  </a:cubicBezTo>
                  <a:cubicBezTo>
                    <a:pt x="753" y="295"/>
                    <a:pt x="753" y="295"/>
                    <a:pt x="753" y="295"/>
                  </a:cubicBezTo>
                  <a:cubicBezTo>
                    <a:pt x="769" y="269"/>
                    <a:pt x="769" y="269"/>
                    <a:pt x="769" y="269"/>
                  </a:cubicBezTo>
                  <a:cubicBezTo>
                    <a:pt x="762" y="259"/>
                    <a:pt x="762" y="259"/>
                    <a:pt x="762" y="259"/>
                  </a:cubicBezTo>
                  <a:cubicBezTo>
                    <a:pt x="771" y="252"/>
                    <a:pt x="771" y="252"/>
                    <a:pt x="771" y="252"/>
                  </a:cubicBezTo>
                  <a:cubicBezTo>
                    <a:pt x="769" y="220"/>
                    <a:pt x="769" y="220"/>
                    <a:pt x="769" y="220"/>
                  </a:cubicBezTo>
                  <a:cubicBezTo>
                    <a:pt x="766" y="215"/>
                    <a:pt x="766" y="215"/>
                    <a:pt x="766" y="215"/>
                  </a:cubicBezTo>
                  <a:cubicBezTo>
                    <a:pt x="753" y="216"/>
                    <a:pt x="753" y="216"/>
                    <a:pt x="753" y="216"/>
                  </a:cubicBezTo>
                  <a:cubicBezTo>
                    <a:pt x="708" y="197"/>
                    <a:pt x="708" y="197"/>
                    <a:pt x="708" y="197"/>
                  </a:cubicBezTo>
                  <a:cubicBezTo>
                    <a:pt x="690" y="196"/>
                    <a:pt x="690" y="196"/>
                    <a:pt x="690" y="196"/>
                  </a:cubicBezTo>
                  <a:cubicBezTo>
                    <a:pt x="676" y="190"/>
                    <a:pt x="676" y="190"/>
                    <a:pt x="676" y="190"/>
                  </a:cubicBezTo>
                  <a:cubicBezTo>
                    <a:pt x="661" y="197"/>
                    <a:pt x="661" y="197"/>
                    <a:pt x="661" y="197"/>
                  </a:cubicBezTo>
                  <a:cubicBezTo>
                    <a:pt x="628" y="182"/>
                    <a:pt x="628" y="182"/>
                    <a:pt x="628" y="182"/>
                  </a:cubicBezTo>
                  <a:cubicBezTo>
                    <a:pt x="634" y="169"/>
                    <a:pt x="634" y="169"/>
                    <a:pt x="634" y="169"/>
                  </a:cubicBezTo>
                  <a:cubicBezTo>
                    <a:pt x="634" y="169"/>
                    <a:pt x="634" y="169"/>
                    <a:pt x="602" y="170"/>
                  </a:cubicBezTo>
                  <a:cubicBezTo>
                    <a:pt x="570" y="170"/>
                    <a:pt x="561" y="134"/>
                    <a:pt x="561" y="134"/>
                  </a:cubicBezTo>
                  <a:cubicBezTo>
                    <a:pt x="561" y="134"/>
                    <a:pt x="550" y="137"/>
                    <a:pt x="539" y="136"/>
                  </a:cubicBezTo>
                  <a:cubicBezTo>
                    <a:pt x="529" y="136"/>
                    <a:pt x="534" y="119"/>
                    <a:pt x="534" y="119"/>
                  </a:cubicBezTo>
                  <a:cubicBezTo>
                    <a:pt x="529" y="111"/>
                    <a:pt x="529" y="111"/>
                    <a:pt x="529" y="111"/>
                  </a:cubicBezTo>
                  <a:cubicBezTo>
                    <a:pt x="530" y="111"/>
                    <a:pt x="530" y="111"/>
                    <a:pt x="530" y="111"/>
                  </a:cubicBezTo>
                  <a:cubicBezTo>
                    <a:pt x="525" y="111"/>
                    <a:pt x="520" y="111"/>
                    <a:pt x="515" y="111"/>
                  </a:cubicBezTo>
                  <a:cubicBezTo>
                    <a:pt x="501" y="111"/>
                    <a:pt x="509" y="129"/>
                    <a:pt x="509" y="129"/>
                  </a:cubicBezTo>
                  <a:cubicBezTo>
                    <a:pt x="503" y="143"/>
                    <a:pt x="503" y="143"/>
                    <a:pt x="503" y="143"/>
                  </a:cubicBezTo>
                  <a:cubicBezTo>
                    <a:pt x="503" y="143"/>
                    <a:pt x="500" y="147"/>
                    <a:pt x="492" y="148"/>
                  </a:cubicBezTo>
                  <a:cubicBezTo>
                    <a:pt x="483" y="149"/>
                    <a:pt x="476" y="160"/>
                    <a:pt x="476" y="160"/>
                  </a:cubicBezTo>
                  <a:cubicBezTo>
                    <a:pt x="463" y="162"/>
                    <a:pt x="463" y="162"/>
                    <a:pt x="463" y="162"/>
                  </a:cubicBezTo>
                  <a:cubicBezTo>
                    <a:pt x="463" y="170"/>
                    <a:pt x="463" y="170"/>
                    <a:pt x="463" y="170"/>
                  </a:cubicBezTo>
                  <a:cubicBezTo>
                    <a:pt x="452" y="189"/>
                    <a:pt x="452" y="189"/>
                    <a:pt x="452" y="189"/>
                  </a:cubicBezTo>
                  <a:cubicBezTo>
                    <a:pt x="443" y="187"/>
                    <a:pt x="443" y="187"/>
                    <a:pt x="443" y="187"/>
                  </a:cubicBezTo>
                  <a:cubicBezTo>
                    <a:pt x="443" y="187"/>
                    <a:pt x="443" y="189"/>
                    <a:pt x="442" y="196"/>
                  </a:cubicBezTo>
                  <a:cubicBezTo>
                    <a:pt x="442" y="203"/>
                    <a:pt x="434" y="204"/>
                    <a:pt x="434" y="204"/>
                  </a:cubicBezTo>
                  <a:cubicBezTo>
                    <a:pt x="436" y="223"/>
                    <a:pt x="436" y="223"/>
                    <a:pt x="436" y="223"/>
                  </a:cubicBezTo>
                  <a:cubicBezTo>
                    <a:pt x="436" y="223"/>
                    <a:pt x="421" y="224"/>
                    <a:pt x="419" y="224"/>
                  </a:cubicBezTo>
                  <a:cubicBezTo>
                    <a:pt x="417" y="224"/>
                    <a:pt x="415" y="230"/>
                    <a:pt x="415" y="230"/>
                  </a:cubicBezTo>
                  <a:cubicBezTo>
                    <a:pt x="391" y="223"/>
                    <a:pt x="391" y="223"/>
                    <a:pt x="391" y="223"/>
                  </a:cubicBezTo>
                  <a:cubicBezTo>
                    <a:pt x="391" y="207"/>
                    <a:pt x="391" y="207"/>
                    <a:pt x="391" y="207"/>
                  </a:cubicBezTo>
                  <a:cubicBezTo>
                    <a:pt x="387" y="205"/>
                    <a:pt x="387" y="205"/>
                    <a:pt x="387" y="205"/>
                  </a:cubicBezTo>
                  <a:cubicBezTo>
                    <a:pt x="388" y="193"/>
                    <a:pt x="388" y="193"/>
                    <a:pt x="388" y="193"/>
                  </a:cubicBezTo>
                  <a:cubicBezTo>
                    <a:pt x="388" y="193"/>
                    <a:pt x="383" y="192"/>
                    <a:pt x="377" y="188"/>
                  </a:cubicBezTo>
                  <a:cubicBezTo>
                    <a:pt x="371" y="184"/>
                    <a:pt x="376" y="179"/>
                    <a:pt x="371" y="171"/>
                  </a:cubicBezTo>
                  <a:cubicBezTo>
                    <a:pt x="365" y="163"/>
                    <a:pt x="359" y="168"/>
                    <a:pt x="359" y="168"/>
                  </a:cubicBezTo>
                  <a:cubicBezTo>
                    <a:pt x="358" y="150"/>
                    <a:pt x="358" y="150"/>
                    <a:pt x="358" y="150"/>
                  </a:cubicBezTo>
                  <a:cubicBezTo>
                    <a:pt x="350" y="144"/>
                    <a:pt x="350" y="144"/>
                    <a:pt x="350" y="144"/>
                  </a:cubicBezTo>
                  <a:cubicBezTo>
                    <a:pt x="350" y="136"/>
                    <a:pt x="350" y="136"/>
                    <a:pt x="350" y="136"/>
                  </a:cubicBezTo>
                  <a:cubicBezTo>
                    <a:pt x="345" y="129"/>
                    <a:pt x="345" y="129"/>
                    <a:pt x="345" y="129"/>
                  </a:cubicBezTo>
                  <a:cubicBezTo>
                    <a:pt x="352" y="120"/>
                    <a:pt x="352" y="120"/>
                    <a:pt x="352" y="120"/>
                  </a:cubicBezTo>
                  <a:cubicBezTo>
                    <a:pt x="329" y="93"/>
                    <a:pt x="329" y="93"/>
                    <a:pt x="329" y="93"/>
                  </a:cubicBezTo>
                  <a:cubicBezTo>
                    <a:pt x="335" y="84"/>
                    <a:pt x="335" y="84"/>
                    <a:pt x="335" y="84"/>
                  </a:cubicBezTo>
                  <a:cubicBezTo>
                    <a:pt x="318" y="72"/>
                    <a:pt x="318" y="72"/>
                    <a:pt x="318" y="72"/>
                  </a:cubicBezTo>
                  <a:cubicBezTo>
                    <a:pt x="306" y="73"/>
                    <a:pt x="306" y="73"/>
                    <a:pt x="306" y="73"/>
                  </a:cubicBezTo>
                  <a:cubicBezTo>
                    <a:pt x="279" y="49"/>
                    <a:pt x="279" y="49"/>
                    <a:pt x="279" y="49"/>
                  </a:cubicBezTo>
                  <a:cubicBezTo>
                    <a:pt x="249" y="50"/>
                    <a:pt x="249" y="50"/>
                    <a:pt x="249" y="50"/>
                  </a:cubicBezTo>
                  <a:cubicBezTo>
                    <a:pt x="248" y="35"/>
                    <a:pt x="248" y="35"/>
                    <a:pt x="248" y="35"/>
                  </a:cubicBezTo>
                  <a:cubicBezTo>
                    <a:pt x="247" y="33"/>
                    <a:pt x="247" y="33"/>
                    <a:pt x="247" y="33"/>
                  </a:cubicBezTo>
                  <a:cubicBezTo>
                    <a:pt x="251" y="22"/>
                    <a:pt x="251" y="22"/>
                    <a:pt x="251" y="22"/>
                  </a:cubicBezTo>
                  <a:cubicBezTo>
                    <a:pt x="244" y="4"/>
                    <a:pt x="244" y="4"/>
                    <a:pt x="244" y="4"/>
                  </a:cubicBezTo>
                  <a:cubicBezTo>
                    <a:pt x="240" y="2"/>
                    <a:pt x="236" y="1"/>
                    <a:pt x="232" y="0"/>
                  </a:cubicBezTo>
                  <a:cubicBezTo>
                    <a:pt x="222" y="0"/>
                    <a:pt x="214" y="12"/>
                    <a:pt x="214" y="12"/>
                  </a:cubicBezTo>
                  <a:cubicBezTo>
                    <a:pt x="203" y="5"/>
                    <a:pt x="203" y="5"/>
                    <a:pt x="203" y="5"/>
                  </a:cubicBezTo>
                  <a:cubicBezTo>
                    <a:pt x="203" y="5"/>
                    <a:pt x="198" y="13"/>
                    <a:pt x="198" y="14"/>
                  </a:cubicBezTo>
                  <a:cubicBezTo>
                    <a:pt x="198" y="15"/>
                    <a:pt x="191" y="5"/>
                    <a:pt x="179" y="4"/>
                  </a:cubicBezTo>
                  <a:cubicBezTo>
                    <a:pt x="168" y="3"/>
                    <a:pt x="165" y="18"/>
                    <a:pt x="165" y="18"/>
                  </a:cubicBezTo>
                  <a:cubicBezTo>
                    <a:pt x="165" y="18"/>
                    <a:pt x="180" y="27"/>
                    <a:pt x="182" y="44"/>
                  </a:cubicBezTo>
                  <a:cubicBezTo>
                    <a:pt x="184" y="61"/>
                    <a:pt x="172" y="38"/>
                    <a:pt x="152" y="37"/>
                  </a:cubicBezTo>
                  <a:cubicBezTo>
                    <a:pt x="133" y="36"/>
                    <a:pt x="127" y="43"/>
                    <a:pt x="127" y="43"/>
                  </a:cubicBezTo>
                  <a:cubicBezTo>
                    <a:pt x="127" y="43"/>
                    <a:pt x="111" y="34"/>
                    <a:pt x="103" y="34"/>
                  </a:cubicBezTo>
                  <a:cubicBezTo>
                    <a:pt x="95" y="35"/>
                    <a:pt x="89" y="50"/>
                    <a:pt x="81" y="53"/>
                  </a:cubicBezTo>
                  <a:cubicBezTo>
                    <a:pt x="73" y="57"/>
                    <a:pt x="66" y="51"/>
                    <a:pt x="66" y="51"/>
                  </a:cubicBezTo>
                  <a:cubicBezTo>
                    <a:pt x="66" y="51"/>
                    <a:pt x="58" y="62"/>
                    <a:pt x="50" y="65"/>
                  </a:cubicBezTo>
                  <a:cubicBezTo>
                    <a:pt x="42" y="68"/>
                    <a:pt x="46" y="59"/>
                    <a:pt x="34" y="58"/>
                  </a:cubicBezTo>
                  <a:cubicBezTo>
                    <a:pt x="22" y="57"/>
                    <a:pt x="24" y="77"/>
                    <a:pt x="24" y="78"/>
                  </a:cubicBezTo>
                  <a:cubicBezTo>
                    <a:pt x="24" y="78"/>
                    <a:pt x="18" y="82"/>
                    <a:pt x="7" y="83"/>
                  </a:cubicBezTo>
                  <a:cubicBezTo>
                    <a:pt x="6" y="83"/>
                    <a:pt x="4" y="83"/>
                    <a:pt x="2" y="82"/>
                  </a:cubicBezTo>
                  <a:cubicBezTo>
                    <a:pt x="2" y="89"/>
                    <a:pt x="2" y="96"/>
                    <a:pt x="2" y="103"/>
                  </a:cubicBezTo>
                  <a:cubicBezTo>
                    <a:pt x="2" y="122"/>
                    <a:pt x="1" y="134"/>
                    <a:pt x="0" y="141"/>
                  </a:cubicBezTo>
                  <a:cubicBezTo>
                    <a:pt x="1" y="141"/>
                    <a:pt x="1" y="141"/>
                    <a:pt x="1" y="141"/>
                  </a:cubicBezTo>
                  <a:cubicBezTo>
                    <a:pt x="5" y="179"/>
                    <a:pt x="5" y="179"/>
                    <a:pt x="5" y="179"/>
                  </a:cubicBezTo>
                  <a:cubicBezTo>
                    <a:pt x="11" y="179"/>
                    <a:pt x="11" y="179"/>
                    <a:pt x="11" y="179"/>
                  </a:cubicBezTo>
                  <a:cubicBezTo>
                    <a:pt x="12" y="197"/>
                    <a:pt x="12" y="197"/>
                    <a:pt x="12" y="197"/>
                  </a:cubicBezTo>
                  <a:cubicBezTo>
                    <a:pt x="22" y="209"/>
                    <a:pt x="22" y="209"/>
                    <a:pt x="22" y="209"/>
                  </a:cubicBezTo>
                  <a:cubicBezTo>
                    <a:pt x="31" y="206"/>
                    <a:pt x="31" y="206"/>
                    <a:pt x="31" y="206"/>
                  </a:cubicBezTo>
                  <a:cubicBezTo>
                    <a:pt x="30" y="222"/>
                    <a:pt x="30" y="222"/>
                    <a:pt x="30" y="222"/>
                  </a:cubicBezTo>
                  <a:cubicBezTo>
                    <a:pt x="46" y="230"/>
                    <a:pt x="46" y="230"/>
                    <a:pt x="46" y="230"/>
                  </a:cubicBezTo>
                  <a:cubicBezTo>
                    <a:pt x="46" y="230"/>
                    <a:pt x="59" y="217"/>
                    <a:pt x="58" y="226"/>
                  </a:cubicBezTo>
                  <a:cubicBezTo>
                    <a:pt x="57" y="235"/>
                    <a:pt x="53" y="238"/>
                    <a:pt x="53" y="238"/>
                  </a:cubicBezTo>
                  <a:cubicBezTo>
                    <a:pt x="66" y="245"/>
                    <a:pt x="66" y="245"/>
                    <a:pt x="66" y="245"/>
                  </a:cubicBezTo>
                  <a:cubicBezTo>
                    <a:pt x="81" y="248"/>
                    <a:pt x="81" y="248"/>
                    <a:pt x="81" y="248"/>
                  </a:cubicBezTo>
                  <a:cubicBezTo>
                    <a:pt x="86" y="255"/>
                    <a:pt x="86" y="255"/>
                    <a:pt x="86" y="255"/>
                  </a:cubicBezTo>
                  <a:cubicBezTo>
                    <a:pt x="96" y="261"/>
                    <a:pt x="96" y="261"/>
                    <a:pt x="96" y="261"/>
                  </a:cubicBezTo>
                  <a:cubicBezTo>
                    <a:pt x="106" y="256"/>
                    <a:pt x="106" y="256"/>
                    <a:pt x="106" y="256"/>
                  </a:cubicBezTo>
                  <a:cubicBezTo>
                    <a:pt x="116" y="273"/>
                    <a:pt x="116" y="273"/>
                    <a:pt x="116" y="273"/>
                  </a:cubicBezTo>
                  <a:cubicBezTo>
                    <a:pt x="134" y="278"/>
                    <a:pt x="134" y="278"/>
                    <a:pt x="134" y="278"/>
                  </a:cubicBezTo>
                  <a:cubicBezTo>
                    <a:pt x="134" y="278"/>
                    <a:pt x="122" y="290"/>
                    <a:pt x="133" y="290"/>
                  </a:cubicBezTo>
                  <a:cubicBezTo>
                    <a:pt x="145" y="290"/>
                    <a:pt x="160" y="284"/>
                    <a:pt x="160" y="284"/>
                  </a:cubicBezTo>
                  <a:cubicBezTo>
                    <a:pt x="164" y="277"/>
                    <a:pt x="164" y="277"/>
                    <a:pt x="164" y="277"/>
                  </a:cubicBezTo>
                  <a:cubicBezTo>
                    <a:pt x="173" y="277"/>
                    <a:pt x="173" y="277"/>
                    <a:pt x="173" y="277"/>
                  </a:cubicBezTo>
                  <a:cubicBezTo>
                    <a:pt x="159" y="294"/>
                    <a:pt x="159" y="294"/>
                    <a:pt x="159" y="294"/>
                  </a:cubicBezTo>
                  <a:cubicBezTo>
                    <a:pt x="153" y="294"/>
                    <a:pt x="153" y="294"/>
                    <a:pt x="153" y="294"/>
                  </a:cubicBezTo>
                  <a:cubicBezTo>
                    <a:pt x="148" y="308"/>
                    <a:pt x="148" y="308"/>
                    <a:pt x="148" y="308"/>
                  </a:cubicBezTo>
                  <a:cubicBezTo>
                    <a:pt x="148" y="308"/>
                    <a:pt x="115" y="381"/>
                    <a:pt x="109" y="393"/>
                  </a:cubicBezTo>
                  <a:cubicBezTo>
                    <a:pt x="103" y="406"/>
                    <a:pt x="62" y="505"/>
                    <a:pt x="57" y="513"/>
                  </a:cubicBezTo>
                  <a:cubicBezTo>
                    <a:pt x="52" y="521"/>
                    <a:pt x="47" y="542"/>
                    <a:pt x="41" y="546"/>
                  </a:cubicBezTo>
                  <a:cubicBezTo>
                    <a:pt x="34" y="550"/>
                    <a:pt x="26" y="548"/>
                    <a:pt x="26" y="560"/>
                  </a:cubicBezTo>
                  <a:cubicBezTo>
                    <a:pt x="26" y="573"/>
                    <a:pt x="45" y="586"/>
                    <a:pt x="47" y="595"/>
                  </a:cubicBezTo>
                  <a:cubicBezTo>
                    <a:pt x="47" y="596"/>
                    <a:pt x="48" y="598"/>
                    <a:pt x="48" y="600"/>
                  </a:cubicBezTo>
                  <a:cubicBezTo>
                    <a:pt x="56" y="607"/>
                    <a:pt x="74" y="651"/>
                    <a:pt x="74" y="651"/>
                  </a:cubicBezTo>
                  <a:cubicBezTo>
                    <a:pt x="74" y="651"/>
                    <a:pt x="70" y="683"/>
                    <a:pt x="80" y="688"/>
                  </a:cubicBezTo>
                  <a:cubicBezTo>
                    <a:pt x="89" y="693"/>
                    <a:pt x="93" y="688"/>
                    <a:pt x="93" y="688"/>
                  </a:cubicBezTo>
                  <a:cubicBezTo>
                    <a:pt x="129" y="724"/>
                    <a:pt x="129" y="724"/>
                    <a:pt x="129" y="724"/>
                  </a:cubicBezTo>
                  <a:cubicBezTo>
                    <a:pt x="523" y="749"/>
                    <a:pt x="523" y="749"/>
                    <a:pt x="523" y="749"/>
                  </a:cubicBezTo>
                  <a:cubicBezTo>
                    <a:pt x="526" y="746"/>
                    <a:pt x="529" y="742"/>
                    <a:pt x="530" y="736"/>
                  </a:cubicBezTo>
                  <a:cubicBezTo>
                    <a:pt x="532" y="721"/>
                    <a:pt x="545" y="706"/>
                    <a:pt x="545" y="706"/>
                  </a:cubicBezTo>
                  <a:close/>
                </a:path>
              </a:pathLst>
            </a:custGeom>
            <a:grpFill/>
            <a:ln w="12700" cap="flat" cmpd="sng">
              <a:solidFill>
                <a:schemeClr val="bg1"/>
              </a:solidFill>
              <a:prstDash val="solid"/>
              <a:round/>
              <a:headEnd type="none" w="med" len="med"/>
              <a:tailEnd type="none" w="med" len="med"/>
            </a:ln>
            <a:effectLst/>
          </p:spPr>
          <p:txBody>
            <a:bodyPr/>
            <a:lstStyle/>
            <a:p>
              <a:pPr algn="ctr"/>
              <a:endParaRPr lang="en-US" sz="500" dirty="0">
                <a:solidFill>
                  <a:srgbClr val="000000"/>
                </a:solidFill>
                <a:latin typeface="Arial" pitchFamily="34" charset="0"/>
              </a:endParaRPr>
            </a:p>
          </p:txBody>
        </p:sp>
      </p:grpSp>
      <p:sp>
        <p:nvSpPr>
          <p:cNvPr id="232" name="Retângulo 231">
            <a:extLst>
              <a:ext uri="{FF2B5EF4-FFF2-40B4-BE49-F238E27FC236}">
                <a16:creationId xmlns:a16="http://schemas.microsoft.com/office/drawing/2014/main" id="{CD879281-AB96-4C81-B3B8-1A06B6561250}"/>
              </a:ext>
            </a:extLst>
          </p:cNvPr>
          <p:cNvSpPr/>
          <p:nvPr/>
        </p:nvSpPr>
        <p:spPr>
          <a:xfrm>
            <a:off x="475155" y="3191482"/>
            <a:ext cx="943727" cy="191484"/>
          </a:xfrm>
          <a:prstGeom prst="rect">
            <a:avLst/>
          </a:prstGeom>
        </p:spPr>
        <p:txBody>
          <a:bodyPr wrap="none">
            <a:spAutoFit/>
          </a:bodyPr>
          <a:lstStyle/>
          <a:p>
            <a:r>
              <a:rPr lang="pt-BR" sz="800" dirty="0" err="1"/>
              <a:t>Current</a:t>
            </a:r>
            <a:r>
              <a:rPr lang="pt-BR" sz="800" dirty="0"/>
              <a:t> business VDB</a:t>
            </a:r>
            <a:endParaRPr lang="en-US" sz="500" dirty="0"/>
          </a:p>
        </p:txBody>
      </p:sp>
      <p:sp>
        <p:nvSpPr>
          <p:cNvPr id="233" name="Retângulo 232">
            <a:extLst>
              <a:ext uri="{FF2B5EF4-FFF2-40B4-BE49-F238E27FC236}">
                <a16:creationId xmlns:a16="http://schemas.microsoft.com/office/drawing/2014/main" id="{8DEB097F-006D-48F7-814D-2B27A114DF60}"/>
              </a:ext>
            </a:extLst>
          </p:cNvPr>
          <p:cNvSpPr/>
          <p:nvPr/>
        </p:nvSpPr>
        <p:spPr>
          <a:xfrm>
            <a:off x="434357" y="3247171"/>
            <a:ext cx="39805" cy="63527"/>
          </a:xfrm>
          <a:prstGeom prst="rect">
            <a:avLst/>
          </a:prstGeom>
          <a:solidFill>
            <a:srgbClr val="20974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4" name="Retângulo 233">
            <a:extLst>
              <a:ext uri="{FF2B5EF4-FFF2-40B4-BE49-F238E27FC236}">
                <a16:creationId xmlns:a16="http://schemas.microsoft.com/office/drawing/2014/main" id="{AF2657BC-CE9E-4658-857D-6FB1C3D79878}"/>
              </a:ext>
            </a:extLst>
          </p:cNvPr>
          <p:cNvSpPr/>
          <p:nvPr/>
        </p:nvSpPr>
        <p:spPr>
          <a:xfrm>
            <a:off x="476743" y="3312659"/>
            <a:ext cx="184731" cy="169277"/>
          </a:xfrm>
          <a:prstGeom prst="rect">
            <a:avLst/>
          </a:prstGeom>
        </p:spPr>
        <p:txBody>
          <a:bodyPr wrap="none">
            <a:spAutoFit/>
          </a:bodyPr>
          <a:lstStyle/>
          <a:p>
            <a:endParaRPr lang="en-US" sz="500" dirty="0"/>
          </a:p>
        </p:txBody>
      </p:sp>
      <p:pic>
        <p:nvPicPr>
          <p:cNvPr id="235" name="Imagem 234">
            <a:extLst>
              <a:ext uri="{FF2B5EF4-FFF2-40B4-BE49-F238E27FC236}">
                <a16:creationId xmlns:a16="http://schemas.microsoft.com/office/drawing/2014/main" id="{BA1068D9-10FE-4530-BB50-DE1C3BFA3FEF}"/>
              </a:ext>
            </a:extLst>
          </p:cNvPr>
          <p:cNvPicPr>
            <a:picLocks noChangeAspect="1"/>
          </p:cNvPicPr>
          <p:nvPr/>
        </p:nvPicPr>
        <p:blipFill>
          <a:blip r:embed="rId16"/>
          <a:stretch>
            <a:fillRect/>
          </a:stretch>
        </p:blipFill>
        <p:spPr>
          <a:xfrm>
            <a:off x="2072750" y="3789858"/>
            <a:ext cx="6004587" cy="3748087"/>
          </a:xfrm>
          <a:prstGeom prst="rect">
            <a:avLst/>
          </a:prstGeom>
        </p:spPr>
      </p:pic>
    </p:spTree>
    <p:extLst>
      <p:ext uri="{BB962C8B-B14F-4D97-AF65-F5344CB8AC3E}">
        <p14:creationId xmlns:p14="http://schemas.microsoft.com/office/powerpoint/2010/main" val="21755853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118" y="5082"/>
            <a:ext cx="10692701" cy="7564990"/>
          </a:xfrm>
          <a:prstGeom prst="rect">
            <a:avLst/>
          </a:prstGeom>
        </p:spPr>
      </p:pic>
      <p:sp>
        <p:nvSpPr>
          <p:cNvPr id="2" name="Rettangolo 1"/>
          <p:cNvSpPr/>
          <p:nvPr/>
        </p:nvSpPr>
        <p:spPr>
          <a:xfrm>
            <a:off x="279204" y="179991"/>
            <a:ext cx="10409431" cy="584775"/>
          </a:xfrm>
          <a:prstGeom prst="rect">
            <a:avLst/>
          </a:prstGeom>
        </p:spPr>
        <p:txBody>
          <a:bodyPr wrap="square">
            <a:spAutoFit/>
          </a:bodyPr>
          <a:lstStyle/>
          <a:p>
            <a:r>
              <a:rPr lang="it-IT" sz="3200" b="1" cap="all" spc="-150" dirty="0">
                <a:solidFill>
                  <a:srgbClr val="A9C78F"/>
                </a:solidFill>
                <a:latin typeface="Arial" panose="020B0604020202020204" pitchFamily="34" charset="0"/>
                <a:ea typeface="Calibri" panose="020F0502020204030204" pitchFamily="34" charset="0"/>
              </a:rPr>
              <a:t>4 </a:t>
            </a:r>
            <a:r>
              <a:rPr lang="en-US" sz="3000" b="1" cap="all" spc="-150" dirty="0">
                <a:ln w="19050">
                  <a:noFill/>
                </a:ln>
                <a:solidFill>
                  <a:srgbClr val="163D28"/>
                </a:solidFill>
                <a:latin typeface="Arial" pitchFamily="34" charset="0"/>
                <a:ea typeface="Calibri" panose="020F0502020204030204" pitchFamily="34" charset="0"/>
                <a:cs typeface="Arial" pitchFamily="34" charset="0"/>
              </a:rPr>
              <a:t>SOLUÇÕES VALAGRO </a:t>
            </a:r>
            <a:r>
              <a:rPr lang="en-US" sz="3000" cap="all" spc="-150" dirty="0">
                <a:ln w="19050">
                  <a:noFill/>
                </a:ln>
                <a:solidFill>
                  <a:srgbClr val="163D28"/>
                </a:solidFill>
                <a:latin typeface="Arial" pitchFamily="34" charset="0"/>
                <a:ea typeface="Calibri" panose="020F0502020204030204" pitchFamily="34" charset="0"/>
                <a:cs typeface="Arial" pitchFamily="34" charset="0"/>
              </a:rPr>
              <a:t>PARA NECESIDADES GLOBAIS</a:t>
            </a:r>
            <a:endParaRPr lang="en-US" sz="3000" cap="all" spc="-150" dirty="0">
              <a:ln w="19050">
                <a:noFill/>
              </a:ln>
              <a:solidFill>
                <a:srgbClr val="163D28"/>
              </a:solidFill>
              <a:latin typeface="Arial" pitchFamily="34" charset="0"/>
              <a:cs typeface="Arial" pitchFamily="34" charset="0"/>
            </a:endParaRP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4" name="CasellaDiTesto 23"/>
          <p:cNvSpPr txBox="1"/>
          <p:nvPr/>
        </p:nvSpPr>
        <p:spPr>
          <a:xfrm>
            <a:off x="423374" y="3092531"/>
            <a:ext cx="2182410" cy="1557349"/>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de-DE" sz="2000" b="1" kern="0" dirty="0">
                <a:solidFill>
                  <a:srgbClr val="163D28"/>
                </a:solidFill>
                <a:latin typeface="Arial"/>
              </a:rPr>
              <a:t>USO EFICIENTE DE NUTRIENTES</a:t>
            </a:r>
          </a:p>
          <a:p>
            <a:pPr marL="0" marR="0" lvl="0" indent="0" algn="ctr" defTabSz="914400" eaLnBrk="1" fontAlgn="auto" latinLnBrk="0" hangingPunct="1">
              <a:lnSpc>
                <a:spcPct val="80000"/>
              </a:lnSpc>
              <a:spcBef>
                <a:spcPts val="0"/>
              </a:spcBef>
              <a:spcAft>
                <a:spcPts val="0"/>
              </a:spcAft>
              <a:buClrTx/>
              <a:buSzTx/>
              <a:buFontTx/>
              <a:buNone/>
              <a:tabLst/>
              <a:defRPr/>
            </a:pPr>
            <a:endParaRPr lang="en-US" sz="1400" b="1" kern="0" dirty="0">
              <a:solidFill>
                <a:srgbClr val="163D28"/>
              </a:solidFill>
              <a:latin typeface="Arial"/>
            </a:endParaRP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a:t>
            </a:r>
            <a:r>
              <a:rPr lang="de-DE" sz="1200" b="1" kern="0" dirty="0">
                <a:solidFill>
                  <a:srgbClr val="163D28"/>
                </a:solidFill>
                <a:latin typeface="Arial"/>
              </a:rPr>
              <a:t>P</a:t>
            </a:r>
            <a:r>
              <a:rPr lang="de-DE" sz="1200" kern="0" dirty="0">
                <a:solidFill>
                  <a:srgbClr val="163D28"/>
                </a:solidFill>
                <a:latin typeface="Arial"/>
              </a:rPr>
              <a:t> SOLUBILIZAÇÃO</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a:t>
            </a:r>
            <a:r>
              <a:rPr lang="de-DE" sz="1200" b="1" kern="0" dirty="0">
                <a:solidFill>
                  <a:srgbClr val="163D28"/>
                </a:solidFill>
                <a:latin typeface="Arial"/>
              </a:rPr>
              <a:t>N</a:t>
            </a:r>
            <a:r>
              <a:rPr lang="de-DE" sz="1200" kern="0" dirty="0">
                <a:solidFill>
                  <a:srgbClr val="163D28"/>
                </a:solidFill>
                <a:latin typeface="Arial"/>
              </a:rPr>
              <a:t> FIXAÇÃO</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FERITLIDADE DO SOLO</a:t>
            </a:r>
          </a:p>
        </p:txBody>
      </p:sp>
      <p:sp>
        <p:nvSpPr>
          <p:cNvPr id="6" name="CasellaDiTesto 5"/>
          <p:cNvSpPr txBox="1"/>
          <p:nvPr/>
        </p:nvSpPr>
        <p:spPr>
          <a:xfrm>
            <a:off x="12415790" y="2189750"/>
            <a:ext cx="184666" cy="415498"/>
          </a:xfrm>
          <a:prstGeom prst="rect">
            <a:avLst/>
          </a:prstGeom>
          <a:noFill/>
        </p:spPr>
        <p:txBody>
          <a:bodyPr wrap="none" rtlCol="0">
            <a:spAutoFit/>
          </a:bodyPr>
          <a:lstStyle/>
          <a:p>
            <a:endParaRPr lang="it-IT" dirty="0"/>
          </a:p>
        </p:txBody>
      </p:sp>
      <p:sp>
        <p:nvSpPr>
          <p:cNvPr id="31" name="CasellaDiTesto 30"/>
          <p:cNvSpPr txBox="1"/>
          <p:nvPr/>
        </p:nvSpPr>
        <p:spPr>
          <a:xfrm>
            <a:off x="2894931" y="3092531"/>
            <a:ext cx="2376264" cy="1495794"/>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en-US" sz="2000" b="1" kern="0" dirty="0">
                <a:solidFill>
                  <a:srgbClr val="163D28"/>
                </a:solidFill>
                <a:latin typeface="Arial"/>
              </a:rPr>
              <a:t>QUALIDADE DE CULTURA</a:t>
            </a:r>
          </a:p>
          <a:p>
            <a:pPr marL="0" marR="0" lvl="0" indent="0" defTabSz="914400" eaLnBrk="1" fontAlgn="auto" latinLnBrk="0" hangingPunct="1">
              <a:lnSpc>
                <a:spcPct val="80000"/>
              </a:lnSpc>
              <a:spcBef>
                <a:spcPts val="0"/>
              </a:spcBef>
              <a:spcAft>
                <a:spcPts val="0"/>
              </a:spcAft>
              <a:buClrTx/>
              <a:buSzTx/>
              <a:buFontTx/>
              <a:buNone/>
              <a:tabLst/>
              <a:defRPr/>
            </a:pPr>
            <a:endParaRPr lang="en-US" sz="1400" b="1" kern="0" dirty="0">
              <a:solidFill>
                <a:srgbClr val="163D28"/>
              </a:solidFill>
              <a:latin typeface="Arial"/>
            </a:endParaRPr>
          </a:p>
          <a:p>
            <a:pPr marL="171450" marR="0" lvl="0" indent="-171450" defTabSz="914400" eaLnBrk="1" fontAlgn="auto" latinLnBrk="0" hangingPunct="1">
              <a:spcBef>
                <a:spcPts val="0"/>
              </a:spcBef>
              <a:spcAft>
                <a:spcPts val="0"/>
              </a:spcAft>
              <a:buClrTx/>
              <a:buSzTx/>
              <a:buFont typeface="Arial"/>
              <a:buChar char="•"/>
              <a:tabLst/>
              <a:defRPr/>
            </a:pPr>
            <a:r>
              <a:rPr lang="en-US" sz="1200" kern="0" dirty="0">
                <a:solidFill>
                  <a:srgbClr val="163D28"/>
                </a:solidFill>
                <a:latin typeface="Arial"/>
              </a:rPr>
              <a:t> DIMENSÃO FRUTO</a:t>
            </a:r>
          </a:p>
          <a:p>
            <a:pPr marL="171450" marR="0" lvl="0" indent="-171450" defTabSz="914400" eaLnBrk="1" fontAlgn="auto" latinLnBrk="0" hangingPunct="1">
              <a:spcBef>
                <a:spcPts val="0"/>
              </a:spcBef>
              <a:spcAft>
                <a:spcPts val="0"/>
              </a:spcAft>
              <a:buClrTx/>
              <a:buSzTx/>
              <a:buFont typeface="Arial"/>
              <a:buChar char="•"/>
              <a:tabLst/>
              <a:defRPr/>
            </a:pPr>
            <a:r>
              <a:rPr lang="en-US" sz="1200" kern="0" dirty="0">
                <a:solidFill>
                  <a:srgbClr val="163D28"/>
                </a:solidFill>
                <a:latin typeface="Arial"/>
              </a:rPr>
              <a:t> COR/BRILHO</a:t>
            </a:r>
          </a:p>
          <a:p>
            <a:pPr marL="171450" marR="0" lvl="0" indent="-171450" defTabSz="914400" eaLnBrk="1" fontAlgn="auto" latinLnBrk="0" hangingPunct="1">
              <a:spcBef>
                <a:spcPts val="0"/>
              </a:spcBef>
              <a:spcAft>
                <a:spcPts val="0"/>
              </a:spcAft>
              <a:buClrTx/>
              <a:buSzTx/>
              <a:buFont typeface="Arial"/>
              <a:buChar char="•"/>
              <a:tabLst/>
              <a:defRPr/>
            </a:pPr>
            <a:r>
              <a:rPr lang="en-US" sz="1200" kern="0" dirty="0">
                <a:solidFill>
                  <a:srgbClr val="163D28"/>
                </a:solidFill>
                <a:latin typeface="Arial"/>
              </a:rPr>
              <a:t> CONTEÚDO DE AÇUCAR</a:t>
            </a:r>
          </a:p>
          <a:p>
            <a:pPr marL="171450" marR="0" lvl="0" indent="-171450" defTabSz="914400" eaLnBrk="1" fontAlgn="auto" latinLnBrk="0" hangingPunct="1">
              <a:spcBef>
                <a:spcPts val="0"/>
              </a:spcBef>
              <a:spcAft>
                <a:spcPts val="0"/>
              </a:spcAft>
              <a:buClrTx/>
              <a:buSzTx/>
              <a:buFont typeface="Arial"/>
              <a:buChar char="•"/>
              <a:tabLst/>
              <a:defRPr/>
            </a:pPr>
            <a:r>
              <a:rPr lang="en-US" sz="1200" kern="0" dirty="0">
                <a:solidFill>
                  <a:srgbClr val="163D28"/>
                </a:solidFill>
                <a:latin typeface="Arial"/>
              </a:rPr>
              <a:t> PRODUTIVIDADE</a:t>
            </a:r>
          </a:p>
        </p:txBody>
      </p:sp>
      <p:sp>
        <p:nvSpPr>
          <p:cNvPr id="32" name="CasellaDiTesto 31"/>
          <p:cNvSpPr txBox="1"/>
          <p:nvPr/>
        </p:nvSpPr>
        <p:spPr>
          <a:xfrm>
            <a:off x="5560343" y="3092531"/>
            <a:ext cx="2182410" cy="1311128"/>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en-US" sz="2000" b="1" kern="0" dirty="0">
                <a:solidFill>
                  <a:srgbClr val="163D28"/>
                </a:solidFill>
                <a:latin typeface="Arial"/>
              </a:rPr>
              <a:t>ESTRESS ABIOTICO</a:t>
            </a:r>
          </a:p>
          <a:p>
            <a:pPr marL="0" marR="0" lvl="0" indent="0" defTabSz="914400" eaLnBrk="1" fontAlgn="auto" latinLnBrk="0" hangingPunct="1">
              <a:lnSpc>
                <a:spcPct val="80000"/>
              </a:lnSpc>
              <a:spcBef>
                <a:spcPts val="0"/>
              </a:spcBef>
              <a:spcAft>
                <a:spcPts val="0"/>
              </a:spcAft>
              <a:buClrTx/>
              <a:buSzTx/>
              <a:buFontTx/>
              <a:buNone/>
              <a:tabLst/>
              <a:defRPr/>
            </a:pPr>
            <a:endParaRPr lang="en-US" sz="1400" b="1" kern="0" dirty="0">
              <a:solidFill>
                <a:srgbClr val="163D28"/>
              </a:solidFill>
              <a:latin typeface="Arial"/>
            </a:endParaRP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SECA</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CONGELAMENTO</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LIMITAÇÃO HÍDRICA</a:t>
            </a:r>
          </a:p>
        </p:txBody>
      </p:sp>
      <p:sp>
        <p:nvSpPr>
          <p:cNvPr id="33" name="CasellaDiTesto 32"/>
          <p:cNvSpPr txBox="1"/>
          <p:nvPr/>
        </p:nvSpPr>
        <p:spPr>
          <a:xfrm>
            <a:off x="8080623" y="3092531"/>
            <a:ext cx="2182410" cy="1421928"/>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de-DE" sz="2000" b="1" kern="0" dirty="0">
                <a:solidFill>
                  <a:srgbClr val="163D28"/>
                </a:solidFill>
                <a:latin typeface="Arial"/>
              </a:rPr>
              <a:t>BIOCONTROLE</a:t>
            </a:r>
          </a:p>
          <a:p>
            <a:pPr marL="0" marR="0" lvl="0" indent="0" defTabSz="914400" eaLnBrk="1" fontAlgn="auto" latinLnBrk="0" hangingPunct="1">
              <a:lnSpc>
                <a:spcPct val="80000"/>
              </a:lnSpc>
              <a:spcBef>
                <a:spcPts val="0"/>
              </a:spcBef>
              <a:spcAft>
                <a:spcPts val="0"/>
              </a:spcAft>
              <a:buClrTx/>
              <a:buSzTx/>
              <a:buFontTx/>
              <a:buNone/>
              <a:tabLst/>
              <a:defRPr/>
            </a:pPr>
            <a:endParaRPr lang="en-US" sz="1400" b="1" kern="0" dirty="0">
              <a:solidFill>
                <a:srgbClr val="163D28"/>
              </a:solidFill>
              <a:latin typeface="Arial"/>
            </a:endParaRPr>
          </a:p>
          <a:p>
            <a:pPr marL="0" marR="0" lvl="0" indent="0" defTabSz="914400" eaLnBrk="1" fontAlgn="auto" latinLnBrk="0" hangingPunct="1">
              <a:lnSpc>
                <a:spcPct val="80000"/>
              </a:lnSpc>
              <a:spcBef>
                <a:spcPts val="0"/>
              </a:spcBef>
              <a:spcAft>
                <a:spcPts val="0"/>
              </a:spcAft>
              <a:buClrTx/>
              <a:buSzTx/>
              <a:buFontTx/>
              <a:buNone/>
              <a:tabLst/>
              <a:defRPr/>
            </a:pPr>
            <a:endParaRPr lang="en-US" sz="1400" b="1" kern="0" dirty="0">
              <a:solidFill>
                <a:srgbClr val="163D28"/>
              </a:solidFill>
              <a:latin typeface="Arial"/>
            </a:endParaRP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FUNGICIDA</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BACTERICIDA</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HERBICIDA</a:t>
            </a:r>
          </a:p>
          <a:p>
            <a:pPr marL="171450" marR="0" lvl="0" indent="-171450" defTabSz="914400" eaLnBrk="1" fontAlgn="auto" latinLnBrk="0" hangingPunct="1">
              <a:spcBef>
                <a:spcPts val="0"/>
              </a:spcBef>
              <a:spcAft>
                <a:spcPts val="0"/>
              </a:spcAft>
              <a:buClrTx/>
              <a:buSzTx/>
              <a:buFont typeface="Arial"/>
              <a:buChar char="•"/>
              <a:tabLst/>
              <a:defRPr/>
            </a:pPr>
            <a:r>
              <a:rPr lang="de-DE" sz="1200" kern="0" dirty="0">
                <a:solidFill>
                  <a:srgbClr val="163D28"/>
                </a:solidFill>
                <a:latin typeface="Arial"/>
              </a:rPr>
              <a:t> INSECTICIDA</a:t>
            </a:r>
          </a:p>
        </p:txBody>
      </p:sp>
      <p:sp>
        <p:nvSpPr>
          <p:cNvPr id="34" name="Rettangolo 33"/>
          <p:cNvSpPr/>
          <p:nvPr/>
        </p:nvSpPr>
        <p:spPr>
          <a:xfrm>
            <a:off x="541973" y="5293593"/>
            <a:ext cx="5720666" cy="553998"/>
          </a:xfrm>
          <a:prstGeom prst="rect">
            <a:avLst/>
          </a:prstGeom>
        </p:spPr>
        <p:txBody>
          <a:bodyPr wrap="square">
            <a:spAutoFit/>
          </a:bodyPr>
          <a:lstStyle/>
          <a:p>
            <a:r>
              <a:rPr lang="hr-HR" sz="3000" b="1" cap="all" spc="-150" dirty="0">
                <a:ln w="19050">
                  <a:noFill/>
                </a:ln>
                <a:solidFill>
                  <a:srgbClr val="608D26"/>
                </a:solidFill>
                <a:latin typeface="Arial" pitchFamily="34" charset="0"/>
                <a:cs typeface="Arial" pitchFamily="34" charset="0"/>
              </a:rPr>
              <a:t>VALAGRO</a:t>
            </a:r>
            <a:r>
              <a:rPr lang="pt-BR" sz="3000" cap="all" spc="-150" dirty="0">
                <a:ln w="19050">
                  <a:noFill/>
                </a:ln>
                <a:solidFill>
                  <a:srgbClr val="608D26"/>
                </a:solidFill>
                <a:latin typeface="Arial" pitchFamily="34" charset="0"/>
                <a:cs typeface="Arial" pitchFamily="34" charset="0"/>
              </a:rPr>
              <a:t>HOJE</a:t>
            </a:r>
            <a:endParaRPr lang="hr-HR" sz="3000" cap="all" spc="-150" dirty="0">
              <a:ln w="19050">
                <a:noFill/>
              </a:ln>
              <a:solidFill>
                <a:srgbClr val="608D26"/>
              </a:solidFill>
              <a:latin typeface="Arial" pitchFamily="34" charset="0"/>
              <a:cs typeface="Arial" pitchFamily="34" charset="0"/>
            </a:endParaRPr>
          </a:p>
        </p:txBody>
      </p:sp>
      <p:sp>
        <p:nvSpPr>
          <p:cNvPr id="35" name="Rettangolo 34"/>
          <p:cNvSpPr/>
          <p:nvPr/>
        </p:nvSpPr>
        <p:spPr>
          <a:xfrm>
            <a:off x="541973" y="6013673"/>
            <a:ext cx="5720666" cy="553998"/>
          </a:xfrm>
          <a:prstGeom prst="rect">
            <a:avLst/>
          </a:prstGeom>
        </p:spPr>
        <p:txBody>
          <a:bodyPr wrap="square">
            <a:spAutoFit/>
          </a:bodyPr>
          <a:lstStyle/>
          <a:p>
            <a:r>
              <a:rPr lang="hr-HR" sz="3000" b="1" cap="all" spc="-150" dirty="0">
                <a:ln w="19050">
                  <a:noFill/>
                </a:ln>
                <a:solidFill>
                  <a:srgbClr val="375B49"/>
                </a:solidFill>
                <a:latin typeface="Arial" pitchFamily="34" charset="0"/>
                <a:cs typeface="Arial" pitchFamily="34" charset="0"/>
              </a:rPr>
              <a:t>VALAGRO</a:t>
            </a:r>
            <a:r>
              <a:rPr lang="pt-BR" sz="3000" cap="all" spc="-150" dirty="0">
                <a:ln w="19050">
                  <a:noFill/>
                </a:ln>
                <a:solidFill>
                  <a:srgbClr val="375B49"/>
                </a:solidFill>
                <a:latin typeface="Arial" pitchFamily="34" charset="0"/>
                <a:cs typeface="Arial" pitchFamily="34" charset="0"/>
              </a:rPr>
              <a:t>AMANHÃ</a:t>
            </a:r>
            <a:endParaRPr lang="hr-HR" sz="3000" cap="all" spc="-150" dirty="0">
              <a:ln w="19050">
                <a:noFill/>
              </a:ln>
              <a:solidFill>
                <a:srgbClr val="375B49"/>
              </a:solidFill>
              <a:latin typeface="Arial" pitchFamily="34" charset="0"/>
              <a:cs typeface="Arial" pitchFamily="34" charset="0"/>
            </a:endParaRPr>
          </a:p>
        </p:txBody>
      </p:sp>
      <p:sp>
        <p:nvSpPr>
          <p:cNvPr id="15" name="Rettangolo 14"/>
          <p:cNvSpPr/>
          <p:nvPr/>
        </p:nvSpPr>
        <p:spPr>
          <a:xfrm>
            <a:off x="303759" y="6964608"/>
            <a:ext cx="885097" cy="220573"/>
          </a:xfrm>
          <a:prstGeom prst="rect">
            <a:avLst/>
          </a:prstGeom>
        </p:spPr>
        <p:txBody>
          <a:bodyPr wrap="square">
            <a:spAutoFit/>
          </a:bodyPr>
          <a:lstStyle/>
          <a:p>
            <a:pPr>
              <a:lnSpc>
                <a:spcPct val="80000"/>
              </a:lnSpc>
            </a:pPr>
            <a:r>
              <a:rPr lang="it-IT" sz="1000" dirty="0">
                <a:solidFill>
                  <a:srgbClr val="375B49"/>
                </a:solidFill>
                <a:latin typeface="Arial" pitchFamily="34" charset="0"/>
                <a:cs typeface="Arial" pitchFamily="34" charset="0"/>
              </a:rPr>
              <a:t>21</a:t>
            </a:r>
            <a:endParaRPr lang="en-US" sz="1000" dirty="0">
              <a:solidFill>
                <a:srgbClr val="375B49"/>
              </a:solidFill>
              <a:latin typeface="Arial" pitchFamily="34" charset="0"/>
              <a:cs typeface="Arial" pitchFamily="34" charset="0"/>
            </a:endParaRPr>
          </a:p>
        </p:txBody>
      </p:sp>
    </p:spTree>
    <p:extLst>
      <p:ext uri="{BB962C8B-B14F-4D97-AF65-F5344CB8AC3E}">
        <p14:creationId xmlns:p14="http://schemas.microsoft.com/office/powerpoint/2010/main" val="29842671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992579"/>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Valagro do brasil</a:t>
            </a:r>
          </a:p>
          <a:p>
            <a:pPr lvl="0"/>
            <a:r>
              <a:rPr lang="pt-BR" sz="1800" cap="all" dirty="0">
                <a:ln w="19050">
                  <a:noFill/>
                </a:ln>
                <a:solidFill>
                  <a:srgbClr val="163D28"/>
                </a:solidFill>
                <a:latin typeface="Arial" pitchFamily="34" charset="0"/>
                <a:cs typeface="Arial" pitchFamily="34" charset="0"/>
              </a:rPr>
              <a:t>Intensificação de trabalhos oficiais com entidades brasileiras</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pic>
        <p:nvPicPr>
          <p:cNvPr id="27" name="Imagem 1">
            <a:extLst>
              <a:ext uri="{FF2B5EF4-FFF2-40B4-BE49-F238E27FC236}">
                <a16:creationId xmlns:a16="http://schemas.microsoft.com/office/drawing/2014/main" id="{E6F9BCD9-8AA1-47DE-B082-4E772C5FA5A9}"/>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12485" y="5644907"/>
            <a:ext cx="2055405" cy="617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Imagem 2">
            <a:extLst>
              <a:ext uri="{FF2B5EF4-FFF2-40B4-BE49-F238E27FC236}">
                <a16:creationId xmlns:a16="http://schemas.microsoft.com/office/drawing/2014/main" id="{B20D91E0-052C-455D-A4B1-7F8C0F91D42A}"/>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53541" y="3159223"/>
            <a:ext cx="1959268" cy="497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Imagem 3">
            <a:extLst>
              <a:ext uri="{FF2B5EF4-FFF2-40B4-BE49-F238E27FC236}">
                <a16:creationId xmlns:a16="http://schemas.microsoft.com/office/drawing/2014/main" id="{FFBDD5A2-0FF2-4454-8A32-6024B14BBFAE}"/>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2403200" y="3833824"/>
            <a:ext cx="1311275"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Imagem 4">
            <a:extLst>
              <a:ext uri="{FF2B5EF4-FFF2-40B4-BE49-F238E27FC236}">
                <a16:creationId xmlns:a16="http://schemas.microsoft.com/office/drawing/2014/main" id="{8ACCF724-84EF-46C7-B3D2-4DBF28FB7055}"/>
              </a:ext>
            </a:extLst>
          </p:cNvPr>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2869221" y="2315495"/>
            <a:ext cx="1350582" cy="87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Imagem 5">
            <a:extLst>
              <a:ext uri="{FF2B5EF4-FFF2-40B4-BE49-F238E27FC236}">
                <a16:creationId xmlns:a16="http://schemas.microsoft.com/office/drawing/2014/main" id="{DDADF3EF-D342-49DA-ACFC-2E875DE51288}"/>
              </a:ext>
            </a:extLst>
          </p:cNvPr>
          <p:cNvPicPr>
            <a:picLocks noChangeAspect="1"/>
          </p:cNvPicPr>
          <p:nvPr/>
        </p:nvPicPr>
        <p:blipFill>
          <a:blip r:embed="rId8" cstate="email">
            <a:extLst>
              <a:ext uri="{28A0092B-C50C-407E-A947-70E740481C1C}">
                <a14:useLocalDpi xmlns:a14="http://schemas.microsoft.com/office/drawing/2010/main"/>
              </a:ext>
            </a:extLst>
          </a:blip>
          <a:srcRect r="84576" b="47653"/>
          <a:stretch>
            <a:fillRect/>
          </a:stretch>
        </p:blipFill>
        <p:spPr bwMode="auto">
          <a:xfrm>
            <a:off x="6405993" y="1609233"/>
            <a:ext cx="1176337"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Imagem 7">
            <a:extLst>
              <a:ext uri="{FF2B5EF4-FFF2-40B4-BE49-F238E27FC236}">
                <a16:creationId xmlns:a16="http://schemas.microsoft.com/office/drawing/2014/main" id="{94646F46-99B0-4CFF-8A90-2AE9234375AD}"/>
              </a:ext>
            </a:extLst>
          </p:cNvPr>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6963433" y="4651784"/>
            <a:ext cx="1430972" cy="644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Imagem 8">
            <a:extLst>
              <a:ext uri="{FF2B5EF4-FFF2-40B4-BE49-F238E27FC236}">
                <a16:creationId xmlns:a16="http://schemas.microsoft.com/office/drawing/2014/main" id="{32A55E7A-1381-4086-9B9A-3B0F67B74BDE}"/>
              </a:ext>
            </a:extLst>
          </p:cNvPr>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836644" y="1461077"/>
            <a:ext cx="1016937" cy="1509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Imagem 34">
            <a:extLst>
              <a:ext uri="{FF2B5EF4-FFF2-40B4-BE49-F238E27FC236}">
                <a16:creationId xmlns:a16="http://schemas.microsoft.com/office/drawing/2014/main" id="{1046C6FF-896C-4D31-BF51-2D669CF1B7B2}"/>
              </a:ext>
            </a:extLst>
          </p:cNvPr>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309564" y="1371975"/>
            <a:ext cx="1859567"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Imagem 35">
            <a:extLst>
              <a:ext uri="{FF2B5EF4-FFF2-40B4-BE49-F238E27FC236}">
                <a16:creationId xmlns:a16="http://schemas.microsoft.com/office/drawing/2014/main" id="{D22E4D5D-88A4-477C-B093-05A7EEC3EB75}"/>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35300" y="6196224"/>
            <a:ext cx="3758350" cy="59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Imagem 13">
            <a:extLst>
              <a:ext uri="{FF2B5EF4-FFF2-40B4-BE49-F238E27FC236}">
                <a16:creationId xmlns:a16="http://schemas.microsoft.com/office/drawing/2014/main" id="{DF4A2F8F-9411-4194-AF41-54AF1787D23B}"/>
              </a:ext>
            </a:extLst>
          </p:cNvPr>
          <p:cNvPicPr>
            <a:picLocks noChangeAspect="1"/>
          </p:cNvPicPr>
          <p:nvPr/>
        </p:nvPicPr>
        <p:blipFill>
          <a:blip r:embed="rId13">
            <a:extLst>
              <a:ext uri="{28A0092B-C50C-407E-A947-70E740481C1C}">
                <a14:useLocalDpi xmlns:a14="http://schemas.microsoft.com/office/drawing/2010/main"/>
              </a:ext>
            </a:extLst>
          </a:blip>
          <a:srcRect/>
          <a:stretch>
            <a:fillRect/>
          </a:stretch>
        </p:blipFill>
        <p:spPr bwMode="auto">
          <a:xfrm>
            <a:off x="506075" y="4647759"/>
            <a:ext cx="1144856" cy="1204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upo 13">
            <a:extLst>
              <a:ext uri="{FF2B5EF4-FFF2-40B4-BE49-F238E27FC236}">
                <a16:creationId xmlns:a16="http://schemas.microsoft.com/office/drawing/2014/main" id="{81BF5F7C-8F3B-4A79-8DB3-0563AFABCA0C}"/>
              </a:ext>
            </a:extLst>
          </p:cNvPr>
          <p:cNvGrpSpPr/>
          <p:nvPr/>
        </p:nvGrpSpPr>
        <p:grpSpPr>
          <a:xfrm>
            <a:off x="8838291" y="1394643"/>
            <a:ext cx="873596" cy="1258476"/>
            <a:chOff x="323850" y="5274491"/>
            <a:chExt cx="483269" cy="730098"/>
          </a:xfrm>
        </p:grpSpPr>
        <p:sp>
          <p:nvSpPr>
            <p:cNvPr id="39" name="Arredondar Retângulo em um Canto Diagonal 14">
              <a:extLst>
                <a:ext uri="{FF2B5EF4-FFF2-40B4-BE49-F238E27FC236}">
                  <a16:creationId xmlns:a16="http://schemas.microsoft.com/office/drawing/2014/main" id="{5CB61606-9191-4C4C-BEF3-B504F7439717}"/>
                </a:ext>
              </a:extLst>
            </p:cNvPr>
            <p:cNvSpPr/>
            <p:nvPr/>
          </p:nvSpPr>
          <p:spPr bwMode="auto">
            <a:xfrm>
              <a:off x="323850" y="5274491"/>
              <a:ext cx="483269" cy="730098"/>
            </a:xfrm>
            <a:prstGeom prst="round2DiagRect">
              <a:avLst>
                <a:gd name="adj1" fmla="val 0"/>
                <a:gd name="adj2" fmla="val 47468"/>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pt-BR">
                <a:solidFill>
                  <a:prstClr val="white"/>
                </a:solidFill>
              </a:endParaRPr>
            </a:p>
          </p:txBody>
        </p:sp>
        <p:pic>
          <p:nvPicPr>
            <p:cNvPr id="40" name="Picture 2" descr="logo_defesa">
              <a:extLst>
                <a:ext uri="{FF2B5EF4-FFF2-40B4-BE49-F238E27FC236}">
                  <a16:creationId xmlns:a16="http://schemas.microsoft.com/office/drawing/2014/main" id="{0EDD276B-A75A-40E4-9D96-7361B1673C0D}"/>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47568" y="5470831"/>
              <a:ext cx="434296" cy="31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1" name="Picture 6" descr="Resultado de imagem para seeds consultoria">
            <a:extLst>
              <a:ext uri="{FF2B5EF4-FFF2-40B4-BE49-F238E27FC236}">
                <a16:creationId xmlns:a16="http://schemas.microsoft.com/office/drawing/2014/main" id="{EC2C0668-441B-4EF2-8FAB-1D696E77C17A}"/>
              </a:ext>
            </a:extLst>
          </p:cNvPr>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t="23483" b="24781"/>
          <a:stretch/>
        </p:blipFill>
        <p:spPr bwMode="auto">
          <a:xfrm>
            <a:off x="2693863" y="1547972"/>
            <a:ext cx="1838147" cy="73624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8" descr="Resultado de imagem para fundacep">
            <a:extLst>
              <a:ext uri="{FF2B5EF4-FFF2-40B4-BE49-F238E27FC236}">
                <a16:creationId xmlns:a16="http://schemas.microsoft.com/office/drawing/2014/main" id="{318B0C43-AF13-442B-8996-006819D2EDC4}"/>
              </a:ext>
            </a:extLst>
          </p:cNvPr>
          <p:cNvPicPr>
            <a:picLocks noChangeAspect="1" noChangeArrowheads="1"/>
          </p:cNvPicPr>
          <p:nvPr/>
        </p:nvPicPr>
        <p:blipFill rotWithShape="1">
          <a:blip r:embed="rId16" cstate="email">
            <a:extLst>
              <a:ext uri="{28A0092B-C50C-407E-A947-70E740481C1C}">
                <a14:useLocalDpi xmlns:a14="http://schemas.microsoft.com/office/drawing/2010/main"/>
              </a:ext>
            </a:extLst>
          </a:blip>
          <a:srcRect t="21766" b="24149"/>
          <a:stretch/>
        </p:blipFill>
        <p:spPr bwMode="auto">
          <a:xfrm>
            <a:off x="3714475" y="3189893"/>
            <a:ext cx="2381217" cy="965916"/>
          </a:xfrm>
          <a:prstGeom prst="rect">
            <a:avLst/>
          </a:prstGeom>
          <a:noFill/>
          <a:extLst>
            <a:ext uri="{909E8E84-426E-40DD-AFC4-6F175D3DCCD1}">
              <a14:hiddenFill xmlns:a14="http://schemas.microsoft.com/office/drawing/2010/main">
                <a:solidFill>
                  <a:srgbClr val="FFFFFF"/>
                </a:solidFill>
              </a14:hiddenFill>
            </a:ext>
          </a:extLst>
        </p:spPr>
      </p:pic>
      <p:pic>
        <p:nvPicPr>
          <p:cNvPr id="43" name="Imagem 42">
            <a:extLst>
              <a:ext uri="{FF2B5EF4-FFF2-40B4-BE49-F238E27FC236}">
                <a16:creationId xmlns:a16="http://schemas.microsoft.com/office/drawing/2014/main" id="{A85F998F-8B23-4CB6-9533-F48E2F16622A}"/>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8972088" y="2957557"/>
            <a:ext cx="1189359" cy="987261"/>
          </a:xfrm>
          <a:prstGeom prst="rect">
            <a:avLst/>
          </a:prstGeom>
        </p:spPr>
      </p:pic>
      <p:pic>
        <p:nvPicPr>
          <p:cNvPr id="44" name="Imagem 43">
            <a:extLst>
              <a:ext uri="{FF2B5EF4-FFF2-40B4-BE49-F238E27FC236}">
                <a16:creationId xmlns:a16="http://schemas.microsoft.com/office/drawing/2014/main" id="{7830B9FF-18D5-44ED-AB2F-613F475C52DF}"/>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461912" y="4475994"/>
            <a:ext cx="1959361" cy="568544"/>
          </a:xfrm>
          <a:prstGeom prst="rect">
            <a:avLst/>
          </a:prstGeom>
        </p:spPr>
      </p:pic>
      <p:pic>
        <p:nvPicPr>
          <p:cNvPr id="45" name="Imagem 44">
            <a:extLst>
              <a:ext uri="{FF2B5EF4-FFF2-40B4-BE49-F238E27FC236}">
                <a16:creationId xmlns:a16="http://schemas.microsoft.com/office/drawing/2014/main" id="{936CFA36-6890-4002-8204-C7AAB3B2B80E}"/>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745086" y="4069480"/>
            <a:ext cx="1489432" cy="1489432"/>
          </a:xfrm>
          <a:prstGeom prst="rect">
            <a:avLst/>
          </a:prstGeom>
        </p:spPr>
      </p:pic>
      <p:pic>
        <p:nvPicPr>
          <p:cNvPr id="46" name="Imagem 45">
            <a:extLst>
              <a:ext uri="{FF2B5EF4-FFF2-40B4-BE49-F238E27FC236}">
                <a16:creationId xmlns:a16="http://schemas.microsoft.com/office/drawing/2014/main" id="{DF4AF42A-8676-4A45-BD9A-70CC640E2F5B}"/>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6563088" y="3045061"/>
            <a:ext cx="1936502" cy="812255"/>
          </a:xfrm>
          <a:prstGeom prst="rect">
            <a:avLst/>
          </a:prstGeom>
        </p:spPr>
      </p:pic>
      <p:pic>
        <p:nvPicPr>
          <p:cNvPr id="47" name="Imagem 46">
            <a:extLst>
              <a:ext uri="{FF2B5EF4-FFF2-40B4-BE49-F238E27FC236}">
                <a16:creationId xmlns:a16="http://schemas.microsoft.com/office/drawing/2014/main" id="{976FD801-912F-405F-8EEE-1A09A7FB53F6}"/>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l="7079" t="16698" r="67886" b="74284"/>
          <a:stretch/>
        </p:blipFill>
        <p:spPr>
          <a:xfrm>
            <a:off x="2192248" y="5249819"/>
            <a:ext cx="3052292" cy="618186"/>
          </a:xfrm>
          <a:prstGeom prst="rect">
            <a:avLst/>
          </a:prstGeom>
        </p:spPr>
      </p:pic>
    </p:spTree>
    <p:extLst>
      <p:ext uri="{BB962C8B-B14F-4D97-AF65-F5344CB8AC3E}">
        <p14:creationId xmlns:p14="http://schemas.microsoft.com/office/powerpoint/2010/main" val="17873788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Agrupar 11">
            <a:extLst>
              <a:ext uri="{FF2B5EF4-FFF2-40B4-BE49-F238E27FC236}">
                <a16:creationId xmlns:a16="http://schemas.microsoft.com/office/drawing/2014/main" id="{93FE535D-CF2A-42C0-B34B-05A847308C55}"/>
              </a:ext>
            </a:extLst>
          </p:cNvPr>
          <p:cNvGrpSpPr/>
          <p:nvPr/>
        </p:nvGrpSpPr>
        <p:grpSpPr>
          <a:xfrm>
            <a:off x="-12168" y="192573"/>
            <a:ext cx="12612624" cy="7564990"/>
            <a:chOff x="-12168" y="24132"/>
            <a:chExt cx="12612624" cy="7564990"/>
          </a:xfrm>
        </p:grpSpPr>
        <p:pic>
          <p:nvPicPr>
            <p:cNvPr id="14" name="Immagine 18">
              <a:extLst>
                <a:ext uri="{FF2B5EF4-FFF2-40B4-BE49-F238E27FC236}">
                  <a16:creationId xmlns:a16="http://schemas.microsoft.com/office/drawing/2014/main" id="{684E87D2-FA94-4D79-9FCB-55B5638118A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168" y="24132"/>
              <a:ext cx="10700801" cy="7564990"/>
            </a:xfrm>
            <a:prstGeom prst="rect">
              <a:avLst/>
            </a:prstGeom>
          </p:spPr>
        </p:pic>
        <p:sp>
          <p:nvSpPr>
            <p:cNvPr id="15" name="CasellaDiTesto 5">
              <a:extLst>
                <a:ext uri="{FF2B5EF4-FFF2-40B4-BE49-F238E27FC236}">
                  <a16:creationId xmlns:a16="http://schemas.microsoft.com/office/drawing/2014/main" id="{4A218961-24E6-4F78-97A5-B672DB337264}"/>
                </a:ext>
              </a:extLst>
            </p:cNvPr>
            <p:cNvSpPr txBox="1"/>
            <p:nvPr/>
          </p:nvSpPr>
          <p:spPr>
            <a:xfrm>
              <a:off x="12415790" y="2189750"/>
              <a:ext cx="184666" cy="415498"/>
            </a:xfrm>
            <a:prstGeom prst="rect">
              <a:avLst/>
            </a:prstGeom>
            <a:noFill/>
          </p:spPr>
          <p:txBody>
            <a:bodyPr wrap="none" rtlCol="0">
              <a:spAutoFit/>
            </a:bodyPr>
            <a:lstStyle/>
            <a:p>
              <a:endParaRPr lang="pt-BR"/>
            </a:p>
          </p:txBody>
        </p:sp>
        <p:sp>
          <p:nvSpPr>
            <p:cNvPr id="16" name="CasellaDiTesto 22">
              <a:extLst>
                <a:ext uri="{FF2B5EF4-FFF2-40B4-BE49-F238E27FC236}">
                  <a16:creationId xmlns:a16="http://schemas.microsoft.com/office/drawing/2014/main" id="{AD0639AF-4B33-4BEF-92A9-5B9E04902D2F}"/>
                </a:ext>
              </a:extLst>
            </p:cNvPr>
            <p:cNvSpPr txBox="1"/>
            <p:nvPr/>
          </p:nvSpPr>
          <p:spPr>
            <a:xfrm>
              <a:off x="359099" y="5952717"/>
              <a:ext cx="5088679" cy="954107"/>
            </a:xfrm>
            <a:prstGeom prst="rect">
              <a:avLst/>
            </a:prstGeom>
            <a:noFill/>
          </p:spPr>
          <p:txBody>
            <a:bodyPr wrap="square" rtlCol="0">
              <a:spAutoFit/>
            </a:bodyPr>
            <a:lstStyle/>
            <a:p>
              <a:pPr marR="0" lvl="0" defTabSz="914400" eaLnBrk="1" fontAlgn="auto" latinLnBrk="0" hangingPunct="1">
                <a:spcBef>
                  <a:spcPts val="0"/>
                </a:spcBef>
                <a:spcAft>
                  <a:spcPts val="0"/>
                </a:spcAft>
                <a:buClrTx/>
                <a:buSzTx/>
                <a:tabLst/>
                <a:defRPr/>
              </a:pPr>
              <a:r>
                <a:rPr lang="pt-BR" sz="1400" kern="0" dirty="0">
                  <a:solidFill>
                    <a:srgbClr val="375B49"/>
                  </a:solidFill>
                  <a:latin typeface="Arial"/>
                </a:rPr>
                <a:t>Nos continuamos a investir e desenvolver um modelo de negócio baseado em tecnologia e serviços com uma estreita relação entre necessidade de clientes e desenvolvimento de produto</a:t>
              </a:r>
            </a:p>
          </p:txBody>
        </p:sp>
        <p:sp>
          <p:nvSpPr>
            <p:cNvPr id="19" name="CasellaDiTesto 34">
              <a:extLst>
                <a:ext uri="{FF2B5EF4-FFF2-40B4-BE49-F238E27FC236}">
                  <a16:creationId xmlns:a16="http://schemas.microsoft.com/office/drawing/2014/main" id="{BF062545-AC98-44AE-A65F-D95959F5AA93}"/>
                </a:ext>
              </a:extLst>
            </p:cNvPr>
            <p:cNvSpPr txBox="1"/>
            <p:nvPr/>
          </p:nvSpPr>
          <p:spPr>
            <a:xfrm>
              <a:off x="1388536" y="2314967"/>
              <a:ext cx="1340049" cy="466794"/>
            </a:xfrm>
            <a:prstGeom prst="rect">
              <a:avLst/>
            </a:prstGeom>
            <a:noFill/>
          </p:spPr>
          <p:txBody>
            <a:bodyPr wrap="square" rtlCol="0">
              <a:spAutoFit/>
            </a:bodyPr>
            <a:lstStyle/>
            <a:p>
              <a:pPr defTabSz="914400" fontAlgn="auto">
                <a:lnSpc>
                  <a:spcPct val="80000"/>
                </a:lnSpc>
                <a:spcBef>
                  <a:spcPts val="0"/>
                </a:spcBef>
                <a:spcAft>
                  <a:spcPts val="0"/>
                </a:spcAft>
                <a:defRPr/>
              </a:pPr>
              <a:r>
                <a:rPr lang="pt-BR" sz="1000" b="1" kern="0">
                  <a:solidFill>
                    <a:srgbClr val="163D28"/>
                  </a:solidFill>
                  <a:latin typeface="Arial"/>
                </a:rPr>
                <a:t>TECHNICAL</a:t>
              </a:r>
            </a:p>
            <a:p>
              <a:pPr defTabSz="914400" fontAlgn="auto">
                <a:lnSpc>
                  <a:spcPct val="80000"/>
                </a:lnSpc>
                <a:spcBef>
                  <a:spcPts val="0"/>
                </a:spcBef>
                <a:spcAft>
                  <a:spcPts val="0"/>
                </a:spcAft>
                <a:defRPr/>
              </a:pPr>
              <a:r>
                <a:rPr lang="pt-BR" sz="1000" b="1" kern="0">
                  <a:solidFill>
                    <a:srgbClr val="163D28"/>
                  </a:solidFill>
                  <a:latin typeface="Arial"/>
                </a:rPr>
                <a:t>&amp;  SALES</a:t>
              </a:r>
            </a:p>
            <a:p>
              <a:pPr defTabSz="914400" fontAlgn="auto">
                <a:lnSpc>
                  <a:spcPct val="80000"/>
                </a:lnSpc>
                <a:spcBef>
                  <a:spcPts val="0"/>
                </a:spcBef>
                <a:spcAft>
                  <a:spcPts val="0"/>
                </a:spcAft>
                <a:defRPr/>
              </a:pPr>
              <a:r>
                <a:rPr lang="pt-BR" sz="1000" b="1" kern="0">
                  <a:solidFill>
                    <a:srgbClr val="163D28"/>
                  </a:solidFill>
                  <a:latin typeface="Arial"/>
                </a:rPr>
                <a:t>MANAGER</a:t>
              </a:r>
            </a:p>
          </p:txBody>
        </p:sp>
        <p:sp>
          <p:nvSpPr>
            <p:cNvPr id="23" name="Rectangle 19">
              <a:extLst>
                <a:ext uri="{FF2B5EF4-FFF2-40B4-BE49-F238E27FC236}">
                  <a16:creationId xmlns:a16="http://schemas.microsoft.com/office/drawing/2014/main" id="{654F3065-D13C-4A54-9245-DA444369DDDE}"/>
                </a:ext>
              </a:extLst>
            </p:cNvPr>
            <p:cNvSpPr/>
            <p:nvPr/>
          </p:nvSpPr>
          <p:spPr>
            <a:xfrm>
              <a:off x="279204" y="1114737"/>
              <a:ext cx="2768750" cy="738664"/>
            </a:xfrm>
            <a:prstGeom prst="rect">
              <a:avLst/>
            </a:prstGeom>
          </p:spPr>
          <p:txBody>
            <a:bodyPr wrap="square">
              <a:spAutoFit/>
            </a:bodyPr>
            <a:lstStyle/>
            <a:p>
              <a:pPr lvl="0" defTabSz="914400">
                <a:defRPr/>
              </a:pPr>
              <a:r>
                <a:rPr lang="pt-BR" sz="1400" kern="0">
                  <a:solidFill>
                    <a:prstClr val="white"/>
                  </a:solidFill>
                  <a:latin typeface="Arial"/>
                </a:rPr>
                <a:t>MODELO DE NEGOCIO</a:t>
              </a:r>
            </a:p>
            <a:p>
              <a:pPr lvl="0" defTabSz="914400">
                <a:defRPr/>
              </a:pPr>
              <a:r>
                <a:rPr lang="pt-BR" sz="1400" b="1" kern="0">
                  <a:solidFill>
                    <a:prstClr val="white"/>
                  </a:solidFill>
                  <a:latin typeface="Arial"/>
                </a:rPr>
                <a:t>SOLUÇOES CENTRADAS NO CLIENTE</a:t>
              </a:r>
            </a:p>
          </p:txBody>
        </p:sp>
        <p:sp>
          <p:nvSpPr>
            <p:cNvPr id="24" name="CasellaDiTesto 20">
              <a:extLst>
                <a:ext uri="{FF2B5EF4-FFF2-40B4-BE49-F238E27FC236}">
                  <a16:creationId xmlns:a16="http://schemas.microsoft.com/office/drawing/2014/main" id="{37481695-A0EE-4D85-92B2-8F0ACE88541B}"/>
                </a:ext>
              </a:extLst>
            </p:cNvPr>
            <p:cNvSpPr txBox="1"/>
            <p:nvPr/>
          </p:nvSpPr>
          <p:spPr>
            <a:xfrm>
              <a:off x="1388535" y="2979882"/>
              <a:ext cx="1340049" cy="46679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TRADE-MARKETING SPECIALIST</a:t>
              </a:r>
            </a:p>
          </p:txBody>
        </p:sp>
        <p:sp>
          <p:nvSpPr>
            <p:cNvPr id="26" name="CasellaDiTesto 21">
              <a:extLst>
                <a:ext uri="{FF2B5EF4-FFF2-40B4-BE49-F238E27FC236}">
                  <a16:creationId xmlns:a16="http://schemas.microsoft.com/office/drawing/2014/main" id="{11FF80BD-7901-4E6B-9094-AB579D200F25}"/>
                </a:ext>
              </a:extLst>
            </p:cNvPr>
            <p:cNvSpPr txBox="1"/>
            <p:nvPr/>
          </p:nvSpPr>
          <p:spPr>
            <a:xfrm>
              <a:off x="1388536" y="3708965"/>
              <a:ext cx="964500" cy="34368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CROP MANAGER</a:t>
              </a:r>
            </a:p>
          </p:txBody>
        </p:sp>
        <p:sp>
          <p:nvSpPr>
            <p:cNvPr id="28" name="CasellaDiTesto 26">
              <a:extLst>
                <a:ext uri="{FF2B5EF4-FFF2-40B4-BE49-F238E27FC236}">
                  <a16:creationId xmlns:a16="http://schemas.microsoft.com/office/drawing/2014/main" id="{5B7DF011-05C9-4F78-B63B-386C12840B32}"/>
                </a:ext>
              </a:extLst>
            </p:cNvPr>
            <p:cNvSpPr txBox="1"/>
            <p:nvPr/>
          </p:nvSpPr>
          <p:spPr>
            <a:xfrm>
              <a:off x="1388536" y="4383359"/>
              <a:ext cx="964500" cy="343684"/>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PRODUCT</a:t>
              </a:r>
            </a:p>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MANAGER</a:t>
              </a:r>
            </a:p>
          </p:txBody>
        </p:sp>
        <p:sp>
          <p:nvSpPr>
            <p:cNvPr id="29" name="CasellaDiTesto 27">
              <a:extLst>
                <a:ext uri="{FF2B5EF4-FFF2-40B4-BE49-F238E27FC236}">
                  <a16:creationId xmlns:a16="http://schemas.microsoft.com/office/drawing/2014/main" id="{B18B173A-259D-48B9-8F1E-92A394E6C82D}"/>
                </a:ext>
              </a:extLst>
            </p:cNvPr>
            <p:cNvSpPr txBox="1"/>
            <p:nvPr/>
          </p:nvSpPr>
          <p:spPr>
            <a:xfrm>
              <a:off x="1388535" y="5127725"/>
              <a:ext cx="964500" cy="220573"/>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RSM</a:t>
              </a:r>
            </a:p>
          </p:txBody>
        </p:sp>
        <p:sp>
          <p:nvSpPr>
            <p:cNvPr id="30" name="CasellaDiTesto 28">
              <a:extLst>
                <a:ext uri="{FF2B5EF4-FFF2-40B4-BE49-F238E27FC236}">
                  <a16:creationId xmlns:a16="http://schemas.microsoft.com/office/drawing/2014/main" id="{DB779758-B104-4172-AF6A-6AFCA434FD52}"/>
                </a:ext>
              </a:extLst>
            </p:cNvPr>
            <p:cNvSpPr txBox="1"/>
            <p:nvPr/>
          </p:nvSpPr>
          <p:spPr>
            <a:xfrm>
              <a:off x="3256087" y="2447264"/>
              <a:ext cx="964500" cy="466794"/>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2000" b="1" kern="0">
                  <a:solidFill>
                    <a:srgbClr val="608D26"/>
                  </a:solidFill>
                  <a:latin typeface="Arial"/>
                </a:rPr>
                <a:t>+37</a:t>
              </a:r>
            </a:p>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608D26"/>
                  </a:solidFill>
                  <a:latin typeface="Arial"/>
                </a:rPr>
                <a:t>by 2019</a:t>
              </a:r>
            </a:p>
          </p:txBody>
        </p:sp>
        <p:sp>
          <p:nvSpPr>
            <p:cNvPr id="31" name="CasellaDiTesto 29">
              <a:extLst>
                <a:ext uri="{FF2B5EF4-FFF2-40B4-BE49-F238E27FC236}">
                  <a16:creationId xmlns:a16="http://schemas.microsoft.com/office/drawing/2014/main" id="{BB6D6B9B-981E-4BC6-9FBC-3514FE6B6F5C}"/>
                </a:ext>
              </a:extLst>
            </p:cNvPr>
            <p:cNvSpPr txBox="1"/>
            <p:nvPr/>
          </p:nvSpPr>
          <p:spPr>
            <a:xfrm>
              <a:off x="3071154" y="3581230"/>
              <a:ext cx="1386914" cy="707886"/>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2000" b="1" kern="0" dirty="0">
                  <a:solidFill>
                    <a:schemeClr val="tx2">
                      <a:lumMod val="50000"/>
                    </a:schemeClr>
                  </a:solidFill>
                  <a:latin typeface="Arial"/>
                </a:rPr>
                <a:t>187</a:t>
              </a:r>
            </a:p>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dirty="0">
                  <a:solidFill>
                    <a:schemeClr val="tx2">
                      <a:lumMod val="50000"/>
                    </a:schemeClr>
                  </a:solidFill>
                  <a:latin typeface="Arial"/>
                </a:rPr>
                <a:t>EQUIPE DE CAMPO</a:t>
              </a:r>
            </a:p>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dirty="0">
                  <a:solidFill>
                    <a:schemeClr val="tx2">
                      <a:lumMod val="50000"/>
                    </a:schemeClr>
                  </a:solidFill>
                  <a:latin typeface="Arial"/>
                </a:rPr>
                <a:t>&amp; SUPPORTE</a:t>
              </a:r>
            </a:p>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dirty="0">
                  <a:solidFill>
                    <a:schemeClr val="tx2">
                      <a:lumMod val="50000"/>
                    </a:schemeClr>
                  </a:solidFill>
                  <a:latin typeface="Arial"/>
                </a:rPr>
                <a:t>STAFF</a:t>
              </a:r>
            </a:p>
          </p:txBody>
        </p:sp>
        <p:sp>
          <p:nvSpPr>
            <p:cNvPr id="32" name="CasellaDiTesto 39">
              <a:extLst>
                <a:ext uri="{FF2B5EF4-FFF2-40B4-BE49-F238E27FC236}">
                  <a16:creationId xmlns:a16="http://schemas.microsoft.com/office/drawing/2014/main" id="{D06B7298-9F24-4580-9F4D-4EE917AD96AA}"/>
                </a:ext>
              </a:extLst>
            </p:cNvPr>
            <p:cNvSpPr txBox="1"/>
            <p:nvPr/>
          </p:nvSpPr>
          <p:spPr>
            <a:xfrm>
              <a:off x="4929316" y="3896775"/>
              <a:ext cx="1918632" cy="289310"/>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600" b="1" kern="0">
                  <a:solidFill>
                    <a:schemeClr val="bg1"/>
                  </a:solidFill>
                  <a:latin typeface="Arial"/>
                </a:rPr>
                <a:t>DISTRIBUIDORES</a:t>
              </a:r>
            </a:p>
          </p:txBody>
        </p:sp>
        <p:sp>
          <p:nvSpPr>
            <p:cNvPr id="33" name="CasellaDiTesto 40">
              <a:extLst>
                <a:ext uri="{FF2B5EF4-FFF2-40B4-BE49-F238E27FC236}">
                  <a16:creationId xmlns:a16="http://schemas.microsoft.com/office/drawing/2014/main" id="{97268D08-550F-4A82-ACEA-BA41461E54C9}"/>
                </a:ext>
              </a:extLst>
            </p:cNvPr>
            <p:cNvSpPr txBox="1"/>
            <p:nvPr/>
          </p:nvSpPr>
          <p:spPr>
            <a:xfrm>
              <a:off x="4912987" y="3580525"/>
              <a:ext cx="1918632" cy="289310"/>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600" b="1" kern="0">
                  <a:solidFill>
                    <a:schemeClr val="bg1"/>
                  </a:solidFill>
                  <a:latin typeface="Arial"/>
                </a:rPr>
                <a:t>PRODUTORES</a:t>
              </a:r>
            </a:p>
          </p:txBody>
        </p:sp>
        <p:sp>
          <p:nvSpPr>
            <p:cNvPr id="34" name="CasellaDiTesto 41">
              <a:extLst>
                <a:ext uri="{FF2B5EF4-FFF2-40B4-BE49-F238E27FC236}">
                  <a16:creationId xmlns:a16="http://schemas.microsoft.com/office/drawing/2014/main" id="{DA5356B6-DCEF-4B63-B34A-260A231D69E1}"/>
                </a:ext>
              </a:extLst>
            </p:cNvPr>
            <p:cNvSpPr txBox="1"/>
            <p:nvPr/>
          </p:nvSpPr>
          <p:spPr>
            <a:xfrm>
              <a:off x="8201734" y="3806627"/>
              <a:ext cx="1888042" cy="343684"/>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 E-SOLUTIONS PARA AGRICULTURA</a:t>
              </a:r>
            </a:p>
          </p:txBody>
        </p:sp>
        <p:sp>
          <p:nvSpPr>
            <p:cNvPr id="35" name="CasellaDiTesto 42">
              <a:extLst>
                <a:ext uri="{FF2B5EF4-FFF2-40B4-BE49-F238E27FC236}">
                  <a16:creationId xmlns:a16="http://schemas.microsoft.com/office/drawing/2014/main" id="{0B422899-2322-4A9D-A75C-E02EF0C89E1F}"/>
                </a:ext>
              </a:extLst>
            </p:cNvPr>
            <p:cNvSpPr txBox="1"/>
            <p:nvPr/>
          </p:nvSpPr>
          <p:spPr>
            <a:xfrm>
              <a:off x="8114149" y="5075177"/>
              <a:ext cx="1888042" cy="343684"/>
            </a:xfrm>
            <a:prstGeom prst="rect">
              <a:avLst/>
            </a:prstGeom>
            <a:noFill/>
          </p:spPr>
          <p:txBody>
            <a:bodyPr wrap="square" rtlCol="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VALAGRO</a:t>
              </a:r>
            </a:p>
            <a:p>
              <a:pPr marL="0" marR="0" lvl="0" indent="0" algn="ctr"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ACADEMY</a:t>
              </a:r>
            </a:p>
          </p:txBody>
        </p:sp>
        <p:sp>
          <p:nvSpPr>
            <p:cNvPr id="36" name="CasellaDiTesto 43">
              <a:extLst>
                <a:ext uri="{FF2B5EF4-FFF2-40B4-BE49-F238E27FC236}">
                  <a16:creationId xmlns:a16="http://schemas.microsoft.com/office/drawing/2014/main" id="{23DE5839-2996-4B31-BC70-1BED37C6AF8C}"/>
                </a:ext>
              </a:extLst>
            </p:cNvPr>
            <p:cNvSpPr txBox="1"/>
            <p:nvPr/>
          </p:nvSpPr>
          <p:spPr>
            <a:xfrm>
              <a:off x="8422190" y="2454877"/>
              <a:ext cx="2081866" cy="707886"/>
            </a:xfrm>
            <a:prstGeom prst="rect">
              <a:avLst/>
            </a:prstGeom>
            <a:noFill/>
          </p:spPr>
          <p:txBody>
            <a:bodyPr wrap="square" rtlCol="0">
              <a:spAutoFit/>
            </a:bodyPr>
            <a:lstStyle/>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 FORMADOR OPINIÃO</a:t>
              </a:r>
            </a:p>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 UNIVERSIDADE</a:t>
              </a:r>
            </a:p>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 CONSULTORES</a:t>
              </a:r>
            </a:p>
            <a:p>
              <a:pPr marL="80963" marR="0" lvl="0" indent="-80963" defTabSz="914400" eaLnBrk="1" fontAlgn="auto" latinLnBrk="0" hangingPunct="1">
                <a:lnSpc>
                  <a:spcPct val="80000"/>
                </a:lnSpc>
                <a:spcBef>
                  <a:spcPts val="0"/>
                </a:spcBef>
                <a:spcAft>
                  <a:spcPts val="0"/>
                </a:spcAft>
                <a:buClrTx/>
                <a:buSzTx/>
                <a:buFont typeface="Arial" panose="020B0604020202020204" pitchFamily="34" charset="0"/>
                <a:buChar char="•"/>
                <a:tabLst/>
                <a:defRPr/>
              </a:pPr>
              <a:r>
                <a:rPr lang="pt-BR" sz="1000" b="1" kern="0">
                  <a:solidFill>
                    <a:srgbClr val="163D28"/>
                  </a:solidFill>
                  <a:latin typeface="Arial"/>
                </a:rPr>
                <a:t>CENTROS DE PESQUISA</a:t>
              </a:r>
            </a:p>
            <a:p>
              <a:pPr marL="0" marR="0" lvl="0" indent="0" defTabSz="914400" eaLnBrk="1" fontAlgn="auto" latinLnBrk="0" hangingPunct="1">
                <a:lnSpc>
                  <a:spcPct val="80000"/>
                </a:lnSpc>
                <a:spcBef>
                  <a:spcPts val="0"/>
                </a:spcBef>
                <a:spcAft>
                  <a:spcPts val="0"/>
                </a:spcAft>
                <a:buClrTx/>
                <a:buSzTx/>
                <a:buFontTx/>
                <a:buNone/>
                <a:tabLst/>
                <a:defRPr/>
              </a:pPr>
              <a:r>
                <a:rPr lang="pt-BR" sz="1000" b="1" kern="0">
                  <a:solidFill>
                    <a:srgbClr val="163D28"/>
                  </a:solidFill>
                  <a:latin typeface="Arial"/>
                </a:rPr>
                <a:t>  </a:t>
              </a:r>
            </a:p>
          </p:txBody>
        </p:sp>
      </p:gr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5" name="Rettangolo 9">
            <a:extLst>
              <a:ext uri="{FF2B5EF4-FFF2-40B4-BE49-F238E27FC236}">
                <a16:creationId xmlns:a16="http://schemas.microsoft.com/office/drawing/2014/main" id="{D4036221-4654-4C52-B8EB-9B37924B9DBD}"/>
              </a:ext>
            </a:extLst>
          </p:cNvPr>
          <p:cNvSpPr/>
          <p:nvPr/>
        </p:nvSpPr>
        <p:spPr>
          <a:xfrm>
            <a:off x="279204" y="179991"/>
            <a:ext cx="10016041" cy="992579"/>
          </a:xfrm>
          <a:prstGeom prst="rect">
            <a:avLst/>
          </a:prstGeom>
        </p:spPr>
        <p:txBody>
          <a:bodyPr wrap="square">
            <a:spAutoFit/>
          </a:bodyPr>
          <a:lstStyle/>
          <a:p>
            <a:pPr lvl="0"/>
            <a:r>
              <a:rPr lang="pt-BR" sz="3000" b="1" cap="all">
                <a:ln w="19050">
                  <a:noFill/>
                </a:ln>
                <a:solidFill>
                  <a:srgbClr val="163D28"/>
                </a:solidFill>
                <a:latin typeface="Arial" pitchFamily="34" charset="0"/>
                <a:cs typeface="Arial" pitchFamily="34" charset="0"/>
              </a:rPr>
              <a:t>Valagro do brasil</a:t>
            </a:r>
          </a:p>
          <a:p>
            <a:pPr lvl="0"/>
            <a:r>
              <a:rPr lang="pt-BR" sz="1800" cap="all">
                <a:ln w="19050">
                  <a:noFill/>
                </a:ln>
                <a:solidFill>
                  <a:srgbClr val="163D28"/>
                </a:solidFill>
                <a:latin typeface="Arial" pitchFamily="34" charset="0"/>
                <a:cs typeface="Arial" pitchFamily="34" charset="0"/>
              </a:rPr>
              <a:t>modelo de negócio voltado ao cliente</a:t>
            </a:r>
            <a:endParaRPr lang="pt-BR" sz="3200" cap="all">
              <a:ln w="19050">
                <a:noFill/>
              </a:ln>
              <a:solidFill>
                <a:srgbClr val="163D28"/>
              </a:solidFill>
              <a:latin typeface="Arial" pitchFamily="34" charset="0"/>
              <a:cs typeface="Arial" pitchFamily="34" charset="0"/>
            </a:endParaRPr>
          </a:p>
          <a:p>
            <a:pPr lvl="0"/>
            <a:endParaRPr lang="pt-BR" sz="1050">
              <a:ln w="19050">
                <a:noFill/>
              </a:ln>
              <a:solidFill>
                <a:schemeClr val="tx1">
                  <a:lumMod val="65000"/>
                  <a:lumOff val="35000"/>
                </a:schemeClr>
              </a:solidFill>
              <a:latin typeface="Arial" pitchFamily="34" charset="0"/>
              <a:cs typeface="Arial" pitchFamily="34" charset="0"/>
            </a:endParaRPr>
          </a:p>
        </p:txBody>
      </p:sp>
    </p:spTree>
    <p:extLst>
      <p:ext uri="{BB962C8B-B14F-4D97-AF65-F5344CB8AC3E}">
        <p14:creationId xmlns:p14="http://schemas.microsoft.com/office/powerpoint/2010/main" val="4356933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25" name="Rettangolo 9">
            <a:extLst>
              <a:ext uri="{FF2B5EF4-FFF2-40B4-BE49-F238E27FC236}">
                <a16:creationId xmlns:a16="http://schemas.microsoft.com/office/drawing/2014/main" id="{D4036221-4654-4C52-B8EB-9B37924B9DBD}"/>
              </a:ext>
            </a:extLst>
          </p:cNvPr>
          <p:cNvSpPr/>
          <p:nvPr/>
        </p:nvSpPr>
        <p:spPr>
          <a:xfrm>
            <a:off x="279204" y="179991"/>
            <a:ext cx="10016041" cy="992579"/>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Valagro do brasil</a:t>
            </a:r>
          </a:p>
          <a:p>
            <a:pPr lvl="0"/>
            <a:r>
              <a:rPr lang="pt-BR" sz="1800" cap="all" dirty="0">
                <a:ln w="19050">
                  <a:noFill/>
                </a:ln>
                <a:solidFill>
                  <a:srgbClr val="163D28"/>
                </a:solidFill>
                <a:latin typeface="Arial" pitchFamily="34" charset="0"/>
                <a:cs typeface="Arial" pitchFamily="34" charset="0"/>
              </a:rPr>
              <a:t>Difusão tecnológica – curva </a:t>
            </a:r>
            <a:r>
              <a:rPr lang="pt-BR" sz="1800" cap="all">
                <a:ln w="19050">
                  <a:noFill/>
                </a:ln>
                <a:solidFill>
                  <a:srgbClr val="163D28"/>
                </a:solidFill>
                <a:latin typeface="Arial" pitchFamily="34" charset="0"/>
                <a:cs typeface="Arial" pitchFamily="34" charset="0"/>
              </a:rPr>
              <a:t>de adoção</a:t>
            </a:r>
            <a:endParaRPr lang="de-DE" sz="3200" cap="all" dirty="0">
              <a:ln w="19050">
                <a:noFill/>
              </a:ln>
              <a:solidFill>
                <a:srgbClr val="163D28"/>
              </a:solidFill>
              <a:latin typeface="Arial" pitchFamily="34" charset="0"/>
              <a:cs typeface="Arial" pitchFamily="34" charset="0"/>
            </a:endParaRPr>
          </a:p>
          <a:p>
            <a:pPr lvl="0"/>
            <a:endParaRPr lang="it-IT" sz="1050" dirty="0">
              <a:ln w="19050">
                <a:noFill/>
              </a:ln>
              <a:solidFill>
                <a:schemeClr val="tx1">
                  <a:lumMod val="65000"/>
                  <a:lumOff val="35000"/>
                </a:schemeClr>
              </a:solidFill>
              <a:latin typeface="Arial" pitchFamily="34" charset="0"/>
              <a:cs typeface="Arial" pitchFamily="34" charset="0"/>
            </a:endParaRPr>
          </a:p>
        </p:txBody>
      </p:sp>
      <p:pic>
        <p:nvPicPr>
          <p:cNvPr id="3074" name="Picture 2" descr="Resultado de imagem para curva de inovaÃ§Ã£o">
            <a:extLst>
              <a:ext uri="{FF2B5EF4-FFF2-40B4-BE49-F238E27FC236}">
                <a16:creationId xmlns:a16="http://schemas.microsoft.com/office/drawing/2014/main" id="{95F79D7C-D9B3-472E-99CD-B5928BF4301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7725" b="10521"/>
          <a:stretch/>
        </p:blipFill>
        <p:spPr bwMode="auto">
          <a:xfrm>
            <a:off x="1188856" y="3129123"/>
            <a:ext cx="8067437" cy="3740369"/>
          </a:xfrm>
          <a:prstGeom prst="rect">
            <a:avLst/>
          </a:prstGeom>
          <a:noFill/>
          <a:extLst>
            <a:ext uri="{909E8E84-426E-40DD-AFC4-6F175D3DCCD1}">
              <a14:hiddenFill xmlns:a14="http://schemas.microsoft.com/office/drawing/2010/main">
                <a:solidFill>
                  <a:srgbClr val="FFFFFF"/>
                </a:solidFill>
              </a14:hiddenFill>
            </a:ext>
          </a:extLst>
        </p:spPr>
      </p:pic>
      <p:sp>
        <p:nvSpPr>
          <p:cNvPr id="2" name="CaixaDeTexto 1">
            <a:extLst>
              <a:ext uri="{FF2B5EF4-FFF2-40B4-BE49-F238E27FC236}">
                <a16:creationId xmlns:a16="http://schemas.microsoft.com/office/drawing/2014/main" id="{AC51E9A6-F774-479A-8987-D4745B47AAB3}"/>
              </a:ext>
            </a:extLst>
          </p:cNvPr>
          <p:cNvSpPr txBox="1"/>
          <p:nvPr/>
        </p:nvSpPr>
        <p:spPr>
          <a:xfrm>
            <a:off x="6421302" y="1412846"/>
            <a:ext cx="2707651" cy="738000"/>
          </a:xfrm>
          <a:prstGeom prst="rect">
            <a:avLst/>
          </a:prstGeom>
          <a:solidFill>
            <a:schemeClr val="accent6">
              <a:lumMod val="60000"/>
              <a:lumOff val="40000"/>
            </a:schemeClr>
          </a:solidFill>
        </p:spPr>
        <p:txBody>
          <a:bodyPr wrap="square" rtlCol="0" anchor="ctr">
            <a:spAutoFit/>
          </a:bodyPr>
          <a:lstStyle/>
          <a:p>
            <a:pPr algn="ctr"/>
            <a:r>
              <a:rPr lang="pt-BR" dirty="0">
                <a:effectLst>
                  <a:outerShdw blurRad="38100" dist="38100" dir="2700000" algn="tl">
                    <a:srgbClr val="000000">
                      <a:alpha val="43137"/>
                    </a:srgbClr>
                  </a:outerShdw>
                </a:effectLst>
              </a:rPr>
              <a:t>“Fertilizante Foliar”</a:t>
            </a:r>
          </a:p>
        </p:txBody>
      </p:sp>
      <p:sp>
        <p:nvSpPr>
          <p:cNvPr id="10" name="CaixaDeTexto 9">
            <a:extLst>
              <a:ext uri="{FF2B5EF4-FFF2-40B4-BE49-F238E27FC236}">
                <a16:creationId xmlns:a16="http://schemas.microsoft.com/office/drawing/2014/main" id="{3C121136-286D-4526-BBA2-36995BC497B0}"/>
              </a:ext>
            </a:extLst>
          </p:cNvPr>
          <p:cNvSpPr txBox="1"/>
          <p:nvPr/>
        </p:nvSpPr>
        <p:spPr>
          <a:xfrm>
            <a:off x="896856" y="1348487"/>
            <a:ext cx="3981450" cy="738664"/>
          </a:xfrm>
          <a:prstGeom prst="rect">
            <a:avLst/>
          </a:prstGeom>
          <a:solidFill>
            <a:schemeClr val="accent3">
              <a:lumMod val="40000"/>
              <a:lumOff val="60000"/>
            </a:schemeClr>
          </a:solidFill>
        </p:spPr>
        <p:txBody>
          <a:bodyPr wrap="square" rtlCol="0">
            <a:spAutoFit/>
          </a:bodyPr>
          <a:lstStyle/>
          <a:p>
            <a:pPr algn="ctr"/>
            <a:r>
              <a:rPr lang="pt-BR" dirty="0">
                <a:effectLst>
                  <a:outerShdw blurRad="38100" dist="38100" dir="2700000" algn="tl">
                    <a:srgbClr val="000000">
                      <a:alpha val="43137"/>
                    </a:srgbClr>
                  </a:outerShdw>
                </a:effectLst>
              </a:rPr>
              <a:t>“</a:t>
            </a:r>
            <a:r>
              <a:rPr lang="pt-BR" dirty="0" err="1">
                <a:effectLst>
                  <a:outerShdw blurRad="38100" dist="38100" dir="2700000" algn="tl">
                    <a:srgbClr val="000000">
                      <a:alpha val="43137"/>
                    </a:srgbClr>
                  </a:outerShdw>
                </a:effectLst>
              </a:rPr>
              <a:t>Bioestimulante</a:t>
            </a:r>
            <a:r>
              <a:rPr lang="pt-BR" dirty="0">
                <a:effectLst>
                  <a:outerShdw blurRad="38100" dist="38100" dir="2700000" algn="tl">
                    <a:srgbClr val="000000">
                      <a:alpha val="43137"/>
                    </a:srgbClr>
                  </a:outerShdw>
                </a:effectLst>
              </a:rPr>
              <a:t> de alta tecnologia – com aplicação foliar -</a:t>
            </a:r>
          </a:p>
        </p:txBody>
      </p:sp>
      <p:sp>
        <p:nvSpPr>
          <p:cNvPr id="3" name="CaixaDeTexto 2">
            <a:extLst>
              <a:ext uri="{FF2B5EF4-FFF2-40B4-BE49-F238E27FC236}">
                <a16:creationId xmlns:a16="http://schemas.microsoft.com/office/drawing/2014/main" id="{FE3F2E05-5627-45E0-A4C0-B023F3AC9F11}"/>
              </a:ext>
            </a:extLst>
          </p:cNvPr>
          <p:cNvSpPr txBox="1"/>
          <p:nvPr/>
        </p:nvSpPr>
        <p:spPr>
          <a:xfrm>
            <a:off x="5355924" y="1470169"/>
            <a:ext cx="587760" cy="584775"/>
          </a:xfrm>
          <a:prstGeom prst="rect">
            <a:avLst/>
          </a:prstGeom>
          <a:noFill/>
        </p:spPr>
        <p:txBody>
          <a:bodyPr wrap="square" rtlCol="0">
            <a:spAutoFit/>
          </a:bodyPr>
          <a:lstStyle/>
          <a:p>
            <a:r>
              <a:rPr lang="pt-BR" sz="3200" b="1" dirty="0">
                <a:effectLst>
                  <a:outerShdw blurRad="38100" dist="38100" dir="2700000" algn="tl">
                    <a:srgbClr val="000000">
                      <a:alpha val="43137"/>
                    </a:srgbClr>
                  </a:outerShdw>
                </a:effectLst>
              </a:rPr>
              <a:t>X</a:t>
            </a:r>
            <a:endParaRPr lang="pt-BR" b="1" dirty="0">
              <a:effectLst>
                <a:outerShdw blurRad="38100" dist="38100" dir="2700000" algn="tl">
                  <a:srgbClr val="000000">
                    <a:alpha val="43137"/>
                  </a:srgbClr>
                </a:outerShdw>
              </a:effectLst>
            </a:endParaRPr>
          </a:p>
        </p:txBody>
      </p:sp>
      <p:sp>
        <p:nvSpPr>
          <p:cNvPr id="5" name="Retângulo 4">
            <a:extLst>
              <a:ext uri="{FF2B5EF4-FFF2-40B4-BE49-F238E27FC236}">
                <a16:creationId xmlns:a16="http://schemas.microsoft.com/office/drawing/2014/main" id="{262F963A-D29C-411D-9211-56CDD4335351}"/>
              </a:ext>
            </a:extLst>
          </p:cNvPr>
          <p:cNvSpPr/>
          <p:nvPr/>
        </p:nvSpPr>
        <p:spPr>
          <a:xfrm>
            <a:off x="1432345" y="5892196"/>
            <a:ext cx="3234905" cy="457200"/>
          </a:xfrm>
          <a:prstGeom prst="rect">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033128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P spid="3" grpId="0"/>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1292662"/>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Valagro do brasil</a:t>
            </a:r>
          </a:p>
          <a:p>
            <a:pPr lvl="0"/>
            <a:r>
              <a:rPr lang="it-IT" sz="1800" cap="all" dirty="0">
                <a:ln w="19050">
                  <a:noFill/>
                </a:ln>
                <a:solidFill>
                  <a:srgbClr val="163D28"/>
                </a:solidFill>
                <a:latin typeface="Arial" pitchFamily="34" charset="0"/>
                <a:cs typeface="Arial" pitchFamily="34" charset="0"/>
              </a:rPr>
              <a:t>Nossos planos &amp; expectativas</a:t>
            </a:r>
            <a:endParaRPr lang="es-ES_tradnl" sz="2400" cap="all" dirty="0">
              <a:ln w="19050">
                <a:noFill/>
              </a:ln>
              <a:solidFill>
                <a:srgbClr val="163D28"/>
              </a:solidFill>
              <a:latin typeface="Arial" pitchFamily="34" charset="0"/>
              <a:cs typeface="Arial" pitchFamily="34" charset="0"/>
            </a:endParaRPr>
          </a:p>
          <a:p>
            <a:pPr lvl="0"/>
            <a:r>
              <a:rPr lang="de-DE" sz="3000" b="1" cap="all" dirty="0">
                <a:ln w="19050">
                  <a:noFill/>
                </a:ln>
                <a:solidFill>
                  <a:srgbClr val="163D28"/>
                </a:solidFill>
                <a:latin typeface="Arial" pitchFamily="34" charset="0"/>
                <a:cs typeface="Arial" pitchFamily="34" charset="0"/>
              </a:rPr>
              <a:t>  </a:t>
            </a:r>
            <a:endParaRPr lang="it-IT" sz="1000" dirty="0">
              <a:ln w="19050">
                <a:noFill/>
              </a:ln>
              <a:solidFill>
                <a:schemeClr val="tx1">
                  <a:lumMod val="65000"/>
                  <a:lumOff val="35000"/>
                </a:schemeClr>
              </a:solidFill>
              <a:latin typeface="Arial" pitchFamily="34" charset="0"/>
              <a:cs typeface="Arial" pitchFamily="34" charset="0"/>
            </a:endParaRPr>
          </a:p>
        </p:txBody>
      </p:sp>
      <p:sp>
        <p:nvSpPr>
          <p:cNvPr id="95" name="Retângulo 94">
            <a:extLst>
              <a:ext uri="{FF2B5EF4-FFF2-40B4-BE49-F238E27FC236}">
                <a16:creationId xmlns:a16="http://schemas.microsoft.com/office/drawing/2014/main" id="{D8781BAC-0401-4D86-B696-8A40991CE7F4}"/>
              </a:ext>
            </a:extLst>
          </p:cNvPr>
          <p:cNvSpPr/>
          <p:nvPr/>
        </p:nvSpPr>
        <p:spPr>
          <a:xfrm>
            <a:off x="491070" y="1251660"/>
            <a:ext cx="9592308" cy="2819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nSpc>
                <a:spcPct val="150000"/>
              </a:lnSpc>
              <a:buFont typeface="Wingdings" panose="05000000000000000000" pitchFamily="2" charset="2"/>
              <a:buChar char="ü"/>
            </a:pPr>
            <a:r>
              <a:rPr lang="pt-BR" sz="2400" b="1" dirty="0">
                <a:solidFill>
                  <a:srgbClr val="375B49"/>
                </a:solidFill>
              </a:rPr>
              <a:t>Expandir territorialmente em áreas estratégicas de grandes culturas</a:t>
            </a:r>
          </a:p>
          <a:p>
            <a:pPr marL="342900" indent="-342900">
              <a:lnSpc>
                <a:spcPct val="150000"/>
              </a:lnSpc>
              <a:buFont typeface="Wingdings" panose="05000000000000000000" pitchFamily="2" charset="2"/>
              <a:buChar char="ü"/>
            </a:pPr>
            <a:r>
              <a:rPr lang="pt-BR" sz="2400" b="1" dirty="0">
                <a:solidFill>
                  <a:srgbClr val="375B49"/>
                </a:solidFill>
              </a:rPr>
              <a:t>Estabelecer parcerias estratégicas e duradouras</a:t>
            </a:r>
          </a:p>
          <a:p>
            <a:pPr marL="342900" indent="-342900">
              <a:lnSpc>
                <a:spcPct val="150000"/>
              </a:lnSpc>
              <a:buFont typeface="Wingdings" panose="05000000000000000000" pitchFamily="2" charset="2"/>
              <a:buChar char="ü"/>
            </a:pPr>
            <a:r>
              <a:rPr lang="pt-BR" sz="2400" b="1" dirty="0">
                <a:solidFill>
                  <a:srgbClr val="375B49"/>
                </a:solidFill>
              </a:rPr>
              <a:t>Ampliar nossa atuação junto a Academia &amp; Centros de Pesquisa</a:t>
            </a:r>
          </a:p>
          <a:p>
            <a:pPr marL="342900" indent="-342900">
              <a:lnSpc>
                <a:spcPct val="150000"/>
              </a:lnSpc>
              <a:buFont typeface="Wingdings" panose="05000000000000000000" pitchFamily="2" charset="2"/>
              <a:buChar char="ü"/>
            </a:pPr>
            <a:r>
              <a:rPr lang="pt-BR" sz="2400" b="1" dirty="0">
                <a:solidFill>
                  <a:srgbClr val="375B49"/>
                </a:solidFill>
              </a:rPr>
              <a:t>Nos tornarmos uma dos principais fornecedores de soluções de alta tecnologia em nutrição especial para grandes culturas no Brasil</a:t>
            </a:r>
          </a:p>
        </p:txBody>
      </p:sp>
      <p:pic>
        <p:nvPicPr>
          <p:cNvPr id="1026" name="Picture 2" descr="Resultado de imagem para gowth">
            <a:extLst>
              <a:ext uri="{FF2B5EF4-FFF2-40B4-BE49-F238E27FC236}">
                <a16:creationId xmlns:a16="http://schemas.microsoft.com/office/drawing/2014/main" id="{6B7F2106-E484-48E0-8925-5C99F19008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67113" y="4156736"/>
            <a:ext cx="3171825" cy="2819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1224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1292662"/>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Valagro do brasil</a:t>
            </a:r>
          </a:p>
          <a:p>
            <a:pPr lvl="0"/>
            <a:r>
              <a:rPr lang="it-IT" sz="1800" cap="all" dirty="0">
                <a:ln w="19050">
                  <a:noFill/>
                </a:ln>
                <a:solidFill>
                  <a:srgbClr val="163D28"/>
                </a:solidFill>
                <a:latin typeface="Arial" pitchFamily="34" charset="0"/>
                <a:cs typeface="Arial" pitchFamily="34" charset="0"/>
              </a:rPr>
              <a:t>Nossos planos &amp; expectativas</a:t>
            </a:r>
            <a:endParaRPr lang="es-ES_tradnl" sz="2400" cap="all" dirty="0">
              <a:ln w="19050">
                <a:noFill/>
              </a:ln>
              <a:solidFill>
                <a:srgbClr val="163D28"/>
              </a:solidFill>
              <a:latin typeface="Arial" pitchFamily="34" charset="0"/>
              <a:cs typeface="Arial" pitchFamily="34" charset="0"/>
            </a:endParaRPr>
          </a:p>
          <a:p>
            <a:pPr lvl="0"/>
            <a:r>
              <a:rPr lang="de-DE" sz="3000" b="1" cap="all" dirty="0">
                <a:ln w="19050">
                  <a:noFill/>
                </a:ln>
                <a:solidFill>
                  <a:srgbClr val="163D28"/>
                </a:solidFill>
                <a:latin typeface="Arial" pitchFamily="34" charset="0"/>
                <a:cs typeface="Arial" pitchFamily="34" charset="0"/>
              </a:rPr>
              <a:t>  </a:t>
            </a:r>
            <a:endParaRPr lang="it-IT" sz="1000" dirty="0">
              <a:ln w="19050">
                <a:noFill/>
              </a:ln>
              <a:solidFill>
                <a:schemeClr val="tx1">
                  <a:lumMod val="65000"/>
                  <a:lumOff val="35000"/>
                </a:schemeClr>
              </a:solidFill>
              <a:latin typeface="Arial" pitchFamily="34" charset="0"/>
              <a:cs typeface="Arial" pitchFamily="34" charset="0"/>
            </a:endParaRPr>
          </a:p>
        </p:txBody>
      </p:sp>
      <p:sp>
        <p:nvSpPr>
          <p:cNvPr id="95" name="Retângulo 94">
            <a:extLst>
              <a:ext uri="{FF2B5EF4-FFF2-40B4-BE49-F238E27FC236}">
                <a16:creationId xmlns:a16="http://schemas.microsoft.com/office/drawing/2014/main" id="{D8781BAC-0401-4D86-B696-8A40991CE7F4}"/>
              </a:ext>
            </a:extLst>
          </p:cNvPr>
          <p:cNvSpPr/>
          <p:nvPr/>
        </p:nvSpPr>
        <p:spPr>
          <a:xfrm>
            <a:off x="782476" y="2317032"/>
            <a:ext cx="7893513" cy="2819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pt-BR" sz="2400" b="1" dirty="0">
                <a:solidFill>
                  <a:srgbClr val="375B49"/>
                </a:solidFill>
                <a:latin typeface="Arial Rounded MT Bold" panose="020F0704030504030204" pitchFamily="34" charset="0"/>
              </a:rPr>
              <a:t>Convidamos vocês para esta jornada e fazerem parte do Mundo </a:t>
            </a:r>
            <a:r>
              <a:rPr lang="pt-BR" sz="2400" b="1" dirty="0" err="1">
                <a:solidFill>
                  <a:srgbClr val="375B49"/>
                </a:solidFill>
                <a:latin typeface="Arial Rounded MT Bold" panose="020F0704030504030204" pitchFamily="34" charset="0"/>
              </a:rPr>
              <a:t>Valagro</a:t>
            </a:r>
            <a:r>
              <a:rPr lang="pt-BR" sz="2400" b="1" dirty="0">
                <a:solidFill>
                  <a:srgbClr val="375B49"/>
                </a:solidFill>
                <a:latin typeface="Arial Rounded MT Bold" panose="020F0704030504030204" pitchFamily="34" charset="0"/>
              </a:rPr>
              <a:t>!</a:t>
            </a:r>
          </a:p>
          <a:p>
            <a:pPr algn="ctr">
              <a:lnSpc>
                <a:spcPct val="150000"/>
              </a:lnSpc>
            </a:pPr>
            <a:endParaRPr lang="pt-BR" sz="2400" b="1" dirty="0">
              <a:solidFill>
                <a:srgbClr val="375B49"/>
              </a:solidFill>
              <a:latin typeface="Arial Rounded MT Bold" panose="020F0704030504030204" pitchFamily="34" charset="0"/>
            </a:endParaRPr>
          </a:p>
          <a:p>
            <a:pPr algn="ctr">
              <a:lnSpc>
                <a:spcPct val="150000"/>
              </a:lnSpc>
            </a:pPr>
            <a:r>
              <a:rPr lang="pt-BR" sz="2400" b="1" dirty="0">
                <a:solidFill>
                  <a:srgbClr val="375B49"/>
                </a:solidFill>
                <a:latin typeface="Arial Rounded MT Bold" panose="020F0704030504030204" pitchFamily="34" charset="0"/>
              </a:rPr>
              <a:t>A Ciência a Serviço da Natureza, e a favor da Agricultura do Futuro!</a:t>
            </a:r>
          </a:p>
          <a:p>
            <a:pPr>
              <a:lnSpc>
                <a:spcPct val="150000"/>
              </a:lnSpc>
            </a:pPr>
            <a:endParaRPr lang="pt-BR" sz="2400" b="1" dirty="0">
              <a:solidFill>
                <a:srgbClr val="375B49"/>
              </a:solidFill>
              <a:latin typeface="Arial Rounded MT Bold" panose="020F0704030504030204" pitchFamily="34" charset="0"/>
            </a:endParaRPr>
          </a:p>
          <a:p>
            <a:pPr>
              <a:lnSpc>
                <a:spcPct val="150000"/>
              </a:lnSpc>
            </a:pPr>
            <a:r>
              <a:rPr lang="pt-BR" sz="2000" dirty="0">
                <a:solidFill>
                  <a:srgbClr val="375B49"/>
                </a:solidFill>
                <a:latin typeface="Arial Rounded MT Bold" panose="020F0704030504030204" pitchFamily="34" charset="0"/>
              </a:rPr>
              <a:t>Obrigado pela atenção</a:t>
            </a:r>
          </a:p>
          <a:p>
            <a:pPr>
              <a:lnSpc>
                <a:spcPct val="150000"/>
              </a:lnSpc>
            </a:pPr>
            <a:r>
              <a:rPr lang="pt-BR" sz="2000" dirty="0">
                <a:solidFill>
                  <a:srgbClr val="375B49"/>
                </a:solidFill>
                <a:latin typeface="Arial Rounded MT Bold" panose="020F0704030504030204" pitchFamily="34" charset="0"/>
              </a:rPr>
              <a:t>Victor Sonzogno</a:t>
            </a:r>
          </a:p>
          <a:p>
            <a:pPr>
              <a:lnSpc>
                <a:spcPct val="150000"/>
              </a:lnSpc>
            </a:pPr>
            <a:r>
              <a:rPr lang="pt-BR" sz="2000" dirty="0">
                <a:solidFill>
                  <a:srgbClr val="375B49"/>
                </a:solidFill>
                <a:latin typeface="Arial Rounded MT Bold" panose="020F0704030504030204" pitchFamily="34" charset="0"/>
              </a:rPr>
              <a:t>v.sonzogno@valagro.com</a:t>
            </a:r>
          </a:p>
        </p:txBody>
      </p:sp>
      <p:pic>
        <p:nvPicPr>
          <p:cNvPr id="9" name="Imagem 8">
            <a:extLst>
              <a:ext uri="{FF2B5EF4-FFF2-40B4-BE49-F238E27FC236}">
                <a16:creationId xmlns:a16="http://schemas.microsoft.com/office/drawing/2014/main" id="{5C50D7E9-4E2F-477D-ABC6-6187A5C223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5989" y="4484489"/>
            <a:ext cx="4229256" cy="1827457"/>
          </a:xfrm>
          <a:prstGeom prst="rect">
            <a:avLst/>
          </a:prstGeom>
        </p:spPr>
      </p:pic>
    </p:spTree>
    <p:extLst>
      <p:ext uri="{BB962C8B-B14F-4D97-AF65-F5344CB8AC3E}">
        <p14:creationId xmlns:p14="http://schemas.microsoft.com/office/powerpoint/2010/main" val="1310840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5">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B5943C19-360B-4023-9047-A661B0F0B9F5}"/>
              </a:ext>
            </a:extLst>
          </p:cNvPr>
          <p:cNvSpPr/>
          <p:nvPr/>
        </p:nvSpPr>
        <p:spPr>
          <a:xfrm>
            <a:off x="279204" y="179991"/>
            <a:ext cx="10016041" cy="1015663"/>
          </a:xfrm>
          <a:prstGeom prst="rect">
            <a:avLst/>
          </a:prstGeom>
        </p:spPr>
        <p:txBody>
          <a:bodyPr wrap="square">
            <a:spAutoFit/>
          </a:bodyPr>
          <a:lstStyle/>
          <a:p>
            <a:pPr lvl="0"/>
            <a:r>
              <a:rPr lang="it-IT" sz="3000" b="1" cap="all" dirty="0">
                <a:ln w="19050">
                  <a:noFill/>
                </a:ln>
                <a:solidFill>
                  <a:srgbClr val="163D28"/>
                </a:solidFill>
                <a:latin typeface="Arial" pitchFamily="34" charset="0"/>
                <a:cs typeface="Arial" pitchFamily="34" charset="0"/>
              </a:rPr>
              <a:t>Desafio global</a:t>
            </a:r>
            <a:endParaRPr lang="es-ES_tradnl" sz="2400" cap="all" dirty="0">
              <a:ln w="19050">
                <a:noFill/>
              </a:ln>
              <a:solidFill>
                <a:srgbClr val="163D28"/>
              </a:solidFill>
              <a:latin typeface="Arial" pitchFamily="34" charset="0"/>
              <a:cs typeface="Arial" pitchFamily="34" charset="0"/>
            </a:endParaRPr>
          </a:p>
          <a:p>
            <a:pPr lvl="0"/>
            <a:r>
              <a:rPr lang="de-DE" sz="3000" b="1" cap="all" dirty="0">
                <a:ln w="19050">
                  <a:noFill/>
                </a:ln>
                <a:solidFill>
                  <a:srgbClr val="163D28"/>
                </a:solidFill>
                <a:latin typeface="Arial" pitchFamily="34" charset="0"/>
                <a:cs typeface="Arial" pitchFamily="34" charset="0"/>
              </a:rPr>
              <a:t>  </a:t>
            </a:r>
            <a:endParaRPr lang="it-IT" sz="1000" dirty="0">
              <a:ln w="19050">
                <a:noFill/>
              </a:ln>
              <a:solidFill>
                <a:schemeClr val="tx1">
                  <a:lumMod val="65000"/>
                  <a:lumOff val="35000"/>
                </a:schemeClr>
              </a:solidFill>
              <a:latin typeface="Arial" pitchFamily="34" charset="0"/>
              <a:cs typeface="Arial" pitchFamily="34" charset="0"/>
            </a:endParaRPr>
          </a:p>
        </p:txBody>
      </p:sp>
      <p:pic>
        <p:nvPicPr>
          <p:cNvPr id="6" name="Immagine 5">
            <a:extLst>
              <a:ext uri="{FF2B5EF4-FFF2-40B4-BE49-F238E27FC236}">
                <a16:creationId xmlns:a16="http://schemas.microsoft.com/office/drawing/2014/main" id="{88AEFBC4-F94F-4458-A3E3-9DD534BC588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79AFF32B-61A5-40A4-9EBD-1B6921067BB1}"/>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01C132F6-58FA-4D59-828E-6B8EAD6DE9C1}"/>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7" name="CaixaDeTexto 16">
            <a:extLst>
              <a:ext uri="{FF2B5EF4-FFF2-40B4-BE49-F238E27FC236}">
                <a16:creationId xmlns:a16="http://schemas.microsoft.com/office/drawing/2014/main" id="{270913DB-9FF4-4BD9-ADB0-5702D1505EC3}"/>
              </a:ext>
            </a:extLst>
          </p:cNvPr>
          <p:cNvSpPr txBox="1"/>
          <p:nvPr/>
        </p:nvSpPr>
        <p:spPr>
          <a:xfrm>
            <a:off x="1620253" y="3110572"/>
            <a:ext cx="6673506" cy="954107"/>
          </a:xfrm>
          <a:prstGeom prst="rect">
            <a:avLst/>
          </a:prstGeom>
          <a:noFill/>
        </p:spPr>
        <p:txBody>
          <a:bodyPr wrap="square" rtlCol="0">
            <a:spAutoFit/>
          </a:bodyPr>
          <a:lstStyle/>
          <a:p>
            <a:pPr algn="ctr"/>
            <a:r>
              <a:rPr lang="pt-BR" sz="2800" b="1" i="1" dirty="0">
                <a:solidFill>
                  <a:srgbClr val="C00000"/>
                </a:solidFill>
              </a:rPr>
              <a:t>Vídeo – </a:t>
            </a:r>
            <a:r>
              <a:rPr lang="pt-BR" sz="2800" b="1" i="1" dirty="0" err="1">
                <a:solidFill>
                  <a:srgbClr val="C00000"/>
                </a:solidFill>
              </a:rPr>
              <a:t>meet</a:t>
            </a:r>
            <a:r>
              <a:rPr lang="pt-BR" sz="2800" b="1" i="1" dirty="0">
                <a:solidFill>
                  <a:srgbClr val="C00000"/>
                </a:solidFill>
              </a:rPr>
              <a:t> </a:t>
            </a:r>
            <a:r>
              <a:rPr lang="pt-BR" sz="2800" b="1" i="1" dirty="0" err="1">
                <a:solidFill>
                  <a:srgbClr val="C00000"/>
                </a:solidFill>
              </a:rPr>
              <a:t>the</a:t>
            </a:r>
            <a:r>
              <a:rPr lang="pt-BR" sz="2800" b="1" i="1" dirty="0">
                <a:solidFill>
                  <a:srgbClr val="C00000"/>
                </a:solidFill>
              </a:rPr>
              <a:t> global </a:t>
            </a:r>
            <a:r>
              <a:rPr lang="pt-BR" sz="2800" b="1" i="1" dirty="0" err="1">
                <a:solidFill>
                  <a:srgbClr val="C00000"/>
                </a:solidFill>
              </a:rPr>
              <a:t>challange</a:t>
            </a:r>
            <a:r>
              <a:rPr lang="pt-BR" sz="2800" b="1" i="1" dirty="0">
                <a:solidFill>
                  <a:srgbClr val="C00000"/>
                </a:solidFill>
              </a:rPr>
              <a:t> in </a:t>
            </a:r>
            <a:r>
              <a:rPr lang="pt-BR" sz="2800" b="1" i="1" dirty="0" err="1">
                <a:solidFill>
                  <a:srgbClr val="C00000"/>
                </a:solidFill>
              </a:rPr>
              <a:t>portuguese</a:t>
            </a:r>
            <a:endParaRPr lang="pt-BR" sz="2800" b="1" i="1" dirty="0">
              <a:solidFill>
                <a:srgbClr val="C00000"/>
              </a:solidFill>
            </a:endParaRPr>
          </a:p>
        </p:txBody>
      </p:sp>
      <p:pic>
        <p:nvPicPr>
          <p:cNvPr id="9" name="Imagem 8">
            <a:extLst>
              <a:ext uri="{FF2B5EF4-FFF2-40B4-BE49-F238E27FC236}">
                <a16:creationId xmlns:a16="http://schemas.microsoft.com/office/drawing/2014/main" id="{1013BFE5-D9A7-4B18-B9D7-5538995F07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7005" y="759091"/>
            <a:ext cx="3513507" cy="1518183"/>
          </a:xfrm>
          <a:prstGeom prst="rect">
            <a:avLst/>
          </a:prstGeom>
        </p:spPr>
      </p:pic>
    </p:spTree>
    <p:extLst>
      <p:ext uri="{BB962C8B-B14F-4D97-AF65-F5344CB8AC3E}">
        <p14:creationId xmlns:p14="http://schemas.microsoft.com/office/powerpoint/2010/main" val="219891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descr="Global sea level has risen by about 8 inches since reliable record keeping began in 1880. It is projected to rise another 1 to 4 feet by 2100">
            <a:extLst>
              <a:ext uri="{FF2B5EF4-FFF2-40B4-BE49-F238E27FC236}">
                <a16:creationId xmlns:a16="http://schemas.microsoft.com/office/drawing/2014/main" id="{047D493F-22A5-489E-B56F-6B7F2ACE50A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1289"/>
          <a:stretch/>
        </p:blipFill>
        <p:spPr bwMode="auto">
          <a:xfrm>
            <a:off x="3279823" y="4064866"/>
            <a:ext cx="4082242" cy="2716041"/>
          </a:xfrm>
          <a:prstGeom prst="rect">
            <a:avLst/>
          </a:prstGeom>
          <a:noFill/>
          <a:extLst>
            <a:ext uri="{909E8E84-426E-40DD-AFC4-6F175D3DCCD1}">
              <a14:hiddenFill xmlns:a14="http://schemas.microsoft.com/office/drawing/2010/main">
                <a:solidFill>
                  <a:srgbClr val="FFFFFF"/>
                </a:solidFill>
              </a14:hiddenFill>
            </a:ext>
          </a:extLst>
        </p:spPr>
      </p:pic>
      <p:pic>
        <p:nvPicPr>
          <p:cNvPr id="24582" name="Picture 6" descr="Droughts in the Southwest and heat waves (periods of abnormally hot weather lasting days to weeks) everywhere are projected to become more intense, and cold waves less intense everywhere.">
            <a:extLst>
              <a:ext uri="{FF2B5EF4-FFF2-40B4-BE49-F238E27FC236}">
                <a16:creationId xmlns:a16="http://schemas.microsoft.com/office/drawing/2014/main" id="{AC66331C-732E-4B6E-8EDB-7B9A02C8D75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090"/>
          <a:stretch/>
        </p:blipFill>
        <p:spPr bwMode="auto">
          <a:xfrm>
            <a:off x="7362066" y="3974773"/>
            <a:ext cx="3326572" cy="2806134"/>
          </a:xfrm>
          <a:prstGeom prst="rect">
            <a:avLst/>
          </a:prstGeom>
          <a:noFill/>
          <a:extLst>
            <a:ext uri="{909E8E84-426E-40DD-AFC4-6F175D3DCCD1}">
              <a14:hiddenFill xmlns:a14="http://schemas.microsoft.com/office/drawing/2010/main">
                <a:solidFill>
                  <a:srgbClr val="FFFFFF"/>
                </a:solidFill>
              </a14:hiddenFill>
            </a:ext>
          </a:extLst>
        </p:spPr>
      </p:pic>
      <p:pic>
        <p:nvPicPr>
          <p:cNvPr id="24584" name="Picture 8" descr="Average U.S. precipitation has increased since 1900, but some areas have had increases greater than the national average, and some areas have had decreases">
            <a:extLst>
              <a:ext uri="{FF2B5EF4-FFF2-40B4-BE49-F238E27FC236}">
                <a16:creationId xmlns:a16="http://schemas.microsoft.com/office/drawing/2014/main" id="{45E2168E-6069-4363-BA04-2DC1F3230B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294" y="4053696"/>
            <a:ext cx="3667303" cy="2750477"/>
          </a:xfrm>
          <a:prstGeom prst="rect">
            <a:avLst/>
          </a:prstGeom>
          <a:noFill/>
          <a:extLst>
            <a:ext uri="{909E8E84-426E-40DD-AFC4-6F175D3DCCD1}">
              <a14:hiddenFill xmlns:a14="http://schemas.microsoft.com/office/drawing/2010/main">
                <a:solidFill>
                  <a:srgbClr val="FFFFFF"/>
                </a:solidFill>
              </a14:hiddenFill>
            </a:ext>
          </a:extLst>
        </p:spPr>
      </p:pic>
      <p:pic>
        <p:nvPicPr>
          <p:cNvPr id="24586" name="Picture 10" descr="Because human-induced warming is superimposed on a naturally varying climate, the temperature rise has not been, and will not be, uniform or smooth across the country or over time.">
            <a:extLst>
              <a:ext uri="{FF2B5EF4-FFF2-40B4-BE49-F238E27FC236}">
                <a16:creationId xmlns:a16="http://schemas.microsoft.com/office/drawing/2014/main" id="{6950D12C-CCCB-44BC-AC32-D392A468FD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0938"/>
            <a:ext cx="3667302" cy="2750477"/>
          </a:xfrm>
          <a:prstGeom prst="rect">
            <a:avLst/>
          </a:prstGeom>
          <a:noFill/>
          <a:extLst>
            <a:ext uri="{909E8E84-426E-40DD-AFC4-6F175D3DCCD1}">
              <a14:hiddenFill xmlns:a14="http://schemas.microsoft.com/office/drawing/2010/main">
                <a:solidFill>
                  <a:srgbClr val="FFFFFF"/>
                </a:solidFill>
              </a14:hiddenFill>
            </a:ext>
          </a:extLst>
        </p:spPr>
      </p:pic>
      <p:pic>
        <p:nvPicPr>
          <p:cNvPr id="24588" name="Picture 12" descr="Resultado de imagem para frost crops">
            <a:extLst>
              <a:ext uri="{FF2B5EF4-FFF2-40B4-BE49-F238E27FC236}">
                <a16:creationId xmlns:a16="http://schemas.microsoft.com/office/drawing/2014/main" id="{EFDE41C1-0242-4B54-BF96-68BD7D8E8B4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31429"/>
          <a:stretch/>
        </p:blipFill>
        <p:spPr bwMode="auto">
          <a:xfrm>
            <a:off x="7017863" y="46431"/>
            <a:ext cx="3722872" cy="2714594"/>
          </a:xfrm>
          <a:prstGeom prst="rect">
            <a:avLst/>
          </a:prstGeom>
          <a:noFill/>
          <a:extLst>
            <a:ext uri="{909E8E84-426E-40DD-AFC4-6F175D3DCCD1}">
              <a14:hiddenFill xmlns:a14="http://schemas.microsoft.com/office/drawing/2010/main">
                <a:solidFill>
                  <a:srgbClr val="FFFFFF"/>
                </a:solidFill>
              </a14:hiddenFill>
            </a:ext>
          </a:extLst>
        </p:spPr>
      </p:pic>
      <p:pic>
        <p:nvPicPr>
          <p:cNvPr id="24580" name="Picture 4" descr="The intensity, frequency and duration of North Atlantic hurricanes, as well as the frequency of the strongest (Category 4 and 5) hurricanes, have all increased since the early 1980s">
            <a:extLst>
              <a:ext uri="{FF2B5EF4-FFF2-40B4-BE49-F238E27FC236}">
                <a16:creationId xmlns:a16="http://schemas.microsoft.com/office/drawing/2014/main" id="{89B9614F-2B40-45C8-B127-293985F31B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68955" y="37926"/>
            <a:ext cx="3693111" cy="2769833"/>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a:extLst>
              <a:ext uri="{FF2B5EF4-FFF2-40B4-BE49-F238E27FC236}">
                <a16:creationId xmlns:a16="http://schemas.microsoft.com/office/drawing/2014/main" id="{BF92DCD8-2EF2-4EE2-818E-662CCB5A6CB6}"/>
              </a:ext>
            </a:extLst>
          </p:cNvPr>
          <p:cNvPicPr>
            <a:picLocks noChangeAspect="1"/>
          </p:cNvPicPr>
          <p:nvPr/>
        </p:nvPicPr>
        <p:blipFill rotWithShape="1">
          <a:blip r:embed="rId8"/>
          <a:srcRect t="13228" r="49352" b="76266"/>
          <a:stretch/>
        </p:blipFill>
        <p:spPr>
          <a:xfrm>
            <a:off x="-2" y="2758538"/>
            <a:ext cx="10688639" cy="1255105"/>
          </a:xfrm>
          <a:prstGeom prst="rect">
            <a:avLst/>
          </a:prstGeom>
        </p:spPr>
      </p:pic>
    </p:spTree>
    <p:extLst>
      <p:ext uri="{BB962C8B-B14F-4D97-AF65-F5344CB8AC3E}">
        <p14:creationId xmlns:p14="http://schemas.microsoft.com/office/powerpoint/2010/main" val="15122938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40029AFD-366E-42C4-9F61-BB7E7FB18108}"/>
              </a:ext>
            </a:extLst>
          </p:cNvPr>
          <p:cNvPicPr>
            <a:picLocks noChangeAspect="1"/>
          </p:cNvPicPr>
          <p:nvPr/>
        </p:nvPicPr>
        <p:blipFill rotWithShape="1">
          <a:blip r:embed="rId2">
            <a:extLst>
              <a:ext uri="{28A0092B-C50C-407E-A947-70E740481C1C}">
                <a14:useLocalDpi xmlns:a14="http://schemas.microsoft.com/office/drawing/2010/main" val="0"/>
              </a:ext>
            </a:extLst>
          </a:blip>
          <a:srcRect l="5586" t="9211" r="7727" b="24728"/>
          <a:stretch/>
        </p:blipFill>
        <p:spPr>
          <a:xfrm>
            <a:off x="997035" y="1151161"/>
            <a:ext cx="9044665" cy="5169427"/>
          </a:xfrm>
          <a:prstGeom prst="rect">
            <a:avLst/>
          </a:prstGeom>
        </p:spPr>
      </p:pic>
      <p:sp>
        <p:nvSpPr>
          <p:cNvPr id="4" name="Rettangolo 9">
            <a:extLst>
              <a:ext uri="{FF2B5EF4-FFF2-40B4-BE49-F238E27FC236}">
                <a16:creationId xmlns:a16="http://schemas.microsoft.com/office/drawing/2014/main" id="{84E085EC-6476-480E-8453-DF75F487FEAA}"/>
              </a:ext>
            </a:extLst>
          </p:cNvPr>
          <p:cNvSpPr/>
          <p:nvPr/>
        </p:nvSpPr>
        <p:spPr>
          <a:xfrm>
            <a:off x="1317624" y="324782"/>
            <a:ext cx="9141829" cy="826380"/>
          </a:xfrm>
          <a:prstGeom prst="rect">
            <a:avLst/>
          </a:prstGeom>
        </p:spPr>
        <p:txBody>
          <a:bodyPr wrap="square">
            <a:spAutoFit/>
          </a:bodyPr>
          <a:lstStyle/>
          <a:p>
            <a:pPr lvl="0"/>
            <a:r>
              <a:rPr lang="it-IT" sz="2385" b="1" cap="all" dirty="0">
                <a:ln w="19050">
                  <a:noFill/>
                </a:ln>
                <a:solidFill>
                  <a:srgbClr val="163D28"/>
                </a:solidFill>
                <a:latin typeface="Arial" pitchFamily="34" charset="0"/>
                <a:cs typeface="Arial" pitchFamily="34" charset="0"/>
              </a:rPr>
              <a:t>Mudanças do clima – produção de alimentos</a:t>
            </a:r>
            <a:endParaRPr lang="es-ES_tradnl" sz="1908" cap="all" dirty="0">
              <a:ln w="19050">
                <a:noFill/>
              </a:ln>
              <a:solidFill>
                <a:srgbClr val="163D28"/>
              </a:solidFill>
              <a:latin typeface="Arial" pitchFamily="34" charset="0"/>
              <a:cs typeface="Arial" pitchFamily="34" charset="0"/>
            </a:endParaRPr>
          </a:p>
          <a:p>
            <a:pPr lvl="0"/>
            <a:r>
              <a:rPr lang="de-DE" sz="2385" b="1" cap="all" dirty="0">
                <a:ln w="19050">
                  <a:noFill/>
                </a:ln>
                <a:solidFill>
                  <a:srgbClr val="163D28"/>
                </a:solidFill>
                <a:latin typeface="Arial" pitchFamily="34" charset="0"/>
                <a:cs typeface="Arial" pitchFamily="34" charset="0"/>
              </a:rPr>
              <a:t>  </a:t>
            </a:r>
            <a:endParaRPr lang="it-IT" sz="795" dirty="0">
              <a:ln w="19050">
                <a:noFill/>
              </a:ln>
              <a:solidFill>
                <a:schemeClr val="tx1">
                  <a:lumMod val="65000"/>
                  <a:lumOff val="35000"/>
                </a:schemeClr>
              </a:solidFill>
              <a:latin typeface="Arial" pitchFamily="34" charset="0"/>
              <a:cs typeface="Arial" pitchFamily="34" charset="0"/>
            </a:endParaRPr>
          </a:p>
        </p:txBody>
      </p:sp>
    </p:spTree>
    <p:extLst>
      <p:ext uri="{BB962C8B-B14F-4D97-AF65-F5344CB8AC3E}">
        <p14:creationId xmlns:p14="http://schemas.microsoft.com/office/powerpoint/2010/main" val="4168098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a:extLst>
              <a:ext uri="{FF2B5EF4-FFF2-40B4-BE49-F238E27FC236}">
                <a16:creationId xmlns:a16="http://schemas.microsoft.com/office/drawing/2014/main" id="{7787D485-83D4-4C2A-A21B-7F56F2A3F9D2}"/>
              </a:ext>
            </a:extLst>
          </p:cNvPr>
          <p:cNvPicPr>
            <a:picLocks noChangeAspect="1"/>
          </p:cNvPicPr>
          <p:nvPr/>
        </p:nvPicPr>
        <p:blipFill rotWithShape="1">
          <a:blip r:embed="rId3">
            <a:extLst>
              <a:ext uri="{28A0092B-C50C-407E-A947-70E740481C1C}">
                <a14:useLocalDpi xmlns:a14="http://schemas.microsoft.com/office/drawing/2010/main"/>
              </a:ext>
            </a:extLst>
          </a:blip>
          <a:srcRect t="9554"/>
          <a:stretch/>
        </p:blipFill>
        <p:spPr>
          <a:xfrm>
            <a:off x="575555" y="1941816"/>
            <a:ext cx="9578677" cy="3890569"/>
          </a:xfrm>
          <a:prstGeom prst="rect">
            <a:avLst/>
          </a:prstGeom>
        </p:spPr>
      </p:pic>
      <p:sp>
        <p:nvSpPr>
          <p:cNvPr id="4" name="Rettangolo 3">
            <a:extLst>
              <a:ext uri="{FF2B5EF4-FFF2-40B4-BE49-F238E27FC236}">
                <a16:creationId xmlns:a16="http://schemas.microsoft.com/office/drawing/2014/main" id="{643353A6-38DF-40C7-9153-F3D8B3340BD0}"/>
              </a:ext>
            </a:extLst>
          </p:cNvPr>
          <p:cNvSpPr/>
          <p:nvPr/>
        </p:nvSpPr>
        <p:spPr>
          <a:xfrm>
            <a:off x="362924" y="6064643"/>
            <a:ext cx="9848599" cy="307777"/>
          </a:xfrm>
          <a:prstGeom prst="rect">
            <a:avLst/>
          </a:prstGeom>
        </p:spPr>
        <p:txBody>
          <a:bodyPr wrap="square">
            <a:spAutoFit/>
          </a:bodyPr>
          <a:lstStyle/>
          <a:p>
            <a:r>
              <a:rPr lang="en-US" sz="1400" i="1" dirty="0">
                <a:latin typeface="times" panose="02020603050405020304" pitchFamily="18" charset="0"/>
              </a:rPr>
              <a:t>Source: Biochemistry and Molecular Biology of Plants, Buchanan, </a:t>
            </a:r>
            <a:r>
              <a:rPr lang="en-US" sz="1400" i="1" dirty="0" err="1">
                <a:latin typeface="times" panose="02020603050405020304" pitchFamily="18" charset="0"/>
              </a:rPr>
              <a:t>Gruissem</a:t>
            </a:r>
            <a:r>
              <a:rPr lang="en-US" sz="1400" i="1" dirty="0">
                <a:latin typeface="times" panose="02020603050405020304" pitchFamily="18" charset="0"/>
              </a:rPr>
              <a:t>, Jones, American Society of Plant Physiologists, 2000.</a:t>
            </a:r>
            <a:endParaRPr lang="it-IT" sz="1400" dirty="0"/>
          </a:p>
        </p:txBody>
      </p:sp>
      <p:sp>
        <p:nvSpPr>
          <p:cNvPr id="5" name="Retângulo 1">
            <a:extLst>
              <a:ext uri="{FF2B5EF4-FFF2-40B4-BE49-F238E27FC236}">
                <a16:creationId xmlns:a16="http://schemas.microsoft.com/office/drawing/2014/main" id="{8A6D256A-4CC9-4770-835F-CDA742BDB9FE}"/>
              </a:ext>
            </a:extLst>
          </p:cNvPr>
          <p:cNvSpPr/>
          <p:nvPr/>
        </p:nvSpPr>
        <p:spPr>
          <a:xfrm>
            <a:off x="1331218" y="2652605"/>
            <a:ext cx="8267604" cy="1904155"/>
          </a:xfrm>
          <a:prstGeom prst="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350"/>
          </a:p>
        </p:txBody>
      </p:sp>
      <p:pic>
        <p:nvPicPr>
          <p:cNvPr id="6" name="Immagine 5">
            <a:extLst>
              <a:ext uri="{FF2B5EF4-FFF2-40B4-BE49-F238E27FC236}">
                <a16:creationId xmlns:a16="http://schemas.microsoft.com/office/drawing/2014/main" id="{45CA4977-151C-44AB-B80F-877B7A1520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7" name="Rettangolo 6">
            <a:extLst>
              <a:ext uri="{FF2B5EF4-FFF2-40B4-BE49-F238E27FC236}">
                <a16:creationId xmlns:a16="http://schemas.microsoft.com/office/drawing/2014/main" id="{F3B39042-E401-45FD-913B-100437FCC4DB}"/>
              </a:ext>
            </a:extLst>
          </p:cNvPr>
          <p:cNvSpPr/>
          <p:nvPr/>
        </p:nvSpPr>
        <p:spPr>
          <a:xfrm>
            <a:off x="7725342" y="6964608"/>
            <a:ext cx="885097" cy="343684"/>
          </a:xfrm>
          <a:prstGeom prst="rect">
            <a:avLst/>
          </a:prstGeom>
        </p:spPr>
        <p:txBody>
          <a:bodyPr wrap="square">
            <a:spAutoFit/>
          </a:bodyPr>
          <a:lstStyle/>
          <a:p>
            <a:pPr algn="r">
              <a:lnSpc>
                <a:spcPct val="80000"/>
              </a:lnSpc>
            </a:pPr>
            <a:r>
              <a:rPr lang="en-US" sz="1000" dirty="0">
                <a:solidFill>
                  <a:srgbClr val="163D28"/>
                </a:solidFill>
                <a:latin typeface="Arial" pitchFamily="34" charset="0"/>
                <a:cs typeface="Arial" pitchFamily="34" charset="0"/>
              </a:rPr>
              <a:t>Strictly</a:t>
            </a:r>
          </a:p>
          <a:p>
            <a:pPr algn="r">
              <a:lnSpc>
                <a:spcPct val="80000"/>
              </a:lnSpc>
            </a:pPr>
            <a:r>
              <a:rPr lang="en-US" sz="1000" dirty="0">
                <a:solidFill>
                  <a:srgbClr val="163D28"/>
                </a:solidFill>
                <a:latin typeface="Arial" pitchFamily="34" charset="0"/>
                <a:cs typeface="Arial" pitchFamily="34" charset="0"/>
              </a:rPr>
              <a:t>confidential</a:t>
            </a:r>
          </a:p>
        </p:txBody>
      </p:sp>
      <p:cxnSp>
        <p:nvCxnSpPr>
          <p:cNvPr id="8" name="Connettore 1 17">
            <a:extLst>
              <a:ext uri="{FF2B5EF4-FFF2-40B4-BE49-F238E27FC236}">
                <a16:creationId xmlns:a16="http://schemas.microsoft.com/office/drawing/2014/main" id="{294E4F90-592B-41ED-98AB-640E1907FD9A}"/>
              </a:ext>
            </a:extLst>
          </p:cNvPr>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9" name="Rettangolo 8">
            <a:extLst>
              <a:ext uri="{FF2B5EF4-FFF2-40B4-BE49-F238E27FC236}">
                <a16:creationId xmlns:a16="http://schemas.microsoft.com/office/drawing/2014/main" id="{A1CEE163-E30F-4D64-9870-3BCB85769205}"/>
              </a:ext>
            </a:extLst>
          </p:cNvPr>
          <p:cNvSpPr/>
          <p:nvPr/>
        </p:nvSpPr>
        <p:spPr>
          <a:xfrm>
            <a:off x="279204" y="179991"/>
            <a:ext cx="10016041" cy="830997"/>
          </a:xfrm>
          <a:prstGeom prst="rect">
            <a:avLst/>
          </a:prstGeom>
        </p:spPr>
        <p:txBody>
          <a:bodyPr wrap="square">
            <a:spAutoFit/>
          </a:bodyPr>
          <a:lstStyle/>
          <a:p>
            <a:r>
              <a:rPr lang="en-US" sz="2400" b="1" cap="all" dirty="0">
                <a:ln w="19050">
                  <a:noFill/>
                </a:ln>
                <a:solidFill>
                  <a:srgbClr val="163D28"/>
                </a:solidFill>
                <a:latin typeface="Arial" pitchFamily="34" charset="0"/>
                <a:cs typeface="Arial" pitchFamily="34" charset="0"/>
              </a:rPr>
              <a:t>IMPACTO SOBRE PRODUTIVIDADE POR FATORES ABIÓTICOs E BIÓTICOs </a:t>
            </a:r>
            <a:r>
              <a:rPr lang="en-US" sz="2400" b="1" cap="all" dirty="0" err="1">
                <a:ln w="19050">
                  <a:noFill/>
                </a:ln>
                <a:solidFill>
                  <a:srgbClr val="163D28"/>
                </a:solidFill>
                <a:latin typeface="Arial" pitchFamily="34" charset="0"/>
                <a:cs typeface="Arial" pitchFamily="34" charset="0"/>
              </a:rPr>
              <a:t>sobre</a:t>
            </a:r>
            <a:r>
              <a:rPr lang="en-US" sz="2400" b="1" cap="all" dirty="0">
                <a:ln w="19050">
                  <a:noFill/>
                </a:ln>
                <a:solidFill>
                  <a:srgbClr val="163D28"/>
                </a:solidFill>
                <a:latin typeface="Arial" pitchFamily="34" charset="0"/>
                <a:cs typeface="Arial" pitchFamily="34" charset="0"/>
              </a:rPr>
              <a:t> PRINCIPAIS CULTIVOS EXTENSIVOS</a:t>
            </a:r>
          </a:p>
        </p:txBody>
      </p:sp>
    </p:spTree>
    <p:extLst>
      <p:ext uri="{BB962C8B-B14F-4D97-AF65-F5344CB8AC3E}">
        <p14:creationId xmlns:p14="http://schemas.microsoft.com/office/powerpoint/2010/main" val="3771015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6712"/>
            <a:ext cx="10700809" cy="7561735"/>
          </a:xfrm>
          <a:prstGeom prst="rect">
            <a:avLst/>
          </a:prstGeom>
        </p:spPr>
      </p:pic>
      <p:sp>
        <p:nvSpPr>
          <p:cNvPr id="4" name="CasellaDiTesto 3"/>
          <p:cNvSpPr txBox="1"/>
          <p:nvPr/>
        </p:nvSpPr>
        <p:spPr>
          <a:xfrm>
            <a:off x="317620" y="2535528"/>
            <a:ext cx="9603619" cy="1833964"/>
          </a:xfrm>
          <a:prstGeom prst="rect">
            <a:avLst/>
          </a:prstGeom>
          <a:noFill/>
        </p:spPr>
        <p:txBody>
          <a:bodyPr wrap="square" rtlCol="0">
            <a:spAutoFit/>
          </a:bodyPr>
          <a:lstStyle/>
          <a:p>
            <a:pPr>
              <a:lnSpc>
                <a:spcPct val="70000"/>
              </a:lnSpc>
            </a:pPr>
            <a:r>
              <a:rPr lang="de-DE" sz="8000" b="1" cap="all" dirty="0">
                <a:ln w="19050">
                  <a:noFill/>
                </a:ln>
                <a:solidFill>
                  <a:schemeClr val="bg1"/>
                </a:solidFill>
                <a:latin typeface="Arial" pitchFamily="34" charset="0"/>
                <a:cs typeface="Arial" pitchFamily="34" charset="0"/>
              </a:rPr>
              <a:t>Nossa</a:t>
            </a:r>
          </a:p>
          <a:p>
            <a:pPr>
              <a:lnSpc>
                <a:spcPct val="70000"/>
              </a:lnSpc>
            </a:pPr>
            <a:r>
              <a:rPr lang="de-DE" sz="8000" b="1" cap="all" dirty="0">
                <a:ln w="19050">
                  <a:noFill/>
                </a:ln>
                <a:solidFill>
                  <a:schemeClr val="bg1"/>
                </a:solidFill>
                <a:latin typeface="Arial" pitchFamily="34" charset="0"/>
                <a:cs typeface="Arial" pitchFamily="34" charset="0"/>
              </a:rPr>
              <a:t>Industria/setor</a:t>
            </a:r>
          </a:p>
        </p:txBody>
      </p:sp>
      <p:pic>
        <p:nvPicPr>
          <p:cNvPr id="8" name="Immagin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822365" y="6976136"/>
            <a:ext cx="1488807" cy="420503"/>
          </a:xfrm>
          <a:prstGeom prst="rect">
            <a:avLst/>
          </a:prstGeom>
        </p:spPr>
      </p:pic>
    </p:spTree>
    <p:extLst>
      <p:ext uri="{BB962C8B-B14F-4D97-AF65-F5344CB8AC3E}">
        <p14:creationId xmlns:p14="http://schemas.microsoft.com/office/powerpoint/2010/main" val="34724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magine 18"/>
          <p:cNvPicPr>
            <a:picLocks noChangeAspect="1"/>
          </p:cNvPicPr>
          <p:nvPr/>
        </p:nvPicPr>
        <p:blipFill rotWithShape="1">
          <a:blip r:embed="rId3" cstate="screen">
            <a:extLst>
              <a:ext uri="{28A0092B-C50C-407E-A947-70E740481C1C}">
                <a14:useLocalDpi xmlns:a14="http://schemas.microsoft.com/office/drawing/2010/main"/>
              </a:ext>
            </a:extLst>
          </a:blip>
          <a:srcRect r="50057"/>
          <a:stretch/>
        </p:blipFill>
        <p:spPr>
          <a:xfrm>
            <a:off x="0" y="5082"/>
            <a:ext cx="5344320" cy="7564995"/>
          </a:xfrm>
          <a:prstGeom prst="rect">
            <a:avLst/>
          </a:prstGeom>
        </p:spPr>
      </p:pic>
      <p:sp>
        <p:nvSpPr>
          <p:cNvPr id="2" name="Rettangolo 1"/>
          <p:cNvSpPr/>
          <p:nvPr/>
        </p:nvSpPr>
        <p:spPr>
          <a:xfrm>
            <a:off x="279204" y="179991"/>
            <a:ext cx="10016041" cy="553998"/>
          </a:xfrm>
          <a:prstGeom prst="rect">
            <a:avLst/>
          </a:prstGeom>
        </p:spPr>
        <p:txBody>
          <a:bodyPr wrap="square">
            <a:spAutoFit/>
          </a:bodyPr>
          <a:lstStyle/>
          <a:p>
            <a:pPr lvl="0"/>
            <a:r>
              <a:rPr lang="pt-BR" sz="3000" b="1" cap="all">
                <a:ln w="19050">
                  <a:noFill/>
                </a:ln>
                <a:solidFill>
                  <a:srgbClr val="163D28"/>
                </a:solidFill>
                <a:latin typeface="Arial" pitchFamily="34" charset="0"/>
                <a:cs typeface="Arial" pitchFamily="34" charset="0"/>
              </a:rPr>
              <a:t>Solução convencional </a:t>
            </a:r>
            <a:r>
              <a:rPr lang="pt-BR" sz="3000" cap="all">
                <a:ln w="19050">
                  <a:noFill/>
                </a:ln>
                <a:solidFill>
                  <a:srgbClr val="163D28"/>
                </a:solidFill>
                <a:latin typeface="Arial" pitchFamily="34" charset="0"/>
                <a:cs typeface="Arial" pitchFamily="34" charset="0"/>
              </a:rPr>
              <a:t>|</a:t>
            </a:r>
            <a:r>
              <a:rPr lang="pt-BR" sz="2400" cap="all">
                <a:ln w="19050">
                  <a:noFill/>
                </a:ln>
                <a:solidFill>
                  <a:srgbClr val="163D28"/>
                </a:solidFill>
                <a:latin typeface="Arial" pitchFamily="34" charset="0"/>
                <a:cs typeface="Arial" pitchFamily="34" charset="0"/>
              </a:rPr>
              <a:t> focada em produto</a:t>
            </a:r>
            <a:r>
              <a:rPr lang="pt-BR" sz="3000" b="1" cap="all">
                <a:ln w="19050">
                  <a:noFill/>
                </a:ln>
                <a:solidFill>
                  <a:srgbClr val="163D28"/>
                </a:solidFill>
                <a:latin typeface="Arial" pitchFamily="34" charset="0"/>
                <a:cs typeface="Arial" pitchFamily="34" charset="0"/>
              </a:rPr>
              <a:t>  </a:t>
            </a:r>
            <a:endParaRPr lang="pt-BR" sz="1000">
              <a:ln w="19050">
                <a:noFill/>
              </a:ln>
              <a:solidFill>
                <a:schemeClr val="tx1">
                  <a:lumMod val="65000"/>
                  <a:lumOff val="35000"/>
                </a:schemeClr>
              </a:solidFill>
              <a:latin typeface="Arial" pitchFamily="34" charset="0"/>
              <a:cs typeface="Arial" pitchFamily="34" charset="0"/>
            </a:endParaRPr>
          </a:p>
        </p:txBody>
      </p:sp>
      <p:sp>
        <p:nvSpPr>
          <p:cNvPr id="3" name="Rettangolo 2"/>
          <p:cNvSpPr/>
          <p:nvPr/>
        </p:nvSpPr>
        <p:spPr>
          <a:xfrm>
            <a:off x="834189" y="1109829"/>
            <a:ext cx="3801979" cy="369332"/>
          </a:xfrm>
          <a:prstGeom prst="rect">
            <a:avLst/>
          </a:prstGeom>
        </p:spPr>
        <p:txBody>
          <a:bodyPr wrap="square">
            <a:spAutoFit/>
          </a:bodyPr>
          <a:lstStyle/>
          <a:p>
            <a:pPr algn="ctr"/>
            <a:r>
              <a:rPr lang="pt-BR" sz="1800" b="1" dirty="0">
                <a:solidFill>
                  <a:schemeClr val="bg1">
                    <a:lumMod val="50000"/>
                  </a:schemeClr>
                </a:solidFill>
                <a:latin typeface="Arial"/>
                <a:cs typeface="Arial"/>
              </a:rPr>
              <a:t>FOCO CONVENCIONAL</a:t>
            </a:r>
          </a:p>
        </p:txBody>
      </p:sp>
      <p:pic>
        <p:nvPicPr>
          <p:cNvPr id="13" name="Immagine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8291" y="6976136"/>
            <a:ext cx="1456954" cy="420503"/>
          </a:xfrm>
          <a:prstGeom prst="rect">
            <a:avLst/>
          </a:prstGeom>
        </p:spPr>
      </p:pic>
      <p:sp>
        <p:nvSpPr>
          <p:cNvPr id="17" name="Rettangolo 16"/>
          <p:cNvSpPr/>
          <p:nvPr/>
        </p:nvSpPr>
        <p:spPr>
          <a:xfrm>
            <a:off x="7725342" y="6964608"/>
            <a:ext cx="885097" cy="343684"/>
          </a:xfrm>
          <a:prstGeom prst="rect">
            <a:avLst/>
          </a:prstGeom>
        </p:spPr>
        <p:txBody>
          <a:bodyPr wrap="square">
            <a:spAutoFit/>
          </a:bodyPr>
          <a:lstStyle/>
          <a:p>
            <a:pPr algn="r">
              <a:lnSpc>
                <a:spcPct val="80000"/>
              </a:lnSpc>
            </a:pPr>
            <a:r>
              <a:rPr lang="pt-BR" sz="1000">
                <a:solidFill>
                  <a:srgbClr val="163D28"/>
                </a:solidFill>
                <a:latin typeface="Arial" pitchFamily="34" charset="0"/>
                <a:cs typeface="Arial" pitchFamily="34" charset="0"/>
              </a:rPr>
              <a:t>Strictly</a:t>
            </a:r>
          </a:p>
          <a:p>
            <a:pPr algn="r">
              <a:lnSpc>
                <a:spcPct val="80000"/>
              </a:lnSpc>
            </a:pPr>
            <a:r>
              <a:rPr lang="pt-BR" sz="1000">
                <a:solidFill>
                  <a:srgbClr val="163D28"/>
                </a:solidFill>
                <a:latin typeface="Arial" pitchFamily="34" charset="0"/>
                <a:cs typeface="Arial" pitchFamily="34" charset="0"/>
              </a:rPr>
              <a:t>confidential</a:t>
            </a:r>
          </a:p>
        </p:txBody>
      </p:sp>
      <p:cxnSp>
        <p:nvCxnSpPr>
          <p:cNvPr id="18" name="Connettore 1 17"/>
          <p:cNvCxnSpPr/>
          <p:nvPr/>
        </p:nvCxnSpPr>
        <p:spPr>
          <a:xfrm>
            <a:off x="8675989" y="6976136"/>
            <a:ext cx="0" cy="420503"/>
          </a:xfrm>
          <a:prstGeom prst="line">
            <a:avLst/>
          </a:prstGeom>
          <a:ln w="6350" cmpd="sng">
            <a:solidFill>
              <a:srgbClr val="163D28"/>
            </a:solidFill>
          </a:ln>
          <a:effectLst/>
        </p:spPr>
        <p:style>
          <a:lnRef idx="2">
            <a:schemeClr val="accent1"/>
          </a:lnRef>
          <a:fillRef idx="0">
            <a:schemeClr val="accent1"/>
          </a:fillRef>
          <a:effectRef idx="1">
            <a:schemeClr val="accent1"/>
          </a:effectRef>
          <a:fontRef idx="minor">
            <a:schemeClr val="tx1"/>
          </a:fontRef>
        </p:style>
      </p:cxnSp>
      <p:sp>
        <p:nvSpPr>
          <p:cNvPr id="10" name="Rettangolo 9"/>
          <p:cNvSpPr/>
          <p:nvPr/>
        </p:nvSpPr>
        <p:spPr>
          <a:xfrm>
            <a:off x="6638546" y="1626574"/>
            <a:ext cx="2593338" cy="369332"/>
          </a:xfrm>
          <a:prstGeom prst="rect">
            <a:avLst/>
          </a:prstGeom>
        </p:spPr>
        <p:txBody>
          <a:bodyPr wrap="square">
            <a:spAutoFit/>
          </a:bodyPr>
          <a:lstStyle/>
          <a:p>
            <a:pPr algn="ctr"/>
            <a:r>
              <a:rPr lang="pt-BR" sz="1800" b="1">
                <a:solidFill>
                  <a:srgbClr val="FFFFFF"/>
                </a:solidFill>
                <a:latin typeface="Arial"/>
                <a:cs typeface="Arial"/>
              </a:rPr>
              <a:t>QUANDO OPORTUNO</a:t>
            </a:r>
          </a:p>
        </p:txBody>
      </p:sp>
      <p:sp>
        <p:nvSpPr>
          <p:cNvPr id="16" name="Rettangolo 15"/>
          <p:cNvSpPr/>
          <p:nvPr/>
        </p:nvSpPr>
        <p:spPr>
          <a:xfrm>
            <a:off x="303759" y="6964608"/>
            <a:ext cx="885097" cy="220573"/>
          </a:xfrm>
          <a:prstGeom prst="rect">
            <a:avLst/>
          </a:prstGeom>
        </p:spPr>
        <p:txBody>
          <a:bodyPr wrap="square">
            <a:spAutoFit/>
          </a:bodyPr>
          <a:lstStyle/>
          <a:p>
            <a:pPr>
              <a:lnSpc>
                <a:spcPct val="80000"/>
              </a:lnSpc>
            </a:pPr>
            <a:r>
              <a:rPr lang="pt-BR" sz="1000">
                <a:solidFill>
                  <a:srgbClr val="375B49"/>
                </a:solidFill>
                <a:latin typeface="Arial" pitchFamily="34" charset="0"/>
                <a:cs typeface="Arial" pitchFamily="34" charset="0"/>
              </a:rPr>
              <a:t>7</a:t>
            </a:r>
          </a:p>
        </p:txBody>
      </p:sp>
      <p:pic>
        <p:nvPicPr>
          <p:cNvPr id="20" name="Immagine 18">
            <a:extLst>
              <a:ext uri="{FF2B5EF4-FFF2-40B4-BE49-F238E27FC236}">
                <a16:creationId xmlns:a16="http://schemas.microsoft.com/office/drawing/2014/main" id="{DF7EC071-DE0D-48C1-8B6E-E8167CD657F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53977" t="19486" r="6803" b="16262"/>
          <a:stretch/>
        </p:blipFill>
        <p:spPr>
          <a:xfrm>
            <a:off x="5775960" y="1479161"/>
            <a:ext cx="4196868" cy="4860679"/>
          </a:xfrm>
          <a:prstGeom prst="rect">
            <a:avLst/>
          </a:prstGeom>
        </p:spPr>
      </p:pic>
      <p:sp>
        <p:nvSpPr>
          <p:cNvPr id="21" name="Rettangolo 9">
            <a:extLst>
              <a:ext uri="{FF2B5EF4-FFF2-40B4-BE49-F238E27FC236}">
                <a16:creationId xmlns:a16="http://schemas.microsoft.com/office/drawing/2014/main" id="{49D600F4-1229-4A68-8D57-E83EDC7E86A2}"/>
              </a:ext>
            </a:extLst>
          </p:cNvPr>
          <p:cNvSpPr/>
          <p:nvPr/>
        </p:nvSpPr>
        <p:spPr>
          <a:xfrm>
            <a:off x="6638546" y="1626574"/>
            <a:ext cx="2993134" cy="369332"/>
          </a:xfrm>
          <a:prstGeom prst="rect">
            <a:avLst/>
          </a:prstGeom>
        </p:spPr>
        <p:txBody>
          <a:bodyPr wrap="square">
            <a:spAutoFit/>
          </a:bodyPr>
          <a:lstStyle/>
          <a:p>
            <a:pPr algn="ctr"/>
            <a:r>
              <a:rPr lang="pt-BR" sz="1800" b="1">
                <a:solidFill>
                  <a:srgbClr val="FFFFFF"/>
                </a:solidFill>
                <a:latin typeface="Arial"/>
                <a:cs typeface="Arial"/>
              </a:rPr>
              <a:t>QUANDO OPORTUNO (?)</a:t>
            </a:r>
          </a:p>
        </p:txBody>
      </p:sp>
      <p:sp>
        <p:nvSpPr>
          <p:cNvPr id="22" name="Rettangolo 10">
            <a:extLst>
              <a:ext uri="{FF2B5EF4-FFF2-40B4-BE49-F238E27FC236}">
                <a16:creationId xmlns:a16="http://schemas.microsoft.com/office/drawing/2014/main" id="{F3B25D6D-C875-4D02-AEFD-7F237D93A117}"/>
              </a:ext>
            </a:extLst>
          </p:cNvPr>
          <p:cNvSpPr/>
          <p:nvPr/>
        </p:nvSpPr>
        <p:spPr>
          <a:xfrm>
            <a:off x="6169822" y="3564411"/>
            <a:ext cx="1699008" cy="276999"/>
          </a:xfrm>
          <a:prstGeom prst="rect">
            <a:avLst/>
          </a:prstGeom>
        </p:spPr>
        <p:txBody>
          <a:bodyPr wrap="square">
            <a:spAutoFit/>
          </a:bodyPr>
          <a:lstStyle/>
          <a:p>
            <a:pPr algn="ctr"/>
            <a:r>
              <a:rPr lang="pt-BR" sz="1200">
                <a:solidFill>
                  <a:srgbClr val="163D28"/>
                </a:solidFill>
                <a:latin typeface="Arial"/>
                <a:cs typeface="Arial"/>
              </a:rPr>
              <a:t>BIOSTIMULANTES</a:t>
            </a:r>
          </a:p>
        </p:txBody>
      </p:sp>
      <p:sp>
        <p:nvSpPr>
          <p:cNvPr id="23" name="Rettangolo 11">
            <a:extLst>
              <a:ext uri="{FF2B5EF4-FFF2-40B4-BE49-F238E27FC236}">
                <a16:creationId xmlns:a16="http://schemas.microsoft.com/office/drawing/2014/main" id="{CB633DCE-F2B0-45CD-A9BB-F8B77C62833E}"/>
              </a:ext>
            </a:extLst>
          </p:cNvPr>
          <p:cNvSpPr/>
          <p:nvPr/>
        </p:nvSpPr>
        <p:spPr>
          <a:xfrm>
            <a:off x="8128270" y="3564411"/>
            <a:ext cx="1729964" cy="276999"/>
          </a:xfrm>
          <a:prstGeom prst="rect">
            <a:avLst/>
          </a:prstGeom>
        </p:spPr>
        <p:txBody>
          <a:bodyPr wrap="square">
            <a:spAutoFit/>
          </a:bodyPr>
          <a:lstStyle/>
          <a:p>
            <a:pPr algn="ctr"/>
            <a:r>
              <a:rPr lang="pt-BR" sz="1200">
                <a:solidFill>
                  <a:srgbClr val="163D28"/>
                </a:solidFill>
                <a:latin typeface="Arial"/>
                <a:cs typeface="Arial"/>
              </a:rPr>
              <a:t>BIOCONTROLE</a:t>
            </a:r>
          </a:p>
        </p:txBody>
      </p:sp>
      <p:sp>
        <p:nvSpPr>
          <p:cNvPr id="24" name="Rettangolo 13">
            <a:extLst>
              <a:ext uri="{FF2B5EF4-FFF2-40B4-BE49-F238E27FC236}">
                <a16:creationId xmlns:a16="http://schemas.microsoft.com/office/drawing/2014/main" id="{917385A1-149E-45F1-874A-C3FFC83E84C6}"/>
              </a:ext>
            </a:extLst>
          </p:cNvPr>
          <p:cNvSpPr/>
          <p:nvPr/>
        </p:nvSpPr>
        <p:spPr>
          <a:xfrm>
            <a:off x="6074932" y="5582363"/>
            <a:ext cx="1871272" cy="276999"/>
          </a:xfrm>
          <a:prstGeom prst="rect">
            <a:avLst/>
          </a:prstGeom>
        </p:spPr>
        <p:txBody>
          <a:bodyPr wrap="square">
            <a:spAutoFit/>
          </a:bodyPr>
          <a:lstStyle/>
          <a:p>
            <a:pPr algn="ctr"/>
            <a:r>
              <a:rPr lang="pt-BR" sz="1200">
                <a:solidFill>
                  <a:srgbClr val="163D28"/>
                </a:solidFill>
                <a:latin typeface="Arial"/>
                <a:cs typeface="Arial"/>
              </a:rPr>
              <a:t>MICRONUTRIENTES</a:t>
            </a:r>
          </a:p>
        </p:txBody>
      </p:sp>
      <p:sp>
        <p:nvSpPr>
          <p:cNvPr id="25" name="Rettangolo 14">
            <a:extLst>
              <a:ext uri="{FF2B5EF4-FFF2-40B4-BE49-F238E27FC236}">
                <a16:creationId xmlns:a16="http://schemas.microsoft.com/office/drawing/2014/main" id="{34492307-3358-4A84-BF71-CA9DAFE8AFA7}"/>
              </a:ext>
            </a:extLst>
          </p:cNvPr>
          <p:cNvSpPr/>
          <p:nvPr/>
        </p:nvSpPr>
        <p:spPr>
          <a:xfrm>
            <a:off x="8084970" y="5582363"/>
            <a:ext cx="1887858" cy="258532"/>
          </a:xfrm>
          <a:prstGeom prst="rect">
            <a:avLst/>
          </a:prstGeom>
        </p:spPr>
        <p:txBody>
          <a:bodyPr wrap="square">
            <a:spAutoFit/>
          </a:bodyPr>
          <a:lstStyle/>
          <a:p>
            <a:pPr algn="ctr">
              <a:lnSpc>
                <a:spcPct val="90000"/>
              </a:lnSpc>
            </a:pPr>
            <a:r>
              <a:rPr lang="pt-BR" sz="1200">
                <a:solidFill>
                  <a:srgbClr val="163D28"/>
                </a:solidFill>
                <a:latin typeface="Arial"/>
                <a:cs typeface="Arial"/>
              </a:rPr>
              <a:t>NUTRIENTE SOLÚVEIS</a:t>
            </a:r>
          </a:p>
        </p:txBody>
      </p:sp>
      <p:sp>
        <p:nvSpPr>
          <p:cNvPr id="4" name="CaixaDeTexto 3">
            <a:extLst>
              <a:ext uri="{FF2B5EF4-FFF2-40B4-BE49-F238E27FC236}">
                <a16:creationId xmlns:a16="http://schemas.microsoft.com/office/drawing/2014/main" id="{152547CA-6581-4632-A512-1D49AA400461}"/>
              </a:ext>
            </a:extLst>
          </p:cNvPr>
          <p:cNvSpPr txBox="1"/>
          <p:nvPr/>
        </p:nvSpPr>
        <p:spPr>
          <a:xfrm>
            <a:off x="720132" y="6902539"/>
            <a:ext cx="5449690" cy="307777"/>
          </a:xfrm>
          <a:prstGeom prst="rect">
            <a:avLst/>
          </a:prstGeom>
          <a:noFill/>
        </p:spPr>
        <p:txBody>
          <a:bodyPr wrap="square" rtlCol="0">
            <a:spAutoFit/>
          </a:bodyPr>
          <a:lstStyle/>
          <a:p>
            <a:r>
              <a:rPr lang="pt-BR" sz="1400"/>
              <a:t>PPP- defensivos (</a:t>
            </a:r>
            <a:r>
              <a:rPr lang="pt-BR" sz="1400" i="1"/>
              <a:t>plant protection products</a:t>
            </a:r>
            <a:r>
              <a:rPr lang="pt-BR" sz="1400"/>
              <a:t>)</a:t>
            </a:r>
          </a:p>
        </p:txBody>
      </p:sp>
    </p:spTree>
    <p:extLst>
      <p:ext uri="{BB962C8B-B14F-4D97-AF65-F5344CB8AC3E}">
        <p14:creationId xmlns:p14="http://schemas.microsoft.com/office/powerpoint/2010/main" val="478627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4" grpId="0"/>
      <p:bldP spid="2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6JRs_biMkCyVj0Xsb2tb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d6JRs_biMkCyVj0Xsb2tb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d6JRs_biMkCyVj0Xsb2t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72BO5oP2cEuHLc5ZBu65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72BO5oP2cEuHLc5ZBu65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d6JRs_biMkCyVj0Xsb2t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72BO5oP2cEuHLc5ZBu65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6JRs_biMkCyVj0Xsb2t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72BO5oP2cEuHLc5ZBu65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d6JRs_biMkCyVj0Xsb2t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72BO5oP2cEuHLc5ZBu65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72BO5oP2cEuHLc5ZBu652A"/>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1748</TotalTime>
  <Words>3797</Words>
  <Application>Microsoft Office PowerPoint</Application>
  <PresentationFormat>Personalizar</PresentationFormat>
  <Paragraphs>618</Paragraphs>
  <Slides>37</Slides>
  <Notes>31</Notes>
  <HiddenSlides>1</HiddenSlides>
  <MMClips>0</MMClips>
  <ScaleCrop>false</ScaleCrop>
  <HeadingPairs>
    <vt:vector size="6" baseType="variant">
      <vt:variant>
        <vt:lpstr>Fontes usadas</vt:lpstr>
      </vt:variant>
      <vt:variant>
        <vt:i4>9</vt:i4>
      </vt:variant>
      <vt:variant>
        <vt:lpstr>Tema</vt:lpstr>
      </vt:variant>
      <vt:variant>
        <vt:i4>2</vt:i4>
      </vt:variant>
      <vt:variant>
        <vt:lpstr>Títulos de slides</vt:lpstr>
      </vt:variant>
      <vt:variant>
        <vt:i4>37</vt:i4>
      </vt:variant>
    </vt:vector>
  </HeadingPairs>
  <TitlesOfParts>
    <vt:vector size="48" baseType="lpstr">
      <vt:lpstr>Arial</vt:lpstr>
      <vt:lpstr>Arial Black</vt:lpstr>
      <vt:lpstr>Arial Rounded MT Bold</vt:lpstr>
      <vt:lpstr>Calibri</vt:lpstr>
      <vt:lpstr>Myriad Pro</vt:lpstr>
      <vt:lpstr>Segoe</vt:lpstr>
      <vt:lpstr>times</vt:lpstr>
      <vt:lpstr>Times New Roman</vt:lpstr>
      <vt:lpstr>Wingdings</vt:lpstr>
      <vt:lpstr>Tema di Office</vt:lpstr>
      <vt:lpstr>1_Tema di Offic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UIT SIZE INCREASE: THE VALAGRO SOLUTION</dc:title>
  <dc:creator>ANTANI manco fosse</dc:creator>
  <cp:lastModifiedBy>DELL</cp:lastModifiedBy>
  <cp:revision>1057</cp:revision>
  <cp:lastPrinted>2016-03-30T15:58:17Z</cp:lastPrinted>
  <dcterms:created xsi:type="dcterms:W3CDTF">2016-03-23T14:41:29Z</dcterms:created>
  <dcterms:modified xsi:type="dcterms:W3CDTF">2019-05-23T11:42:30Z</dcterms:modified>
  <cp:contentStatus/>
</cp:coreProperties>
</file>